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1.bin" ContentType="application/vnd.openxmlformats-officedocument.oleObject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743" r:id="rId1"/>
    <p:sldMasterId id="2147483756" r:id="rId2"/>
  </p:sldMasterIdLst>
  <p:notesMasterIdLst>
    <p:notesMasterId r:id="rId39"/>
  </p:notesMasterIdLst>
  <p:sldIdLst>
    <p:sldId id="515" r:id="rId3"/>
    <p:sldId id="530" r:id="rId4"/>
    <p:sldId id="547" r:id="rId5"/>
    <p:sldId id="538" r:id="rId6"/>
    <p:sldId id="507" r:id="rId7"/>
    <p:sldId id="548" r:id="rId8"/>
    <p:sldId id="486" r:id="rId9"/>
    <p:sldId id="489" r:id="rId10"/>
    <p:sldId id="488" r:id="rId11"/>
    <p:sldId id="549" r:id="rId12"/>
    <p:sldId id="491" r:id="rId13"/>
    <p:sldId id="492" r:id="rId14"/>
    <p:sldId id="493" r:id="rId15"/>
    <p:sldId id="494" r:id="rId16"/>
    <p:sldId id="550" r:id="rId17"/>
    <p:sldId id="495" r:id="rId18"/>
    <p:sldId id="522" r:id="rId19"/>
    <p:sldId id="527" r:id="rId20"/>
    <p:sldId id="551" r:id="rId21"/>
    <p:sldId id="534" r:id="rId22"/>
    <p:sldId id="535" r:id="rId23"/>
    <p:sldId id="536" r:id="rId24"/>
    <p:sldId id="552" r:id="rId25"/>
    <p:sldId id="520" r:id="rId26"/>
    <p:sldId id="521" r:id="rId27"/>
    <p:sldId id="519" r:id="rId28"/>
    <p:sldId id="553" r:id="rId29"/>
    <p:sldId id="496" r:id="rId30"/>
    <p:sldId id="498" r:id="rId31"/>
    <p:sldId id="499" r:id="rId32"/>
    <p:sldId id="537" r:id="rId33"/>
    <p:sldId id="554" r:id="rId34"/>
    <p:sldId id="546" r:id="rId35"/>
    <p:sldId id="529" r:id="rId36"/>
    <p:sldId id="482" r:id="rId37"/>
    <p:sldId id="555" r:id="rId38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12E9DC1-A591-764D-AA54-57719FDF7E95}">
          <p14:sldIdLst>
            <p14:sldId id="515"/>
            <p14:sldId id="530"/>
            <p14:sldId id="547"/>
            <p14:sldId id="538"/>
            <p14:sldId id="507"/>
            <p14:sldId id="548"/>
            <p14:sldId id="486"/>
            <p14:sldId id="489"/>
            <p14:sldId id="488"/>
            <p14:sldId id="549"/>
            <p14:sldId id="491"/>
            <p14:sldId id="492"/>
            <p14:sldId id="493"/>
            <p14:sldId id="494"/>
            <p14:sldId id="550"/>
            <p14:sldId id="495"/>
            <p14:sldId id="522"/>
            <p14:sldId id="527"/>
            <p14:sldId id="551"/>
            <p14:sldId id="534"/>
            <p14:sldId id="535"/>
            <p14:sldId id="536"/>
            <p14:sldId id="552"/>
            <p14:sldId id="520"/>
            <p14:sldId id="521"/>
            <p14:sldId id="519"/>
            <p14:sldId id="553"/>
            <p14:sldId id="496"/>
            <p14:sldId id="498"/>
            <p14:sldId id="499"/>
            <p14:sldId id="537"/>
            <p14:sldId id="554"/>
            <p14:sldId id="546"/>
            <p14:sldId id="529"/>
            <p14:sldId id="482"/>
            <p14:sldId id="555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2161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F69"/>
    <a:srgbClr val="339C96"/>
    <a:srgbClr val="00CC00"/>
    <a:srgbClr val="4BB099"/>
    <a:srgbClr val="5799F2"/>
    <a:srgbClr val="5CDBC0"/>
    <a:srgbClr val="449E8A"/>
    <a:srgbClr val="328F8D"/>
    <a:srgbClr val="1677AF"/>
    <a:srgbClr val="2F7E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800" autoAdjust="0"/>
    <p:restoredTop sz="89847" autoAdjust="0"/>
  </p:normalViewPr>
  <p:slideViewPr>
    <p:cSldViewPr snapToObjects="1">
      <p:cViewPr varScale="1">
        <p:scale>
          <a:sx n="126" d="100"/>
          <a:sy n="126" d="100"/>
        </p:scale>
        <p:origin x="-1272" y="-96"/>
      </p:cViewPr>
      <p:guideLst>
        <p:guide orient="horz" pos="2161"/>
        <p:guide orient="horz" pos="1621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8.xml"/><Relationship Id="rId21" Type="http://schemas.openxmlformats.org/officeDocument/2006/relationships/slide" Target="slides/slide19.xml"/><Relationship Id="rId22" Type="http://schemas.openxmlformats.org/officeDocument/2006/relationships/slide" Target="slides/slide20.xml"/><Relationship Id="rId23" Type="http://schemas.openxmlformats.org/officeDocument/2006/relationships/slide" Target="slides/slide21.xml"/><Relationship Id="rId24" Type="http://schemas.openxmlformats.org/officeDocument/2006/relationships/slide" Target="slides/slide22.xml"/><Relationship Id="rId25" Type="http://schemas.openxmlformats.org/officeDocument/2006/relationships/slide" Target="slides/slide23.xml"/><Relationship Id="rId26" Type="http://schemas.openxmlformats.org/officeDocument/2006/relationships/slide" Target="slides/slide24.xml"/><Relationship Id="rId27" Type="http://schemas.openxmlformats.org/officeDocument/2006/relationships/slide" Target="slides/slide25.xml"/><Relationship Id="rId28" Type="http://schemas.openxmlformats.org/officeDocument/2006/relationships/slide" Target="slides/slide26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30" Type="http://schemas.openxmlformats.org/officeDocument/2006/relationships/slide" Target="slides/slide28.xml"/><Relationship Id="rId31" Type="http://schemas.openxmlformats.org/officeDocument/2006/relationships/slide" Target="slides/slide29.xml"/><Relationship Id="rId32" Type="http://schemas.openxmlformats.org/officeDocument/2006/relationships/slide" Target="slides/slide30.xml"/><Relationship Id="rId9" Type="http://schemas.openxmlformats.org/officeDocument/2006/relationships/slide" Target="slides/slide7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33" Type="http://schemas.openxmlformats.org/officeDocument/2006/relationships/slide" Target="slides/slide31.xml"/><Relationship Id="rId34" Type="http://schemas.openxmlformats.org/officeDocument/2006/relationships/slide" Target="slides/slide32.xml"/><Relationship Id="rId35" Type="http://schemas.openxmlformats.org/officeDocument/2006/relationships/slide" Target="slides/slide33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Relationship Id="rId37" Type="http://schemas.openxmlformats.org/officeDocument/2006/relationships/slide" Target="slides/slide35.xml"/><Relationship Id="rId38" Type="http://schemas.openxmlformats.org/officeDocument/2006/relationships/slide" Target="slides/slide36.xml"/><Relationship Id="rId39" Type="http://schemas.openxmlformats.org/officeDocument/2006/relationships/notesMaster" Target="notesMasters/notesMaster1.xml"/><Relationship Id="rId40" Type="http://schemas.openxmlformats.org/officeDocument/2006/relationships/printerSettings" Target="printerSettings/printerSettings1.bin"/><Relationship Id="rId41" Type="http://schemas.openxmlformats.org/officeDocument/2006/relationships/presProps" Target="presProps.xml"/><Relationship Id="rId42" Type="http://schemas.openxmlformats.org/officeDocument/2006/relationships/viewProps" Target="viewProps.xml"/><Relationship Id="rId43" Type="http://schemas.openxmlformats.org/officeDocument/2006/relationships/theme" Target="theme/theme1.xml"/><Relationship Id="rId44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4" Type="http://schemas.openxmlformats.org/officeDocument/2006/relationships/image" Target="../media/image144.png"/><Relationship Id="rId5" Type="http://schemas.openxmlformats.org/officeDocument/2006/relationships/image" Target="../media/image145.png"/><Relationship Id="rId6" Type="http://schemas.openxmlformats.org/officeDocument/2006/relationships/image" Target="../media/image146.png"/><Relationship Id="rId7" Type="http://schemas.openxmlformats.org/officeDocument/2006/relationships/image" Target="../media/image147.png"/><Relationship Id="rId8" Type="http://schemas.openxmlformats.org/officeDocument/2006/relationships/image" Target="../media/image148.png"/><Relationship Id="rId9" Type="http://schemas.openxmlformats.org/officeDocument/2006/relationships/image" Target="../media/image149.png"/><Relationship Id="rId10" Type="http://schemas.openxmlformats.org/officeDocument/2006/relationships/image" Target="../media/image150.png"/><Relationship Id="rId1" Type="http://schemas.openxmlformats.org/officeDocument/2006/relationships/image" Target="../media/image141.png"/><Relationship Id="rId2" Type="http://schemas.openxmlformats.org/officeDocument/2006/relationships/image" Target="../media/image142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4" Type="http://schemas.openxmlformats.org/officeDocument/2006/relationships/image" Target="../media/image144.png"/><Relationship Id="rId5" Type="http://schemas.openxmlformats.org/officeDocument/2006/relationships/image" Target="../media/image145.png"/><Relationship Id="rId6" Type="http://schemas.openxmlformats.org/officeDocument/2006/relationships/image" Target="../media/image146.png"/><Relationship Id="rId7" Type="http://schemas.openxmlformats.org/officeDocument/2006/relationships/image" Target="../media/image147.png"/><Relationship Id="rId8" Type="http://schemas.openxmlformats.org/officeDocument/2006/relationships/image" Target="../media/image148.png"/><Relationship Id="rId9" Type="http://schemas.openxmlformats.org/officeDocument/2006/relationships/image" Target="../media/image149.png"/><Relationship Id="rId10" Type="http://schemas.openxmlformats.org/officeDocument/2006/relationships/image" Target="../media/image150.png"/><Relationship Id="rId1" Type="http://schemas.openxmlformats.org/officeDocument/2006/relationships/image" Target="../media/image141.png"/><Relationship Id="rId2" Type="http://schemas.openxmlformats.org/officeDocument/2006/relationships/image" Target="../media/image14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3">
  <dgm:title val=""/>
  <dgm:desc val=""/>
  <dgm:catLst>
    <dgm:cat type="accent5" pri="11300"/>
  </dgm:catLst>
  <dgm:styleLbl name="node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shade val="80000"/>
      </a:schemeClr>
      <a:schemeClr val="accent5">
        <a:tint val="7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/>
    <dgm:txEffectClrLst/>
  </dgm:styleLbl>
  <dgm:styleLbl name="ln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9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8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1D449D3-2C75-9748-B0D2-8B8EEC76448A}" type="doc">
      <dgm:prSet loTypeId="urn:microsoft.com/office/officeart/2008/layout/HexagonCluster" loCatId="" qsTypeId="urn:microsoft.com/office/officeart/2005/8/quickstyle/simple1" qsCatId="simple" csTypeId="urn:microsoft.com/office/officeart/2005/8/colors/accent5_3" csCatId="accent5" phldr="1"/>
      <dgm:spPr/>
      <dgm:t>
        <a:bodyPr/>
        <a:lstStyle/>
        <a:p>
          <a:endParaRPr lang="en-US"/>
        </a:p>
      </dgm:t>
    </dgm:pt>
    <dgm:pt modelId="{A0C06371-7B0A-C649-B3D1-56856B7E0407}">
      <dgm:prSet phldrT="[Text]" custT="1"/>
      <dgm:spPr>
        <a:solidFill>
          <a:srgbClr val="449E8A"/>
        </a:solidFill>
        <a:ln>
          <a:solidFill>
            <a:srgbClr val="449F8A"/>
          </a:solidFill>
        </a:ln>
      </dgm:spPr>
      <dgm:t>
        <a:bodyPr/>
        <a:lstStyle/>
        <a:p>
          <a:r>
            <a:rPr lang="en-US" sz="1050" dirty="0" smtClean="0">
              <a:latin typeface="HelvNeue for IBM Medium"/>
            </a:rPr>
            <a:t>Automotive</a:t>
          </a:r>
          <a:endParaRPr lang="en-US" sz="1050" dirty="0">
            <a:latin typeface="HelvNeue for IBM Medium"/>
          </a:endParaRPr>
        </a:p>
      </dgm:t>
    </dgm:pt>
    <dgm:pt modelId="{5A4779EA-5A3C-0543-87AD-1B1D2E77EA65}" type="parTrans" cxnId="{481EDC57-CD84-E44C-9B0E-0628E411089E}">
      <dgm:prSet/>
      <dgm:spPr/>
      <dgm:t>
        <a:bodyPr/>
        <a:lstStyle/>
        <a:p>
          <a:endParaRPr lang="en-US">
            <a:latin typeface="HelvNeue for IBM Medium"/>
          </a:endParaRPr>
        </a:p>
      </dgm:t>
    </dgm:pt>
    <dgm:pt modelId="{927008D3-7CCA-A04A-A145-9344C724E366}" type="sibTrans" cxnId="{481EDC57-CD84-E44C-9B0E-0628E411089E}">
      <dgm:prSet/>
      <dgm:spPr>
        <a:blipFill rotWithShape="1"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  <dgm:t>
        <a:bodyPr/>
        <a:lstStyle/>
        <a:p>
          <a:endParaRPr lang="en-US">
            <a:latin typeface="HelvNeue for IBM Medium"/>
          </a:endParaRPr>
        </a:p>
      </dgm:t>
    </dgm:pt>
    <dgm:pt modelId="{6FAB8643-FFBA-A54B-92BB-5F1359F8B625}">
      <dgm:prSet phldrT="[Text]" custT="1"/>
      <dgm:spPr>
        <a:solidFill>
          <a:srgbClr val="449E8A"/>
        </a:solidFill>
        <a:ln>
          <a:solidFill>
            <a:srgbClr val="449F8A"/>
          </a:solidFill>
        </a:ln>
      </dgm:spPr>
      <dgm:t>
        <a:bodyPr/>
        <a:lstStyle/>
        <a:p>
          <a:r>
            <a:rPr lang="en-US" sz="1100" dirty="0" smtClean="0">
              <a:latin typeface="HelvNeue for IBM Medium"/>
            </a:rPr>
            <a:t>Retail</a:t>
          </a:r>
          <a:endParaRPr lang="en-US" sz="1100" dirty="0">
            <a:latin typeface="HelvNeue for IBM Medium"/>
          </a:endParaRPr>
        </a:p>
      </dgm:t>
    </dgm:pt>
    <dgm:pt modelId="{0BE734F5-F209-584C-A519-3CCC101ED555}" type="parTrans" cxnId="{8449E3FA-4AFA-194F-B73C-C958EDAA60ED}">
      <dgm:prSet/>
      <dgm:spPr/>
      <dgm:t>
        <a:bodyPr/>
        <a:lstStyle/>
        <a:p>
          <a:endParaRPr lang="en-US">
            <a:latin typeface="HelvNeue for IBM Medium"/>
          </a:endParaRPr>
        </a:p>
      </dgm:t>
    </dgm:pt>
    <dgm:pt modelId="{24EB1AA4-08FC-554F-8E63-63C2703E9139}" type="sibTrans" cxnId="{8449E3FA-4AFA-194F-B73C-C958EDAA60ED}">
      <dgm:prSet/>
      <dgm:spPr>
        <a:blipFill rotWithShape="1"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  <dgm:t>
        <a:bodyPr/>
        <a:lstStyle/>
        <a:p>
          <a:endParaRPr lang="en-US" sz="1100">
            <a:latin typeface="HelvNeue for IBM Medium"/>
          </a:endParaRPr>
        </a:p>
      </dgm:t>
    </dgm:pt>
    <dgm:pt modelId="{30F9DA46-7DF2-F746-B5FF-5237FA826688}">
      <dgm:prSet phldrT="[Text]" custT="1"/>
      <dgm:spPr>
        <a:solidFill>
          <a:srgbClr val="449E8A"/>
        </a:solidFill>
        <a:ln>
          <a:solidFill>
            <a:srgbClr val="4BB099"/>
          </a:solidFill>
        </a:ln>
      </dgm:spPr>
      <dgm:t>
        <a:bodyPr/>
        <a:lstStyle/>
        <a:p>
          <a:r>
            <a:rPr lang="en-US" sz="1050" dirty="0" smtClean="0">
              <a:latin typeface="HelvNeue for IBM Medium"/>
            </a:rPr>
            <a:t>Electronics</a:t>
          </a:r>
          <a:endParaRPr lang="en-US" sz="1050" dirty="0">
            <a:latin typeface="HelvNeue for IBM Medium"/>
          </a:endParaRPr>
        </a:p>
      </dgm:t>
    </dgm:pt>
    <dgm:pt modelId="{818A9C7F-B6A5-794D-8B4F-C99EDDCAC6E2}" type="parTrans" cxnId="{095B92FE-D6F1-5C44-B3F2-86F25FB236EC}">
      <dgm:prSet/>
      <dgm:spPr/>
      <dgm:t>
        <a:bodyPr/>
        <a:lstStyle/>
        <a:p>
          <a:endParaRPr lang="en-US">
            <a:latin typeface="HelvNeue for IBM Medium"/>
          </a:endParaRPr>
        </a:p>
      </dgm:t>
    </dgm:pt>
    <dgm:pt modelId="{5EA36583-C3B7-A840-B069-24995081DC86}" type="sibTrans" cxnId="{095B92FE-D6F1-5C44-B3F2-86F25FB236EC}">
      <dgm:prSet/>
      <dgm:spPr>
        <a:blipFill rotWithShape="1"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  <dgm:t>
        <a:bodyPr/>
        <a:lstStyle/>
        <a:p>
          <a:endParaRPr lang="en-US" sz="1100">
            <a:latin typeface="HelvNeue for IBM Medium"/>
          </a:endParaRPr>
        </a:p>
      </dgm:t>
    </dgm:pt>
    <dgm:pt modelId="{DDB48E0E-F3D1-C740-8757-35EB7C1AD2C1}">
      <dgm:prSet phldrT="[Text]" custT="1"/>
      <dgm:spPr>
        <a:solidFill>
          <a:srgbClr val="5CDBC0"/>
        </a:solidFill>
        <a:ln>
          <a:solidFill>
            <a:srgbClr val="5CDBC0"/>
          </a:solidFill>
        </a:ln>
      </dgm:spPr>
      <dgm:t>
        <a:bodyPr/>
        <a:lstStyle/>
        <a:p>
          <a:r>
            <a:rPr lang="en-US" sz="1100" dirty="0" smtClean="0">
              <a:latin typeface="HelvNeue for IBM Medium"/>
            </a:rPr>
            <a:t>Industrial Products</a:t>
          </a:r>
          <a:endParaRPr lang="en-US" sz="1100" dirty="0">
            <a:latin typeface="HelvNeue for IBM Medium"/>
          </a:endParaRPr>
        </a:p>
      </dgm:t>
    </dgm:pt>
    <dgm:pt modelId="{E4F82246-3A72-2A4D-BA71-5C8F3BA3051B}" type="parTrans" cxnId="{756963E6-47AA-0F40-93F3-A1C0A23AC485}">
      <dgm:prSet/>
      <dgm:spPr/>
      <dgm:t>
        <a:bodyPr/>
        <a:lstStyle/>
        <a:p>
          <a:endParaRPr lang="en-US">
            <a:latin typeface="HelvNeue for IBM Medium"/>
          </a:endParaRPr>
        </a:p>
      </dgm:t>
    </dgm:pt>
    <dgm:pt modelId="{A9FE1A0C-BA30-8B43-B142-8EB6085C7089}" type="sibTrans" cxnId="{756963E6-47AA-0F40-93F3-A1C0A23AC485}">
      <dgm:prSet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en-US" sz="1100">
            <a:latin typeface="HelvNeue for IBM Medium"/>
          </a:endParaRPr>
        </a:p>
      </dgm:t>
    </dgm:pt>
    <dgm:pt modelId="{DA7FEEF7-4B22-EE41-BAFD-116A27C2F9A4}">
      <dgm:prSet phldrT="[Text]" custT="1"/>
      <dgm:spPr>
        <a:solidFill>
          <a:srgbClr val="449E8A"/>
        </a:solidFill>
        <a:ln>
          <a:solidFill>
            <a:srgbClr val="4BB099"/>
          </a:solidFill>
        </a:ln>
      </dgm:spPr>
      <dgm:t>
        <a:bodyPr/>
        <a:lstStyle/>
        <a:p>
          <a:r>
            <a:rPr lang="en-US" sz="1100" dirty="0" smtClean="0">
              <a:latin typeface="HelvNeue for IBM Medium"/>
            </a:rPr>
            <a:t>Insurance</a:t>
          </a:r>
          <a:endParaRPr lang="en-US" sz="1100" dirty="0">
            <a:latin typeface="HelvNeue for IBM Medium"/>
          </a:endParaRPr>
        </a:p>
      </dgm:t>
    </dgm:pt>
    <dgm:pt modelId="{F46616B5-9704-5D4B-985E-19BA1B0F5B9F}" type="parTrans" cxnId="{AEA702B1-7AB2-AF40-A92C-37A772FD8F34}">
      <dgm:prSet/>
      <dgm:spPr/>
      <dgm:t>
        <a:bodyPr/>
        <a:lstStyle/>
        <a:p>
          <a:endParaRPr lang="en-US">
            <a:latin typeface="HelvNeue for IBM Medium"/>
          </a:endParaRPr>
        </a:p>
      </dgm:t>
    </dgm:pt>
    <dgm:pt modelId="{C43241E6-57F1-EC47-B3FF-CC26261EB0D2}" type="sibTrans" cxnId="{AEA702B1-7AB2-AF40-A92C-37A772FD8F34}">
      <dgm:prSet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  <dgm:t>
        <a:bodyPr/>
        <a:lstStyle/>
        <a:p>
          <a:endParaRPr lang="en-US" sz="1100">
            <a:latin typeface="HelvNeue for IBM Medium"/>
          </a:endParaRPr>
        </a:p>
      </dgm:t>
    </dgm:pt>
    <dgm:pt modelId="{354C5BB2-F005-3E46-BA1C-DDAB2D62F0FB}">
      <dgm:prSet phldrT="[Text]" custT="1"/>
      <dgm:spPr>
        <a:solidFill>
          <a:srgbClr val="449E8A"/>
        </a:solidFill>
        <a:ln>
          <a:solidFill>
            <a:srgbClr val="5CDBBF"/>
          </a:solidFill>
        </a:ln>
      </dgm:spPr>
      <dgm:t>
        <a:bodyPr/>
        <a:lstStyle/>
        <a:p>
          <a:r>
            <a:rPr lang="en-US" sz="1100" dirty="0" smtClean="0">
              <a:latin typeface="HelvNeue for IBM Medium"/>
            </a:rPr>
            <a:t>Aviation</a:t>
          </a:r>
          <a:endParaRPr lang="en-US" sz="1100" dirty="0">
            <a:latin typeface="HelvNeue for IBM Medium"/>
          </a:endParaRPr>
        </a:p>
      </dgm:t>
    </dgm:pt>
    <dgm:pt modelId="{02EAFE07-C6BE-8E43-8B12-DF54DE1ECDA4}" type="parTrans" cxnId="{1781DBAF-B6A5-A44F-8CEF-7778F3469EC0}">
      <dgm:prSet/>
      <dgm:spPr/>
      <dgm:t>
        <a:bodyPr/>
        <a:lstStyle/>
        <a:p>
          <a:endParaRPr lang="en-US">
            <a:latin typeface="HelvNeue for IBM Medium"/>
          </a:endParaRPr>
        </a:p>
      </dgm:t>
    </dgm:pt>
    <dgm:pt modelId="{6C0567ED-3D11-7E42-BC88-BB749E1C368E}" type="sibTrans" cxnId="{1781DBAF-B6A5-A44F-8CEF-7778F3469EC0}">
      <dgm:prSet/>
      <dgm:spPr>
        <a:blipFill rotWithShape="1">
          <a:blip xmlns:r="http://schemas.openxmlformats.org/officeDocument/2006/relationships" r:embed="rId6"/>
          <a:stretch>
            <a:fillRect/>
          </a:stretch>
        </a:blipFill>
      </dgm:spPr>
      <dgm:t>
        <a:bodyPr/>
        <a:lstStyle/>
        <a:p>
          <a:endParaRPr lang="en-US" sz="1100">
            <a:latin typeface="HelvNeue for IBM Medium"/>
          </a:endParaRPr>
        </a:p>
      </dgm:t>
    </dgm:pt>
    <dgm:pt modelId="{78338F37-043A-E14F-8BC1-DB81EDFF41D6}">
      <dgm:prSet phldrT="[Text]" custT="1"/>
      <dgm:spPr>
        <a:solidFill>
          <a:srgbClr val="5CDBBF"/>
        </a:solidFill>
        <a:ln>
          <a:solidFill>
            <a:srgbClr val="5CDBBF"/>
          </a:solidFill>
        </a:ln>
      </dgm:spPr>
      <dgm:t>
        <a:bodyPr/>
        <a:lstStyle/>
        <a:p>
          <a:r>
            <a:rPr lang="en-US" sz="1100" dirty="0" smtClean="0">
              <a:latin typeface="HelvNeue for IBM Medium"/>
            </a:rPr>
            <a:t>Energy &amp; Utilities</a:t>
          </a:r>
          <a:endParaRPr lang="en-US" sz="1100" dirty="0">
            <a:latin typeface="HelvNeue for IBM Medium"/>
          </a:endParaRPr>
        </a:p>
      </dgm:t>
    </dgm:pt>
    <dgm:pt modelId="{09D9FF30-FDCC-744E-953B-37359C92B244}" type="parTrans" cxnId="{D976D2BD-9172-8345-A48C-07ECC1C9FFB8}">
      <dgm:prSet/>
      <dgm:spPr/>
      <dgm:t>
        <a:bodyPr/>
        <a:lstStyle/>
        <a:p>
          <a:endParaRPr lang="en-US">
            <a:latin typeface="HelvNeue for IBM Medium"/>
          </a:endParaRPr>
        </a:p>
      </dgm:t>
    </dgm:pt>
    <dgm:pt modelId="{9DE22DFE-A8F6-5042-9B77-3A322C07AAA4}" type="sibTrans" cxnId="{D976D2BD-9172-8345-A48C-07ECC1C9FFB8}">
      <dgm:prSet/>
      <dgm:spPr>
        <a:blipFill rotWithShape="1">
          <a:blip xmlns:r="http://schemas.openxmlformats.org/officeDocument/2006/relationships" r:embed="rId7"/>
          <a:stretch>
            <a:fillRect/>
          </a:stretch>
        </a:blipFill>
      </dgm:spPr>
      <dgm:t>
        <a:bodyPr/>
        <a:lstStyle/>
        <a:p>
          <a:endParaRPr lang="en-US" sz="1100">
            <a:latin typeface="HelvNeue for IBM Medium"/>
          </a:endParaRPr>
        </a:p>
      </dgm:t>
    </dgm:pt>
    <dgm:pt modelId="{2404AA87-A4C3-B643-9E98-CB75DA59AC10}">
      <dgm:prSet phldrT="[Text]" custT="1"/>
      <dgm:spPr>
        <a:solidFill>
          <a:srgbClr val="5CDBBF"/>
        </a:solidFill>
        <a:ln>
          <a:solidFill>
            <a:srgbClr val="5CDBBF"/>
          </a:solidFill>
        </a:ln>
      </dgm:spPr>
      <dgm:t>
        <a:bodyPr/>
        <a:lstStyle/>
        <a:p>
          <a:r>
            <a:rPr lang="en-US" sz="1100" dirty="0" smtClean="0">
              <a:latin typeface="HelvNeue for IBM Medium"/>
            </a:rPr>
            <a:t>Chemical &amp; Petroleum</a:t>
          </a:r>
          <a:endParaRPr lang="en-US" sz="1100" dirty="0">
            <a:latin typeface="HelvNeue for IBM Medium"/>
          </a:endParaRPr>
        </a:p>
      </dgm:t>
    </dgm:pt>
    <dgm:pt modelId="{10A40421-A712-ED48-A67C-8D83A9AFF1D0}" type="parTrans" cxnId="{F133E194-6F1C-6E46-A417-3C7D70BA9B3B}">
      <dgm:prSet/>
      <dgm:spPr/>
      <dgm:t>
        <a:bodyPr/>
        <a:lstStyle/>
        <a:p>
          <a:endParaRPr lang="en-US">
            <a:latin typeface="HelvNeue for IBM Medium"/>
          </a:endParaRPr>
        </a:p>
      </dgm:t>
    </dgm:pt>
    <dgm:pt modelId="{3C5CB890-9BBF-ED47-BA09-F776863DC31D}" type="sibTrans" cxnId="{F133E194-6F1C-6E46-A417-3C7D70BA9B3B}">
      <dgm:prSet/>
      <dgm:spPr>
        <a:blipFill rotWithShape="1">
          <a:blip xmlns:r="http://schemas.openxmlformats.org/officeDocument/2006/relationships" r:embed="rId8"/>
          <a:stretch>
            <a:fillRect/>
          </a:stretch>
        </a:blipFill>
      </dgm:spPr>
      <dgm:t>
        <a:bodyPr/>
        <a:lstStyle/>
        <a:p>
          <a:endParaRPr lang="en-US" sz="1100">
            <a:latin typeface="HelvNeue for IBM Medium"/>
          </a:endParaRPr>
        </a:p>
      </dgm:t>
    </dgm:pt>
    <dgm:pt modelId="{884C5EB6-26DE-8641-A6F2-D96CE8785790}">
      <dgm:prSet phldrT="[Text]" custT="1"/>
      <dgm:spPr>
        <a:solidFill>
          <a:srgbClr val="5CDBBF"/>
        </a:solidFill>
        <a:ln>
          <a:solidFill>
            <a:srgbClr val="5CDBBF"/>
          </a:solidFill>
        </a:ln>
      </dgm:spPr>
      <dgm:t>
        <a:bodyPr/>
        <a:lstStyle/>
        <a:p>
          <a:r>
            <a:rPr lang="en-US" sz="1100" dirty="0" smtClean="0">
              <a:latin typeface="HelvNeue for IBM Medium"/>
            </a:rPr>
            <a:t>Transport</a:t>
          </a:r>
        </a:p>
      </dgm:t>
    </dgm:pt>
    <dgm:pt modelId="{01DC0D0E-7CC2-9F4F-AEF5-C0C0EDD25163}" type="parTrans" cxnId="{32129387-3C9E-5A43-BC1E-7802BE366E06}">
      <dgm:prSet/>
      <dgm:spPr/>
      <dgm:t>
        <a:bodyPr/>
        <a:lstStyle/>
        <a:p>
          <a:endParaRPr lang="en-US">
            <a:latin typeface="HelvNeue for IBM Medium"/>
          </a:endParaRPr>
        </a:p>
      </dgm:t>
    </dgm:pt>
    <dgm:pt modelId="{DBC1FFC3-0DFE-0645-A67A-A721C2067546}" type="sibTrans" cxnId="{32129387-3C9E-5A43-BC1E-7802BE366E06}">
      <dgm:prSet/>
      <dgm:spPr>
        <a:blipFill rotWithShape="1">
          <a:blip xmlns:r="http://schemas.openxmlformats.org/officeDocument/2006/relationships"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  <dgm:t>
        <a:bodyPr/>
        <a:lstStyle/>
        <a:p>
          <a:endParaRPr lang="en-US" sz="1100">
            <a:latin typeface="HelvNeue for IBM Medium"/>
          </a:endParaRPr>
        </a:p>
      </dgm:t>
    </dgm:pt>
    <dgm:pt modelId="{546B7B00-206D-DF44-85B3-003BCB182F23}">
      <dgm:prSet phldrT="[Text]" custT="1"/>
      <dgm:spPr>
        <a:solidFill>
          <a:srgbClr val="5CDBBF"/>
        </a:solidFill>
        <a:ln>
          <a:solidFill>
            <a:srgbClr val="5CDBBF"/>
          </a:solidFill>
        </a:ln>
      </dgm:spPr>
      <dgm:t>
        <a:bodyPr/>
        <a:lstStyle/>
        <a:p>
          <a:r>
            <a:rPr lang="en-US" sz="1100" dirty="0" smtClean="0">
              <a:latin typeface="HelvNeue for IBM Medium"/>
            </a:rPr>
            <a:t>Healthcare</a:t>
          </a:r>
          <a:endParaRPr lang="en-US" sz="1100" dirty="0">
            <a:latin typeface="HelvNeue for IBM Medium"/>
          </a:endParaRPr>
        </a:p>
      </dgm:t>
    </dgm:pt>
    <dgm:pt modelId="{34F065B4-BC10-F541-B2C6-2B1E6E9EBAF3}" type="parTrans" cxnId="{B40C2FB7-65CC-314D-9C91-194BED109F55}">
      <dgm:prSet/>
      <dgm:spPr/>
      <dgm:t>
        <a:bodyPr/>
        <a:lstStyle/>
        <a:p>
          <a:endParaRPr lang="en-US">
            <a:latin typeface="HelvNeue for IBM Medium"/>
          </a:endParaRPr>
        </a:p>
      </dgm:t>
    </dgm:pt>
    <dgm:pt modelId="{05A8E97E-C065-514B-9C14-06D6AE80D23B}" type="sibTrans" cxnId="{B40C2FB7-65CC-314D-9C91-194BED109F55}">
      <dgm:prSet/>
      <dgm:spPr>
        <a:blipFill rotWithShape="1">
          <a:blip xmlns:r="http://schemas.openxmlformats.org/officeDocument/2006/relationships" r:embed="rId10"/>
          <a:stretch>
            <a:fillRect/>
          </a:stretch>
        </a:blipFill>
      </dgm:spPr>
      <dgm:t>
        <a:bodyPr/>
        <a:lstStyle/>
        <a:p>
          <a:endParaRPr lang="en-US">
            <a:latin typeface="HelvNeue for IBM Medium"/>
          </a:endParaRPr>
        </a:p>
      </dgm:t>
    </dgm:pt>
    <dgm:pt modelId="{0AC382F9-C0D8-CF4D-99BD-CF606C426E2C}" type="pres">
      <dgm:prSet presAssocID="{D1D449D3-2C75-9748-B0D2-8B8EEC76448A}" presName="Name0" presStyleCnt="0">
        <dgm:presLayoutVars>
          <dgm:chMax val="21"/>
          <dgm:chPref val="21"/>
        </dgm:presLayoutVars>
      </dgm:prSet>
      <dgm:spPr/>
      <dgm:t>
        <a:bodyPr/>
        <a:lstStyle/>
        <a:p>
          <a:endParaRPr lang="en-US"/>
        </a:p>
      </dgm:t>
    </dgm:pt>
    <dgm:pt modelId="{ADCE714F-C702-4D46-9619-EC586AD929FD}" type="pres">
      <dgm:prSet presAssocID="{A0C06371-7B0A-C649-B3D1-56856B7E0407}" presName="text1" presStyleCnt="0"/>
      <dgm:spPr/>
    </dgm:pt>
    <dgm:pt modelId="{3DCFE6B5-237A-B047-B6FC-0661A892C7C3}" type="pres">
      <dgm:prSet presAssocID="{A0C06371-7B0A-C649-B3D1-56856B7E0407}" presName="textRepeatNode" presStyleLbl="alignNode1" presStyleIdx="0" presStyleCnt="1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C9BB566-A19F-974B-A6BE-EAFA15C0A7C7}" type="pres">
      <dgm:prSet presAssocID="{A0C06371-7B0A-C649-B3D1-56856B7E0407}" presName="textaccent1" presStyleCnt="0"/>
      <dgm:spPr/>
    </dgm:pt>
    <dgm:pt modelId="{B1175ABC-3D1B-0E47-B071-93441D521652}" type="pres">
      <dgm:prSet presAssocID="{A0C06371-7B0A-C649-B3D1-56856B7E0407}" presName="accentRepeatNode" presStyleLbl="solidAlignAcc1" presStyleIdx="0" presStyleCnt="20"/>
      <dgm:spPr/>
    </dgm:pt>
    <dgm:pt modelId="{F06FBAF2-4140-D84C-984A-33265FB230EA}" type="pres">
      <dgm:prSet presAssocID="{927008D3-7CCA-A04A-A145-9344C724E366}" presName="image1" presStyleCnt="0"/>
      <dgm:spPr/>
    </dgm:pt>
    <dgm:pt modelId="{7FEFF82F-39D1-E642-AE6D-7A701AA2898A}" type="pres">
      <dgm:prSet presAssocID="{927008D3-7CCA-A04A-A145-9344C724E366}" presName="imageRepeatNode" presStyleLbl="alignAcc1" presStyleIdx="0" presStyleCnt="10"/>
      <dgm:spPr/>
      <dgm:t>
        <a:bodyPr/>
        <a:lstStyle/>
        <a:p>
          <a:endParaRPr lang="en-US"/>
        </a:p>
      </dgm:t>
    </dgm:pt>
    <dgm:pt modelId="{1FE343CF-B064-AA4D-83BA-761D6737439B}" type="pres">
      <dgm:prSet presAssocID="{927008D3-7CCA-A04A-A145-9344C724E366}" presName="imageaccent1" presStyleCnt="0"/>
      <dgm:spPr/>
    </dgm:pt>
    <dgm:pt modelId="{6A340AE1-BC53-9F46-864E-F4C2CC8DD673}" type="pres">
      <dgm:prSet presAssocID="{927008D3-7CCA-A04A-A145-9344C724E366}" presName="accentRepeatNode" presStyleLbl="solidAlignAcc1" presStyleIdx="1" presStyleCnt="20"/>
      <dgm:spPr/>
    </dgm:pt>
    <dgm:pt modelId="{FA289486-5F22-5440-B189-A6C78AF0EE00}" type="pres">
      <dgm:prSet presAssocID="{6FAB8643-FFBA-A54B-92BB-5F1359F8B625}" presName="text2" presStyleCnt="0"/>
      <dgm:spPr/>
    </dgm:pt>
    <dgm:pt modelId="{EFF90A66-96CD-C140-9401-B8CF312EA796}" type="pres">
      <dgm:prSet presAssocID="{6FAB8643-FFBA-A54B-92BB-5F1359F8B625}" presName="textRepeatNode" presStyleLbl="alignNode1" presStyleIdx="1" presStyleCnt="1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12178E3-CF77-D04D-B699-0D95540446CD}" type="pres">
      <dgm:prSet presAssocID="{6FAB8643-FFBA-A54B-92BB-5F1359F8B625}" presName="textaccent2" presStyleCnt="0"/>
      <dgm:spPr/>
    </dgm:pt>
    <dgm:pt modelId="{00B472AD-44FD-FE47-AFE3-59F2969DBD4E}" type="pres">
      <dgm:prSet presAssocID="{6FAB8643-FFBA-A54B-92BB-5F1359F8B625}" presName="accentRepeatNode" presStyleLbl="solidAlignAcc1" presStyleIdx="2" presStyleCnt="20"/>
      <dgm:spPr/>
    </dgm:pt>
    <dgm:pt modelId="{A2410341-D87C-1B4B-AE2A-A26B1D0531AC}" type="pres">
      <dgm:prSet presAssocID="{24EB1AA4-08FC-554F-8E63-63C2703E9139}" presName="image2" presStyleCnt="0"/>
      <dgm:spPr/>
    </dgm:pt>
    <dgm:pt modelId="{83E61004-11E6-414F-9770-586EDF6C687D}" type="pres">
      <dgm:prSet presAssocID="{24EB1AA4-08FC-554F-8E63-63C2703E9139}" presName="imageRepeatNode" presStyleLbl="alignAcc1" presStyleIdx="1" presStyleCnt="10"/>
      <dgm:spPr/>
      <dgm:t>
        <a:bodyPr/>
        <a:lstStyle/>
        <a:p>
          <a:endParaRPr lang="en-US"/>
        </a:p>
      </dgm:t>
    </dgm:pt>
    <dgm:pt modelId="{C1995556-3A42-0544-893A-27D4360823AD}" type="pres">
      <dgm:prSet presAssocID="{24EB1AA4-08FC-554F-8E63-63C2703E9139}" presName="imageaccent2" presStyleCnt="0"/>
      <dgm:spPr/>
    </dgm:pt>
    <dgm:pt modelId="{F7FF7A28-F91D-E34A-8ADC-3480E1C3F53B}" type="pres">
      <dgm:prSet presAssocID="{24EB1AA4-08FC-554F-8E63-63C2703E9139}" presName="accentRepeatNode" presStyleLbl="solidAlignAcc1" presStyleIdx="3" presStyleCnt="20"/>
      <dgm:spPr/>
    </dgm:pt>
    <dgm:pt modelId="{258897F6-81B2-7440-9999-B8068F9007B6}" type="pres">
      <dgm:prSet presAssocID="{30F9DA46-7DF2-F746-B5FF-5237FA826688}" presName="text3" presStyleCnt="0"/>
      <dgm:spPr/>
    </dgm:pt>
    <dgm:pt modelId="{D3F764C2-C9CA-AC4B-8676-6690799B4B94}" type="pres">
      <dgm:prSet presAssocID="{30F9DA46-7DF2-F746-B5FF-5237FA826688}" presName="textRepeatNode" presStyleLbl="alignNode1" presStyleIdx="2" presStyleCnt="1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853983F-3FDD-134D-B4E0-88B0EA80EA70}" type="pres">
      <dgm:prSet presAssocID="{30F9DA46-7DF2-F746-B5FF-5237FA826688}" presName="textaccent3" presStyleCnt="0"/>
      <dgm:spPr/>
    </dgm:pt>
    <dgm:pt modelId="{2343B998-0EB5-0345-BAF1-1CDE00B521E2}" type="pres">
      <dgm:prSet presAssocID="{30F9DA46-7DF2-F746-B5FF-5237FA826688}" presName="accentRepeatNode" presStyleLbl="solidAlignAcc1" presStyleIdx="4" presStyleCnt="20"/>
      <dgm:spPr/>
    </dgm:pt>
    <dgm:pt modelId="{D206E240-E382-3846-B407-0CAEA82DC408}" type="pres">
      <dgm:prSet presAssocID="{5EA36583-C3B7-A840-B069-24995081DC86}" presName="image3" presStyleCnt="0"/>
      <dgm:spPr/>
    </dgm:pt>
    <dgm:pt modelId="{FC555297-7F85-8849-ADC8-00585E6CBFEE}" type="pres">
      <dgm:prSet presAssocID="{5EA36583-C3B7-A840-B069-24995081DC86}" presName="imageRepeatNode" presStyleLbl="alignAcc1" presStyleIdx="2" presStyleCnt="10"/>
      <dgm:spPr/>
      <dgm:t>
        <a:bodyPr/>
        <a:lstStyle/>
        <a:p>
          <a:endParaRPr lang="en-US"/>
        </a:p>
      </dgm:t>
    </dgm:pt>
    <dgm:pt modelId="{03E39672-4A09-9E48-B43C-4D049E9DD6D3}" type="pres">
      <dgm:prSet presAssocID="{5EA36583-C3B7-A840-B069-24995081DC86}" presName="imageaccent3" presStyleCnt="0"/>
      <dgm:spPr/>
    </dgm:pt>
    <dgm:pt modelId="{EA3C24DD-7089-4C41-8FF5-E1F6824CE491}" type="pres">
      <dgm:prSet presAssocID="{5EA36583-C3B7-A840-B069-24995081DC86}" presName="accentRepeatNode" presStyleLbl="solidAlignAcc1" presStyleIdx="5" presStyleCnt="20"/>
      <dgm:spPr/>
    </dgm:pt>
    <dgm:pt modelId="{3A114B14-A3B8-EB48-92B0-B8F00014A0AB}" type="pres">
      <dgm:prSet presAssocID="{DDB48E0E-F3D1-C740-8757-35EB7C1AD2C1}" presName="text4" presStyleCnt="0"/>
      <dgm:spPr/>
    </dgm:pt>
    <dgm:pt modelId="{FC041DAC-50A7-F845-A633-D0176A83C047}" type="pres">
      <dgm:prSet presAssocID="{DDB48E0E-F3D1-C740-8757-35EB7C1AD2C1}" presName="textRepeatNode" presStyleLbl="alignNode1" presStyleIdx="3" presStyleCnt="1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F83B663-1465-0346-8A09-0D8632BFE610}" type="pres">
      <dgm:prSet presAssocID="{DDB48E0E-F3D1-C740-8757-35EB7C1AD2C1}" presName="textaccent4" presStyleCnt="0"/>
      <dgm:spPr/>
    </dgm:pt>
    <dgm:pt modelId="{1D36502A-5648-7443-BDE9-4F73A13E46CC}" type="pres">
      <dgm:prSet presAssocID="{DDB48E0E-F3D1-C740-8757-35EB7C1AD2C1}" presName="accentRepeatNode" presStyleLbl="solidAlignAcc1" presStyleIdx="6" presStyleCnt="20"/>
      <dgm:spPr/>
    </dgm:pt>
    <dgm:pt modelId="{4D127BC0-1E1F-7D45-BDB1-D5A742541E2B}" type="pres">
      <dgm:prSet presAssocID="{A9FE1A0C-BA30-8B43-B142-8EB6085C7089}" presName="image4" presStyleCnt="0"/>
      <dgm:spPr/>
    </dgm:pt>
    <dgm:pt modelId="{493CA799-6947-5349-8101-387F471805B1}" type="pres">
      <dgm:prSet presAssocID="{A9FE1A0C-BA30-8B43-B142-8EB6085C7089}" presName="imageRepeatNode" presStyleLbl="alignAcc1" presStyleIdx="3" presStyleCnt="10"/>
      <dgm:spPr/>
      <dgm:t>
        <a:bodyPr/>
        <a:lstStyle/>
        <a:p>
          <a:endParaRPr lang="en-US"/>
        </a:p>
      </dgm:t>
    </dgm:pt>
    <dgm:pt modelId="{DA5709A0-12C7-1849-B1DB-19E9EB56E346}" type="pres">
      <dgm:prSet presAssocID="{A9FE1A0C-BA30-8B43-B142-8EB6085C7089}" presName="imageaccent4" presStyleCnt="0"/>
      <dgm:spPr/>
    </dgm:pt>
    <dgm:pt modelId="{1D8F678E-ED20-AC4A-8EB3-FA67DE560C48}" type="pres">
      <dgm:prSet presAssocID="{A9FE1A0C-BA30-8B43-B142-8EB6085C7089}" presName="accentRepeatNode" presStyleLbl="solidAlignAcc1" presStyleIdx="7" presStyleCnt="20"/>
      <dgm:spPr/>
    </dgm:pt>
    <dgm:pt modelId="{EC820774-32C0-5C4C-997F-D1601B797039}" type="pres">
      <dgm:prSet presAssocID="{DA7FEEF7-4B22-EE41-BAFD-116A27C2F9A4}" presName="text5" presStyleCnt="0"/>
      <dgm:spPr/>
    </dgm:pt>
    <dgm:pt modelId="{94A1914D-5B54-154F-AAC5-2BFA917B3CFE}" type="pres">
      <dgm:prSet presAssocID="{DA7FEEF7-4B22-EE41-BAFD-116A27C2F9A4}" presName="textRepeatNode" presStyleLbl="alignNode1" presStyleIdx="4" presStyleCnt="1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2114676-A77E-D14E-94A2-99BCF86548BE}" type="pres">
      <dgm:prSet presAssocID="{DA7FEEF7-4B22-EE41-BAFD-116A27C2F9A4}" presName="textaccent5" presStyleCnt="0"/>
      <dgm:spPr/>
    </dgm:pt>
    <dgm:pt modelId="{29D7D25D-6CB3-FB4C-AB60-5339E989280C}" type="pres">
      <dgm:prSet presAssocID="{DA7FEEF7-4B22-EE41-BAFD-116A27C2F9A4}" presName="accentRepeatNode" presStyleLbl="solidAlignAcc1" presStyleIdx="8" presStyleCnt="20"/>
      <dgm:spPr/>
    </dgm:pt>
    <dgm:pt modelId="{DDA3AE00-2401-B34E-8561-6D149BF445A2}" type="pres">
      <dgm:prSet presAssocID="{C43241E6-57F1-EC47-B3FF-CC26261EB0D2}" presName="image5" presStyleCnt="0"/>
      <dgm:spPr/>
    </dgm:pt>
    <dgm:pt modelId="{4B1CFB39-ECBD-8741-8363-242C9F83D4B2}" type="pres">
      <dgm:prSet presAssocID="{C43241E6-57F1-EC47-B3FF-CC26261EB0D2}" presName="imageRepeatNode" presStyleLbl="alignAcc1" presStyleIdx="4" presStyleCnt="10"/>
      <dgm:spPr/>
      <dgm:t>
        <a:bodyPr/>
        <a:lstStyle/>
        <a:p>
          <a:endParaRPr lang="en-US"/>
        </a:p>
      </dgm:t>
    </dgm:pt>
    <dgm:pt modelId="{240BDDBD-AD41-E440-A88B-6388A2644F94}" type="pres">
      <dgm:prSet presAssocID="{C43241E6-57F1-EC47-B3FF-CC26261EB0D2}" presName="imageaccent5" presStyleCnt="0"/>
      <dgm:spPr/>
    </dgm:pt>
    <dgm:pt modelId="{D050E5B8-DA6A-924C-A64E-E0DA6676C32A}" type="pres">
      <dgm:prSet presAssocID="{C43241E6-57F1-EC47-B3FF-CC26261EB0D2}" presName="accentRepeatNode" presStyleLbl="solidAlignAcc1" presStyleIdx="9" presStyleCnt="20"/>
      <dgm:spPr/>
    </dgm:pt>
    <dgm:pt modelId="{9E612409-290A-F54C-BD1B-95C04B0FBF59}" type="pres">
      <dgm:prSet presAssocID="{354C5BB2-F005-3E46-BA1C-DDAB2D62F0FB}" presName="text6" presStyleCnt="0"/>
      <dgm:spPr/>
    </dgm:pt>
    <dgm:pt modelId="{24EE5BA7-6C47-8943-9601-96EF0A2703BC}" type="pres">
      <dgm:prSet presAssocID="{354C5BB2-F005-3E46-BA1C-DDAB2D62F0FB}" presName="textRepeatNode" presStyleLbl="alignNode1" presStyleIdx="5" presStyleCnt="1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1FE55E6-EF45-F547-8B14-F9D391E7A187}" type="pres">
      <dgm:prSet presAssocID="{354C5BB2-F005-3E46-BA1C-DDAB2D62F0FB}" presName="textaccent6" presStyleCnt="0"/>
      <dgm:spPr/>
    </dgm:pt>
    <dgm:pt modelId="{7609E58B-02B4-9A4F-A071-9471CC6F54A7}" type="pres">
      <dgm:prSet presAssocID="{354C5BB2-F005-3E46-BA1C-DDAB2D62F0FB}" presName="accentRepeatNode" presStyleLbl="solidAlignAcc1" presStyleIdx="10" presStyleCnt="20"/>
      <dgm:spPr/>
    </dgm:pt>
    <dgm:pt modelId="{53E6255F-3816-4A4B-874E-73412E092C27}" type="pres">
      <dgm:prSet presAssocID="{6C0567ED-3D11-7E42-BC88-BB749E1C368E}" presName="image6" presStyleCnt="0"/>
      <dgm:spPr/>
    </dgm:pt>
    <dgm:pt modelId="{E0ADB008-FBA8-E04F-B175-1A840D62FE2B}" type="pres">
      <dgm:prSet presAssocID="{6C0567ED-3D11-7E42-BC88-BB749E1C368E}" presName="imageRepeatNode" presStyleLbl="alignAcc1" presStyleIdx="5" presStyleCnt="10"/>
      <dgm:spPr/>
      <dgm:t>
        <a:bodyPr/>
        <a:lstStyle/>
        <a:p>
          <a:endParaRPr lang="en-US"/>
        </a:p>
      </dgm:t>
    </dgm:pt>
    <dgm:pt modelId="{65188BF0-FEB2-2E41-9EA4-6D8FB9EB56C1}" type="pres">
      <dgm:prSet presAssocID="{6C0567ED-3D11-7E42-BC88-BB749E1C368E}" presName="imageaccent6" presStyleCnt="0"/>
      <dgm:spPr/>
    </dgm:pt>
    <dgm:pt modelId="{FF0ECC03-1AAB-9D44-9AED-14954289A56E}" type="pres">
      <dgm:prSet presAssocID="{6C0567ED-3D11-7E42-BC88-BB749E1C368E}" presName="accentRepeatNode" presStyleLbl="solidAlignAcc1" presStyleIdx="11" presStyleCnt="20"/>
      <dgm:spPr/>
    </dgm:pt>
    <dgm:pt modelId="{F287299D-7E29-764B-B48E-A50AAF5B9D86}" type="pres">
      <dgm:prSet presAssocID="{78338F37-043A-E14F-8BC1-DB81EDFF41D6}" presName="text7" presStyleCnt="0"/>
      <dgm:spPr/>
    </dgm:pt>
    <dgm:pt modelId="{42C708A7-EEFF-B148-A7A7-FDB8C7C9FFE4}" type="pres">
      <dgm:prSet presAssocID="{78338F37-043A-E14F-8BC1-DB81EDFF41D6}" presName="textRepeatNode" presStyleLbl="alignNode1" presStyleIdx="6" presStyleCnt="1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173E3AA-EC4E-7249-BEDC-724778BF2E7F}" type="pres">
      <dgm:prSet presAssocID="{78338F37-043A-E14F-8BC1-DB81EDFF41D6}" presName="textaccent7" presStyleCnt="0"/>
      <dgm:spPr/>
    </dgm:pt>
    <dgm:pt modelId="{B873036B-7D0E-DA40-92E7-427AA501E5A1}" type="pres">
      <dgm:prSet presAssocID="{78338F37-043A-E14F-8BC1-DB81EDFF41D6}" presName="accentRepeatNode" presStyleLbl="solidAlignAcc1" presStyleIdx="12" presStyleCnt="20"/>
      <dgm:spPr/>
    </dgm:pt>
    <dgm:pt modelId="{2930D83A-E595-BE42-B8F2-1AC3D4B8A69A}" type="pres">
      <dgm:prSet presAssocID="{9DE22DFE-A8F6-5042-9B77-3A322C07AAA4}" presName="image7" presStyleCnt="0"/>
      <dgm:spPr/>
    </dgm:pt>
    <dgm:pt modelId="{DD68A0AF-A312-474B-9012-217CCCCDB0E1}" type="pres">
      <dgm:prSet presAssocID="{9DE22DFE-A8F6-5042-9B77-3A322C07AAA4}" presName="imageRepeatNode" presStyleLbl="alignAcc1" presStyleIdx="6" presStyleCnt="10"/>
      <dgm:spPr/>
      <dgm:t>
        <a:bodyPr/>
        <a:lstStyle/>
        <a:p>
          <a:endParaRPr lang="en-US"/>
        </a:p>
      </dgm:t>
    </dgm:pt>
    <dgm:pt modelId="{5970457B-A7CD-F94B-A955-006135A2864A}" type="pres">
      <dgm:prSet presAssocID="{9DE22DFE-A8F6-5042-9B77-3A322C07AAA4}" presName="imageaccent7" presStyleCnt="0"/>
      <dgm:spPr/>
    </dgm:pt>
    <dgm:pt modelId="{3870B9F1-4EB0-FF4A-ADB0-248D335F7259}" type="pres">
      <dgm:prSet presAssocID="{9DE22DFE-A8F6-5042-9B77-3A322C07AAA4}" presName="accentRepeatNode" presStyleLbl="solidAlignAcc1" presStyleIdx="13" presStyleCnt="20"/>
      <dgm:spPr/>
    </dgm:pt>
    <dgm:pt modelId="{9C4C3BB6-4F62-9B43-9E1C-DBD7C39AEA4C}" type="pres">
      <dgm:prSet presAssocID="{2404AA87-A4C3-B643-9E98-CB75DA59AC10}" presName="text8" presStyleCnt="0"/>
      <dgm:spPr/>
    </dgm:pt>
    <dgm:pt modelId="{45F75EE9-432A-634A-82A8-DFCB45B371DB}" type="pres">
      <dgm:prSet presAssocID="{2404AA87-A4C3-B643-9E98-CB75DA59AC10}" presName="textRepeatNode" presStyleLbl="alignNode1" presStyleIdx="7" presStyleCnt="1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3305BC0-F9B6-2E4B-94B1-44759FFE2395}" type="pres">
      <dgm:prSet presAssocID="{2404AA87-A4C3-B643-9E98-CB75DA59AC10}" presName="textaccent8" presStyleCnt="0"/>
      <dgm:spPr/>
    </dgm:pt>
    <dgm:pt modelId="{E9C62DD6-BC99-AE43-A4D0-F9BE2243BEA5}" type="pres">
      <dgm:prSet presAssocID="{2404AA87-A4C3-B643-9E98-CB75DA59AC10}" presName="accentRepeatNode" presStyleLbl="solidAlignAcc1" presStyleIdx="14" presStyleCnt="20"/>
      <dgm:spPr/>
    </dgm:pt>
    <dgm:pt modelId="{66805306-7B68-2742-8DCC-BA8ADA7141B6}" type="pres">
      <dgm:prSet presAssocID="{3C5CB890-9BBF-ED47-BA09-F776863DC31D}" presName="image8" presStyleCnt="0"/>
      <dgm:spPr/>
    </dgm:pt>
    <dgm:pt modelId="{BB9A85B4-8BC8-3A42-9607-506D3057CF39}" type="pres">
      <dgm:prSet presAssocID="{3C5CB890-9BBF-ED47-BA09-F776863DC31D}" presName="imageRepeatNode" presStyleLbl="alignAcc1" presStyleIdx="7" presStyleCnt="10"/>
      <dgm:spPr/>
      <dgm:t>
        <a:bodyPr/>
        <a:lstStyle/>
        <a:p>
          <a:endParaRPr lang="en-US"/>
        </a:p>
      </dgm:t>
    </dgm:pt>
    <dgm:pt modelId="{1368FA3E-F478-CC41-86B3-A9E3C2074302}" type="pres">
      <dgm:prSet presAssocID="{3C5CB890-9BBF-ED47-BA09-F776863DC31D}" presName="imageaccent8" presStyleCnt="0"/>
      <dgm:spPr/>
    </dgm:pt>
    <dgm:pt modelId="{37F79C80-4BC9-014E-AAF8-55D1DDBD5EF0}" type="pres">
      <dgm:prSet presAssocID="{3C5CB890-9BBF-ED47-BA09-F776863DC31D}" presName="accentRepeatNode" presStyleLbl="solidAlignAcc1" presStyleIdx="15" presStyleCnt="20"/>
      <dgm:spPr/>
    </dgm:pt>
    <dgm:pt modelId="{8C07AA92-FE70-104A-8B96-7DEA9DE4225C}" type="pres">
      <dgm:prSet presAssocID="{884C5EB6-26DE-8641-A6F2-D96CE8785790}" presName="text9" presStyleCnt="0"/>
      <dgm:spPr/>
    </dgm:pt>
    <dgm:pt modelId="{4E5A5341-8A15-9D4B-A151-7CC70723A441}" type="pres">
      <dgm:prSet presAssocID="{884C5EB6-26DE-8641-A6F2-D96CE8785790}" presName="textRepeatNode" presStyleLbl="alignNode1" presStyleIdx="8" presStyleCnt="1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275A50-1C30-FF42-89E4-7579637127E0}" type="pres">
      <dgm:prSet presAssocID="{884C5EB6-26DE-8641-A6F2-D96CE8785790}" presName="textaccent9" presStyleCnt="0"/>
      <dgm:spPr/>
    </dgm:pt>
    <dgm:pt modelId="{99CE4A4B-EF81-6942-AD49-9FCD51012977}" type="pres">
      <dgm:prSet presAssocID="{884C5EB6-26DE-8641-A6F2-D96CE8785790}" presName="accentRepeatNode" presStyleLbl="solidAlignAcc1" presStyleIdx="16" presStyleCnt="20"/>
      <dgm:spPr/>
    </dgm:pt>
    <dgm:pt modelId="{778F530F-D4C9-C243-9012-20CDE1B73DAE}" type="pres">
      <dgm:prSet presAssocID="{DBC1FFC3-0DFE-0645-A67A-A721C2067546}" presName="image9" presStyleCnt="0"/>
      <dgm:spPr/>
    </dgm:pt>
    <dgm:pt modelId="{F090BA8D-C6F7-3542-B2F2-948081B47607}" type="pres">
      <dgm:prSet presAssocID="{DBC1FFC3-0DFE-0645-A67A-A721C2067546}" presName="imageRepeatNode" presStyleLbl="alignAcc1" presStyleIdx="8" presStyleCnt="10"/>
      <dgm:spPr/>
      <dgm:t>
        <a:bodyPr/>
        <a:lstStyle/>
        <a:p>
          <a:endParaRPr lang="en-US"/>
        </a:p>
      </dgm:t>
    </dgm:pt>
    <dgm:pt modelId="{7CAB4DAE-11EB-7D44-B65F-000D48E8ADD4}" type="pres">
      <dgm:prSet presAssocID="{DBC1FFC3-0DFE-0645-A67A-A721C2067546}" presName="imageaccent9" presStyleCnt="0"/>
      <dgm:spPr/>
    </dgm:pt>
    <dgm:pt modelId="{35F3A977-FF39-2A40-8230-9C5599D80165}" type="pres">
      <dgm:prSet presAssocID="{DBC1FFC3-0DFE-0645-A67A-A721C2067546}" presName="accentRepeatNode" presStyleLbl="solidAlignAcc1" presStyleIdx="17" presStyleCnt="20"/>
      <dgm:spPr/>
    </dgm:pt>
    <dgm:pt modelId="{40102DF3-A9E2-F543-838B-C9894DADF941}" type="pres">
      <dgm:prSet presAssocID="{546B7B00-206D-DF44-85B3-003BCB182F23}" presName="text10" presStyleCnt="0"/>
      <dgm:spPr/>
    </dgm:pt>
    <dgm:pt modelId="{6B4E49A4-DB15-EB49-84B3-DDF41985C9FE}" type="pres">
      <dgm:prSet presAssocID="{546B7B00-206D-DF44-85B3-003BCB182F23}" presName="textRepeatNode" presStyleLbl="alignNode1" presStyleIdx="9" presStyleCnt="1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DBCBBC2-A172-5D41-99C5-4887B5A9D34A}" type="pres">
      <dgm:prSet presAssocID="{546B7B00-206D-DF44-85B3-003BCB182F23}" presName="textaccent10" presStyleCnt="0"/>
      <dgm:spPr/>
    </dgm:pt>
    <dgm:pt modelId="{63D2E3AB-B068-E74A-BE36-926A81B4CD36}" type="pres">
      <dgm:prSet presAssocID="{546B7B00-206D-DF44-85B3-003BCB182F23}" presName="accentRepeatNode" presStyleLbl="solidAlignAcc1" presStyleIdx="18" presStyleCnt="20"/>
      <dgm:spPr/>
    </dgm:pt>
    <dgm:pt modelId="{20FAC81F-938E-9746-AF07-878D2809A16C}" type="pres">
      <dgm:prSet presAssocID="{05A8E97E-C065-514B-9C14-06D6AE80D23B}" presName="image10" presStyleCnt="0"/>
      <dgm:spPr/>
    </dgm:pt>
    <dgm:pt modelId="{917FACCA-A484-284F-B98A-5F70BF6BC457}" type="pres">
      <dgm:prSet presAssocID="{05A8E97E-C065-514B-9C14-06D6AE80D23B}" presName="imageRepeatNode" presStyleLbl="alignAcc1" presStyleIdx="9" presStyleCnt="10"/>
      <dgm:spPr/>
      <dgm:t>
        <a:bodyPr/>
        <a:lstStyle/>
        <a:p>
          <a:endParaRPr lang="en-US"/>
        </a:p>
      </dgm:t>
    </dgm:pt>
    <dgm:pt modelId="{CA2B8FC4-B7CE-DE48-9053-B3DE3109D977}" type="pres">
      <dgm:prSet presAssocID="{05A8E97E-C065-514B-9C14-06D6AE80D23B}" presName="imageaccent10" presStyleCnt="0"/>
      <dgm:spPr/>
    </dgm:pt>
    <dgm:pt modelId="{A12F7842-B6BE-B14D-9F00-2B7A57C46D31}" type="pres">
      <dgm:prSet presAssocID="{05A8E97E-C065-514B-9C14-06D6AE80D23B}" presName="accentRepeatNode" presStyleLbl="solidAlignAcc1" presStyleIdx="19" presStyleCnt="20"/>
      <dgm:spPr/>
    </dgm:pt>
  </dgm:ptLst>
  <dgm:cxnLst>
    <dgm:cxn modelId="{32129387-3C9E-5A43-BC1E-7802BE366E06}" srcId="{D1D449D3-2C75-9748-B0D2-8B8EEC76448A}" destId="{884C5EB6-26DE-8641-A6F2-D96CE8785790}" srcOrd="8" destOrd="0" parTransId="{01DC0D0E-7CC2-9F4F-AEF5-C0C0EDD25163}" sibTransId="{DBC1FFC3-0DFE-0645-A67A-A721C2067546}"/>
    <dgm:cxn modelId="{14AF298F-FFE2-4049-8C4C-51BAE41F44C0}" type="presOf" srcId="{78338F37-043A-E14F-8BC1-DB81EDFF41D6}" destId="{42C708A7-EEFF-B148-A7A7-FDB8C7C9FFE4}" srcOrd="0" destOrd="0" presId="urn:microsoft.com/office/officeart/2008/layout/HexagonCluster"/>
    <dgm:cxn modelId="{1781DBAF-B6A5-A44F-8CEF-7778F3469EC0}" srcId="{D1D449D3-2C75-9748-B0D2-8B8EEC76448A}" destId="{354C5BB2-F005-3E46-BA1C-DDAB2D62F0FB}" srcOrd="5" destOrd="0" parTransId="{02EAFE07-C6BE-8E43-8B12-DF54DE1ECDA4}" sibTransId="{6C0567ED-3D11-7E42-BC88-BB749E1C368E}"/>
    <dgm:cxn modelId="{C96B0646-D574-5F4C-B78A-853D57D2705F}" type="presOf" srcId="{05A8E97E-C065-514B-9C14-06D6AE80D23B}" destId="{917FACCA-A484-284F-B98A-5F70BF6BC457}" srcOrd="0" destOrd="0" presId="urn:microsoft.com/office/officeart/2008/layout/HexagonCluster"/>
    <dgm:cxn modelId="{AEA702B1-7AB2-AF40-A92C-37A772FD8F34}" srcId="{D1D449D3-2C75-9748-B0D2-8B8EEC76448A}" destId="{DA7FEEF7-4B22-EE41-BAFD-116A27C2F9A4}" srcOrd="4" destOrd="0" parTransId="{F46616B5-9704-5D4B-985E-19BA1B0F5B9F}" sibTransId="{C43241E6-57F1-EC47-B3FF-CC26261EB0D2}"/>
    <dgm:cxn modelId="{898D5BA6-FEA0-FE4C-9E5B-D4C4DA245513}" type="presOf" srcId="{354C5BB2-F005-3E46-BA1C-DDAB2D62F0FB}" destId="{24EE5BA7-6C47-8943-9601-96EF0A2703BC}" srcOrd="0" destOrd="0" presId="urn:microsoft.com/office/officeart/2008/layout/HexagonCluster"/>
    <dgm:cxn modelId="{BD056974-E2BA-014A-8EC7-C5A5E4A55E31}" type="presOf" srcId="{3C5CB890-9BBF-ED47-BA09-F776863DC31D}" destId="{BB9A85B4-8BC8-3A42-9607-506D3057CF39}" srcOrd="0" destOrd="0" presId="urn:microsoft.com/office/officeart/2008/layout/HexagonCluster"/>
    <dgm:cxn modelId="{52FE05A0-F1E7-1647-8BC8-E0711821935E}" type="presOf" srcId="{A9FE1A0C-BA30-8B43-B142-8EB6085C7089}" destId="{493CA799-6947-5349-8101-387F471805B1}" srcOrd="0" destOrd="0" presId="urn:microsoft.com/office/officeart/2008/layout/HexagonCluster"/>
    <dgm:cxn modelId="{F4A167F8-300E-4546-9F02-6501EA1E8DAA}" type="presOf" srcId="{546B7B00-206D-DF44-85B3-003BCB182F23}" destId="{6B4E49A4-DB15-EB49-84B3-DDF41985C9FE}" srcOrd="0" destOrd="0" presId="urn:microsoft.com/office/officeart/2008/layout/HexagonCluster"/>
    <dgm:cxn modelId="{D976D2BD-9172-8345-A48C-07ECC1C9FFB8}" srcId="{D1D449D3-2C75-9748-B0D2-8B8EEC76448A}" destId="{78338F37-043A-E14F-8BC1-DB81EDFF41D6}" srcOrd="6" destOrd="0" parTransId="{09D9FF30-FDCC-744E-953B-37359C92B244}" sibTransId="{9DE22DFE-A8F6-5042-9B77-3A322C07AAA4}"/>
    <dgm:cxn modelId="{C2CD8DEF-095D-D84E-94A6-E3FB74B3ECBE}" type="presOf" srcId="{DDB48E0E-F3D1-C740-8757-35EB7C1AD2C1}" destId="{FC041DAC-50A7-F845-A633-D0176A83C047}" srcOrd="0" destOrd="0" presId="urn:microsoft.com/office/officeart/2008/layout/HexagonCluster"/>
    <dgm:cxn modelId="{F133E194-6F1C-6E46-A417-3C7D70BA9B3B}" srcId="{D1D449D3-2C75-9748-B0D2-8B8EEC76448A}" destId="{2404AA87-A4C3-B643-9E98-CB75DA59AC10}" srcOrd="7" destOrd="0" parTransId="{10A40421-A712-ED48-A67C-8D83A9AFF1D0}" sibTransId="{3C5CB890-9BBF-ED47-BA09-F776863DC31D}"/>
    <dgm:cxn modelId="{132F1F4E-60CE-AB40-8212-A77EDB2D8E12}" type="presOf" srcId="{A0C06371-7B0A-C649-B3D1-56856B7E0407}" destId="{3DCFE6B5-237A-B047-B6FC-0661A892C7C3}" srcOrd="0" destOrd="0" presId="urn:microsoft.com/office/officeart/2008/layout/HexagonCluster"/>
    <dgm:cxn modelId="{78665CB1-8BB2-7B44-8F09-9C65BF9FB1FB}" type="presOf" srcId="{D1D449D3-2C75-9748-B0D2-8B8EEC76448A}" destId="{0AC382F9-C0D8-CF4D-99BD-CF606C426E2C}" srcOrd="0" destOrd="0" presId="urn:microsoft.com/office/officeart/2008/layout/HexagonCluster"/>
    <dgm:cxn modelId="{49638835-09D6-0342-BDEB-12AE95C04962}" type="presOf" srcId="{6C0567ED-3D11-7E42-BC88-BB749E1C368E}" destId="{E0ADB008-FBA8-E04F-B175-1A840D62FE2B}" srcOrd="0" destOrd="0" presId="urn:microsoft.com/office/officeart/2008/layout/HexagonCluster"/>
    <dgm:cxn modelId="{B272E48C-088B-5940-95E8-9E3BA886522E}" type="presOf" srcId="{5EA36583-C3B7-A840-B069-24995081DC86}" destId="{FC555297-7F85-8849-ADC8-00585E6CBFEE}" srcOrd="0" destOrd="0" presId="urn:microsoft.com/office/officeart/2008/layout/HexagonCluster"/>
    <dgm:cxn modelId="{F8CD6BA3-5DF7-3E49-AB62-35D616826D4D}" type="presOf" srcId="{6FAB8643-FFBA-A54B-92BB-5F1359F8B625}" destId="{EFF90A66-96CD-C140-9401-B8CF312EA796}" srcOrd="0" destOrd="0" presId="urn:microsoft.com/office/officeart/2008/layout/HexagonCluster"/>
    <dgm:cxn modelId="{C2A247D4-78F6-C645-834D-A69B8212C9C2}" type="presOf" srcId="{2404AA87-A4C3-B643-9E98-CB75DA59AC10}" destId="{45F75EE9-432A-634A-82A8-DFCB45B371DB}" srcOrd="0" destOrd="0" presId="urn:microsoft.com/office/officeart/2008/layout/HexagonCluster"/>
    <dgm:cxn modelId="{20397625-FC31-EB49-BF60-A7B73D782C5C}" type="presOf" srcId="{24EB1AA4-08FC-554F-8E63-63C2703E9139}" destId="{83E61004-11E6-414F-9770-586EDF6C687D}" srcOrd="0" destOrd="0" presId="urn:microsoft.com/office/officeart/2008/layout/HexagonCluster"/>
    <dgm:cxn modelId="{8449E3FA-4AFA-194F-B73C-C958EDAA60ED}" srcId="{D1D449D3-2C75-9748-B0D2-8B8EEC76448A}" destId="{6FAB8643-FFBA-A54B-92BB-5F1359F8B625}" srcOrd="1" destOrd="0" parTransId="{0BE734F5-F209-584C-A519-3CCC101ED555}" sibTransId="{24EB1AA4-08FC-554F-8E63-63C2703E9139}"/>
    <dgm:cxn modelId="{B40C2FB7-65CC-314D-9C91-194BED109F55}" srcId="{D1D449D3-2C75-9748-B0D2-8B8EEC76448A}" destId="{546B7B00-206D-DF44-85B3-003BCB182F23}" srcOrd="9" destOrd="0" parTransId="{34F065B4-BC10-F541-B2C6-2B1E6E9EBAF3}" sibTransId="{05A8E97E-C065-514B-9C14-06D6AE80D23B}"/>
    <dgm:cxn modelId="{D36206E3-FE8D-5942-B7A6-6DF97BB527EC}" type="presOf" srcId="{884C5EB6-26DE-8641-A6F2-D96CE8785790}" destId="{4E5A5341-8A15-9D4B-A151-7CC70723A441}" srcOrd="0" destOrd="0" presId="urn:microsoft.com/office/officeart/2008/layout/HexagonCluster"/>
    <dgm:cxn modelId="{481EDC57-CD84-E44C-9B0E-0628E411089E}" srcId="{D1D449D3-2C75-9748-B0D2-8B8EEC76448A}" destId="{A0C06371-7B0A-C649-B3D1-56856B7E0407}" srcOrd="0" destOrd="0" parTransId="{5A4779EA-5A3C-0543-87AD-1B1D2E77EA65}" sibTransId="{927008D3-7CCA-A04A-A145-9344C724E366}"/>
    <dgm:cxn modelId="{4EA4F1B5-E59C-E347-AC08-605E85CD1F97}" type="presOf" srcId="{C43241E6-57F1-EC47-B3FF-CC26261EB0D2}" destId="{4B1CFB39-ECBD-8741-8363-242C9F83D4B2}" srcOrd="0" destOrd="0" presId="urn:microsoft.com/office/officeart/2008/layout/HexagonCluster"/>
    <dgm:cxn modelId="{C2F4AFA8-BE71-EC4F-BBCB-01B790D6B30C}" type="presOf" srcId="{DA7FEEF7-4B22-EE41-BAFD-116A27C2F9A4}" destId="{94A1914D-5B54-154F-AAC5-2BFA917B3CFE}" srcOrd="0" destOrd="0" presId="urn:microsoft.com/office/officeart/2008/layout/HexagonCluster"/>
    <dgm:cxn modelId="{9E1EAAE8-33E0-C240-BBF8-EFC20D789AFA}" type="presOf" srcId="{30F9DA46-7DF2-F746-B5FF-5237FA826688}" destId="{D3F764C2-C9CA-AC4B-8676-6690799B4B94}" srcOrd="0" destOrd="0" presId="urn:microsoft.com/office/officeart/2008/layout/HexagonCluster"/>
    <dgm:cxn modelId="{3BA3F34E-70BD-A447-8217-77ADC85305CB}" type="presOf" srcId="{927008D3-7CCA-A04A-A145-9344C724E366}" destId="{7FEFF82F-39D1-E642-AE6D-7A701AA2898A}" srcOrd="0" destOrd="0" presId="urn:microsoft.com/office/officeart/2008/layout/HexagonCluster"/>
    <dgm:cxn modelId="{095B92FE-D6F1-5C44-B3F2-86F25FB236EC}" srcId="{D1D449D3-2C75-9748-B0D2-8B8EEC76448A}" destId="{30F9DA46-7DF2-F746-B5FF-5237FA826688}" srcOrd="2" destOrd="0" parTransId="{818A9C7F-B6A5-794D-8B4F-C99EDDCAC6E2}" sibTransId="{5EA36583-C3B7-A840-B069-24995081DC86}"/>
    <dgm:cxn modelId="{B2FC3B0F-523D-9540-9418-72384C3DB123}" type="presOf" srcId="{DBC1FFC3-0DFE-0645-A67A-A721C2067546}" destId="{F090BA8D-C6F7-3542-B2F2-948081B47607}" srcOrd="0" destOrd="0" presId="urn:microsoft.com/office/officeart/2008/layout/HexagonCluster"/>
    <dgm:cxn modelId="{02BCB41E-6010-0C42-8ADC-25D69C269E5F}" type="presOf" srcId="{9DE22DFE-A8F6-5042-9B77-3A322C07AAA4}" destId="{DD68A0AF-A312-474B-9012-217CCCCDB0E1}" srcOrd="0" destOrd="0" presId="urn:microsoft.com/office/officeart/2008/layout/HexagonCluster"/>
    <dgm:cxn modelId="{756963E6-47AA-0F40-93F3-A1C0A23AC485}" srcId="{D1D449D3-2C75-9748-B0D2-8B8EEC76448A}" destId="{DDB48E0E-F3D1-C740-8757-35EB7C1AD2C1}" srcOrd="3" destOrd="0" parTransId="{E4F82246-3A72-2A4D-BA71-5C8F3BA3051B}" sibTransId="{A9FE1A0C-BA30-8B43-B142-8EB6085C7089}"/>
    <dgm:cxn modelId="{A6922611-802E-404D-A8D7-7CA56D54ADE3}" type="presParOf" srcId="{0AC382F9-C0D8-CF4D-99BD-CF606C426E2C}" destId="{ADCE714F-C702-4D46-9619-EC586AD929FD}" srcOrd="0" destOrd="0" presId="urn:microsoft.com/office/officeart/2008/layout/HexagonCluster"/>
    <dgm:cxn modelId="{34482C9D-494E-9B48-867C-E7BF84A1D201}" type="presParOf" srcId="{ADCE714F-C702-4D46-9619-EC586AD929FD}" destId="{3DCFE6B5-237A-B047-B6FC-0661A892C7C3}" srcOrd="0" destOrd="0" presId="urn:microsoft.com/office/officeart/2008/layout/HexagonCluster"/>
    <dgm:cxn modelId="{A024F7DC-E3C5-2047-BD47-2797ABC6DF9E}" type="presParOf" srcId="{0AC382F9-C0D8-CF4D-99BD-CF606C426E2C}" destId="{5C9BB566-A19F-974B-A6BE-EAFA15C0A7C7}" srcOrd="1" destOrd="0" presId="urn:microsoft.com/office/officeart/2008/layout/HexagonCluster"/>
    <dgm:cxn modelId="{A702ACA0-6F30-CA4F-9ADD-98F2071F2BA2}" type="presParOf" srcId="{5C9BB566-A19F-974B-A6BE-EAFA15C0A7C7}" destId="{B1175ABC-3D1B-0E47-B071-93441D521652}" srcOrd="0" destOrd="0" presId="urn:microsoft.com/office/officeart/2008/layout/HexagonCluster"/>
    <dgm:cxn modelId="{EAB842C6-A039-DE48-9E0A-7BA97F342C5B}" type="presParOf" srcId="{0AC382F9-C0D8-CF4D-99BD-CF606C426E2C}" destId="{F06FBAF2-4140-D84C-984A-33265FB230EA}" srcOrd="2" destOrd="0" presId="urn:microsoft.com/office/officeart/2008/layout/HexagonCluster"/>
    <dgm:cxn modelId="{9F12EAAA-54B9-144E-AFB9-56CD11F4BD1D}" type="presParOf" srcId="{F06FBAF2-4140-D84C-984A-33265FB230EA}" destId="{7FEFF82F-39D1-E642-AE6D-7A701AA2898A}" srcOrd="0" destOrd="0" presId="urn:microsoft.com/office/officeart/2008/layout/HexagonCluster"/>
    <dgm:cxn modelId="{C40378AD-3E05-FC4E-8AA2-B928318CF690}" type="presParOf" srcId="{0AC382F9-C0D8-CF4D-99BD-CF606C426E2C}" destId="{1FE343CF-B064-AA4D-83BA-761D6737439B}" srcOrd="3" destOrd="0" presId="urn:microsoft.com/office/officeart/2008/layout/HexagonCluster"/>
    <dgm:cxn modelId="{4A364B3B-0D68-BF45-9170-21F91EE310C4}" type="presParOf" srcId="{1FE343CF-B064-AA4D-83BA-761D6737439B}" destId="{6A340AE1-BC53-9F46-864E-F4C2CC8DD673}" srcOrd="0" destOrd="0" presId="urn:microsoft.com/office/officeart/2008/layout/HexagonCluster"/>
    <dgm:cxn modelId="{712A0C40-EBF8-8C42-9946-CD9EC27A4AC6}" type="presParOf" srcId="{0AC382F9-C0D8-CF4D-99BD-CF606C426E2C}" destId="{FA289486-5F22-5440-B189-A6C78AF0EE00}" srcOrd="4" destOrd="0" presId="urn:microsoft.com/office/officeart/2008/layout/HexagonCluster"/>
    <dgm:cxn modelId="{9C80FA3D-3665-7B4F-B1B8-8BEC2A6524FB}" type="presParOf" srcId="{FA289486-5F22-5440-B189-A6C78AF0EE00}" destId="{EFF90A66-96CD-C140-9401-B8CF312EA796}" srcOrd="0" destOrd="0" presId="urn:microsoft.com/office/officeart/2008/layout/HexagonCluster"/>
    <dgm:cxn modelId="{2B7BF7EA-3D1D-A643-AB4D-D06772848583}" type="presParOf" srcId="{0AC382F9-C0D8-CF4D-99BD-CF606C426E2C}" destId="{D12178E3-CF77-D04D-B699-0D95540446CD}" srcOrd="5" destOrd="0" presId="urn:microsoft.com/office/officeart/2008/layout/HexagonCluster"/>
    <dgm:cxn modelId="{E897CB3E-B382-414E-8014-F4DDAA9E39B1}" type="presParOf" srcId="{D12178E3-CF77-D04D-B699-0D95540446CD}" destId="{00B472AD-44FD-FE47-AFE3-59F2969DBD4E}" srcOrd="0" destOrd="0" presId="urn:microsoft.com/office/officeart/2008/layout/HexagonCluster"/>
    <dgm:cxn modelId="{46E1464B-847F-944A-AE78-29E3B96E55B1}" type="presParOf" srcId="{0AC382F9-C0D8-CF4D-99BD-CF606C426E2C}" destId="{A2410341-D87C-1B4B-AE2A-A26B1D0531AC}" srcOrd="6" destOrd="0" presId="urn:microsoft.com/office/officeart/2008/layout/HexagonCluster"/>
    <dgm:cxn modelId="{89D0E548-B986-BD4B-8A06-6A91DC050FC7}" type="presParOf" srcId="{A2410341-D87C-1B4B-AE2A-A26B1D0531AC}" destId="{83E61004-11E6-414F-9770-586EDF6C687D}" srcOrd="0" destOrd="0" presId="urn:microsoft.com/office/officeart/2008/layout/HexagonCluster"/>
    <dgm:cxn modelId="{DF02D1FB-8810-9E44-8727-75DF788CC120}" type="presParOf" srcId="{0AC382F9-C0D8-CF4D-99BD-CF606C426E2C}" destId="{C1995556-3A42-0544-893A-27D4360823AD}" srcOrd="7" destOrd="0" presId="urn:microsoft.com/office/officeart/2008/layout/HexagonCluster"/>
    <dgm:cxn modelId="{BC57CC8D-ABED-E046-8EB4-A4A8179043CF}" type="presParOf" srcId="{C1995556-3A42-0544-893A-27D4360823AD}" destId="{F7FF7A28-F91D-E34A-8ADC-3480E1C3F53B}" srcOrd="0" destOrd="0" presId="urn:microsoft.com/office/officeart/2008/layout/HexagonCluster"/>
    <dgm:cxn modelId="{3555E435-8A56-2549-B698-14B382DB0AEF}" type="presParOf" srcId="{0AC382F9-C0D8-CF4D-99BD-CF606C426E2C}" destId="{258897F6-81B2-7440-9999-B8068F9007B6}" srcOrd="8" destOrd="0" presId="urn:microsoft.com/office/officeart/2008/layout/HexagonCluster"/>
    <dgm:cxn modelId="{1E5142DB-576B-B441-8FFE-C5D3485E067F}" type="presParOf" srcId="{258897F6-81B2-7440-9999-B8068F9007B6}" destId="{D3F764C2-C9CA-AC4B-8676-6690799B4B94}" srcOrd="0" destOrd="0" presId="urn:microsoft.com/office/officeart/2008/layout/HexagonCluster"/>
    <dgm:cxn modelId="{B902A037-F1AA-634C-9C47-D134701A0516}" type="presParOf" srcId="{0AC382F9-C0D8-CF4D-99BD-CF606C426E2C}" destId="{B853983F-3FDD-134D-B4E0-88B0EA80EA70}" srcOrd="9" destOrd="0" presId="urn:microsoft.com/office/officeart/2008/layout/HexagonCluster"/>
    <dgm:cxn modelId="{C55C2E61-0648-4D48-B713-9A345C2FB97E}" type="presParOf" srcId="{B853983F-3FDD-134D-B4E0-88B0EA80EA70}" destId="{2343B998-0EB5-0345-BAF1-1CDE00B521E2}" srcOrd="0" destOrd="0" presId="urn:microsoft.com/office/officeart/2008/layout/HexagonCluster"/>
    <dgm:cxn modelId="{61C11645-8D8A-B549-8BCD-BFAE8B365A1B}" type="presParOf" srcId="{0AC382F9-C0D8-CF4D-99BD-CF606C426E2C}" destId="{D206E240-E382-3846-B407-0CAEA82DC408}" srcOrd="10" destOrd="0" presId="urn:microsoft.com/office/officeart/2008/layout/HexagonCluster"/>
    <dgm:cxn modelId="{1FC0F585-C86C-E347-AB94-ED83BBD5ADF1}" type="presParOf" srcId="{D206E240-E382-3846-B407-0CAEA82DC408}" destId="{FC555297-7F85-8849-ADC8-00585E6CBFEE}" srcOrd="0" destOrd="0" presId="urn:microsoft.com/office/officeart/2008/layout/HexagonCluster"/>
    <dgm:cxn modelId="{7F2065CF-1869-4A4E-B7CD-705B8FC9B06E}" type="presParOf" srcId="{0AC382F9-C0D8-CF4D-99BD-CF606C426E2C}" destId="{03E39672-4A09-9E48-B43C-4D049E9DD6D3}" srcOrd="11" destOrd="0" presId="urn:microsoft.com/office/officeart/2008/layout/HexagonCluster"/>
    <dgm:cxn modelId="{09A481F2-8B1A-0545-ADC2-44B9FD862141}" type="presParOf" srcId="{03E39672-4A09-9E48-B43C-4D049E9DD6D3}" destId="{EA3C24DD-7089-4C41-8FF5-E1F6824CE491}" srcOrd="0" destOrd="0" presId="urn:microsoft.com/office/officeart/2008/layout/HexagonCluster"/>
    <dgm:cxn modelId="{9A301DE1-E545-B64A-B2B0-B6C7765660A9}" type="presParOf" srcId="{0AC382F9-C0D8-CF4D-99BD-CF606C426E2C}" destId="{3A114B14-A3B8-EB48-92B0-B8F00014A0AB}" srcOrd="12" destOrd="0" presId="urn:microsoft.com/office/officeart/2008/layout/HexagonCluster"/>
    <dgm:cxn modelId="{785B93C5-8EC7-D847-9544-843DAF7C0638}" type="presParOf" srcId="{3A114B14-A3B8-EB48-92B0-B8F00014A0AB}" destId="{FC041DAC-50A7-F845-A633-D0176A83C047}" srcOrd="0" destOrd="0" presId="urn:microsoft.com/office/officeart/2008/layout/HexagonCluster"/>
    <dgm:cxn modelId="{BCFBB5F3-A93D-5B49-AF7D-B1EDE7844DE6}" type="presParOf" srcId="{0AC382F9-C0D8-CF4D-99BD-CF606C426E2C}" destId="{EF83B663-1465-0346-8A09-0D8632BFE610}" srcOrd="13" destOrd="0" presId="urn:microsoft.com/office/officeart/2008/layout/HexagonCluster"/>
    <dgm:cxn modelId="{EA649F9C-E603-1B42-A9CC-B25EF451EBDC}" type="presParOf" srcId="{EF83B663-1465-0346-8A09-0D8632BFE610}" destId="{1D36502A-5648-7443-BDE9-4F73A13E46CC}" srcOrd="0" destOrd="0" presId="urn:microsoft.com/office/officeart/2008/layout/HexagonCluster"/>
    <dgm:cxn modelId="{6ECF45B9-37D8-6747-A88A-E3D02525A27A}" type="presParOf" srcId="{0AC382F9-C0D8-CF4D-99BD-CF606C426E2C}" destId="{4D127BC0-1E1F-7D45-BDB1-D5A742541E2B}" srcOrd="14" destOrd="0" presId="urn:microsoft.com/office/officeart/2008/layout/HexagonCluster"/>
    <dgm:cxn modelId="{28A6751B-0825-0C47-9266-7F551E43C310}" type="presParOf" srcId="{4D127BC0-1E1F-7D45-BDB1-D5A742541E2B}" destId="{493CA799-6947-5349-8101-387F471805B1}" srcOrd="0" destOrd="0" presId="urn:microsoft.com/office/officeart/2008/layout/HexagonCluster"/>
    <dgm:cxn modelId="{3028E3AC-B55E-394E-8812-5818444920F1}" type="presParOf" srcId="{0AC382F9-C0D8-CF4D-99BD-CF606C426E2C}" destId="{DA5709A0-12C7-1849-B1DB-19E9EB56E346}" srcOrd="15" destOrd="0" presId="urn:microsoft.com/office/officeart/2008/layout/HexagonCluster"/>
    <dgm:cxn modelId="{DE0BC473-E3AD-904C-B53C-54FCE96B1504}" type="presParOf" srcId="{DA5709A0-12C7-1849-B1DB-19E9EB56E346}" destId="{1D8F678E-ED20-AC4A-8EB3-FA67DE560C48}" srcOrd="0" destOrd="0" presId="urn:microsoft.com/office/officeart/2008/layout/HexagonCluster"/>
    <dgm:cxn modelId="{88FCA67C-9826-2249-A55E-61F84E53B328}" type="presParOf" srcId="{0AC382F9-C0D8-CF4D-99BD-CF606C426E2C}" destId="{EC820774-32C0-5C4C-997F-D1601B797039}" srcOrd="16" destOrd="0" presId="urn:microsoft.com/office/officeart/2008/layout/HexagonCluster"/>
    <dgm:cxn modelId="{57F02A59-148A-0944-95A9-892C4391CFD8}" type="presParOf" srcId="{EC820774-32C0-5C4C-997F-D1601B797039}" destId="{94A1914D-5B54-154F-AAC5-2BFA917B3CFE}" srcOrd="0" destOrd="0" presId="urn:microsoft.com/office/officeart/2008/layout/HexagonCluster"/>
    <dgm:cxn modelId="{207A6DD3-AA9A-7842-9464-2C929ACCA789}" type="presParOf" srcId="{0AC382F9-C0D8-CF4D-99BD-CF606C426E2C}" destId="{72114676-A77E-D14E-94A2-99BCF86548BE}" srcOrd="17" destOrd="0" presId="urn:microsoft.com/office/officeart/2008/layout/HexagonCluster"/>
    <dgm:cxn modelId="{C5D42EDB-FCEB-4643-85A6-F6A97C56158C}" type="presParOf" srcId="{72114676-A77E-D14E-94A2-99BCF86548BE}" destId="{29D7D25D-6CB3-FB4C-AB60-5339E989280C}" srcOrd="0" destOrd="0" presId="urn:microsoft.com/office/officeart/2008/layout/HexagonCluster"/>
    <dgm:cxn modelId="{A6FC42DE-BF1C-6346-BCC1-29525CA306AD}" type="presParOf" srcId="{0AC382F9-C0D8-CF4D-99BD-CF606C426E2C}" destId="{DDA3AE00-2401-B34E-8561-6D149BF445A2}" srcOrd="18" destOrd="0" presId="urn:microsoft.com/office/officeart/2008/layout/HexagonCluster"/>
    <dgm:cxn modelId="{227A1CCA-E6D6-4E4E-9F99-8D80EEA3DD3A}" type="presParOf" srcId="{DDA3AE00-2401-B34E-8561-6D149BF445A2}" destId="{4B1CFB39-ECBD-8741-8363-242C9F83D4B2}" srcOrd="0" destOrd="0" presId="urn:microsoft.com/office/officeart/2008/layout/HexagonCluster"/>
    <dgm:cxn modelId="{A2641289-1062-594F-AE9C-748E677A5913}" type="presParOf" srcId="{0AC382F9-C0D8-CF4D-99BD-CF606C426E2C}" destId="{240BDDBD-AD41-E440-A88B-6388A2644F94}" srcOrd="19" destOrd="0" presId="urn:microsoft.com/office/officeart/2008/layout/HexagonCluster"/>
    <dgm:cxn modelId="{F224400A-3410-5F47-9EEA-555FC2545AC3}" type="presParOf" srcId="{240BDDBD-AD41-E440-A88B-6388A2644F94}" destId="{D050E5B8-DA6A-924C-A64E-E0DA6676C32A}" srcOrd="0" destOrd="0" presId="urn:microsoft.com/office/officeart/2008/layout/HexagonCluster"/>
    <dgm:cxn modelId="{65FD5E63-D0CF-C249-99A5-61960D56FED8}" type="presParOf" srcId="{0AC382F9-C0D8-CF4D-99BD-CF606C426E2C}" destId="{9E612409-290A-F54C-BD1B-95C04B0FBF59}" srcOrd="20" destOrd="0" presId="urn:microsoft.com/office/officeart/2008/layout/HexagonCluster"/>
    <dgm:cxn modelId="{CC4A16DD-7CF7-FA47-8916-E1C5D49929EA}" type="presParOf" srcId="{9E612409-290A-F54C-BD1B-95C04B0FBF59}" destId="{24EE5BA7-6C47-8943-9601-96EF0A2703BC}" srcOrd="0" destOrd="0" presId="urn:microsoft.com/office/officeart/2008/layout/HexagonCluster"/>
    <dgm:cxn modelId="{0CF3AB3A-F9DC-5A44-82DC-34E37E74650D}" type="presParOf" srcId="{0AC382F9-C0D8-CF4D-99BD-CF606C426E2C}" destId="{D1FE55E6-EF45-F547-8B14-F9D391E7A187}" srcOrd="21" destOrd="0" presId="urn:microsoft.com/office/officeart/2008/layout/HexagonCluster"/>
    <dgm:cxn modelId="{38B9BA69-6D9D-244E-9D76-6F295E78A66C}" type="presParOf" srcId="{D1FE55E6-EF45-F547-8B14-F9D391E7A187}" destId="{7609E58B-02B4-9A4F-A071-9471CC6F54A7}" srcOrd="0" destOrd="0" presId="urn:microsoft.com/office/officeart/2008/layout/HexagonCluster"/>
    <dgm:cxn modelId="{542CFD0E-4D0C-254D-9789-29751E601D98}" type="presParOf" srcId="{0AC382F9-C0D8-CF4D-99BD-CF606C426E2C}" destId="{53E6255F-3816-4A4B-874E-73412E092C27}" srcOrd="22" destOrd="0" presId="urn:microsoft.com/office/officeart/2008/layout/HexagonCluster"/>
    <dgm:cxn modelId="{82487A32-28CA-3F47-89F9-CD8B0DDA4E81}" type="presParOf" srcId="{53E6255F-3816-4A4B-874E-73412E092C27}" destId="{E0ADB008-FBA8-E04F-B175-1A840D62FE2B}" srcOrd="0" destOrd="0" presId="urn:microsoft.com/office/officeart/2008/layout/HexagonCluster"/>
    <dgm:cxn modelId="{93291774-1420-874C-85C6-EDD02380B4DC}" type="presParOf" srcId="{0AC382F9-C0D8-CF4D-99BD-CF606C426E2C}" destId="{65188BF0-FEB2-2E41-9EA4-6D8FB9EB56C1}" srcOrd="23" destOrd="0" presId="urn:microsoft.com/office/officeart/2008/layout/HexagonCluster"/>
    <dgm:cxn modelId="{515A9E65-03FD-F140-B53B-9AAA3B7612FE}" type="presParOf" srcId="{65188BF0-FEB2-2E41-9EA4-6D8FB9EB56C1}" destId="{FF0ECC03-1AAB-9D44-9AED-14954289A56E}" srcOrd="0" destOrd="0" presId="urn:microsoft.com/office/officeart/2008/layout/HexagonCluster"/>
    <dgm:cxn modelId="{19F41761-98CD-EA49-81CE-6B344B880E48}" type="presParOf" srcId="{0AC382F9-C0D8-CF4D-99BD-CF606C426E2C}" destId="{F287299D-7E29-764B-B48E-A50AAF5B9D86}" srcOrd="24" destOrd="0" presId="urn:microsoft.com/office/officeart/2008/layout/HexagonCluster"/>
    <dgm:cxn modelId="{2F891ACC-F4A0-9F48-8982-3B92F6BC5D3C}" type="presParOf" srcId="{F287299D-7E29-764B-B48E-A50AAF5B9D86}" destId="{42C708A7-EEFF-B148-A7A7-FDB8C7C9FFE4}" srcOrd="0" destOrd="0" presId="urn:microsoft.com/office/officeart/2008/layout/HexagonCluster"/>
    <dgm:cxn modelId="{C2A609B8-B272-5A4F-B886-67C2FF4A1A96}" type="presParOf" srcId="{0AC382F9-C0D8-CF4D-99BD-CF606C426E2C}" destId="{F173E3AA-EC4E-7249-BEDC-724778BF2E7F}" srcOrd="25" destOrd="0" presId="urn:microsoft.com/office/officeart/2008/layout/HexagonCluster"/>
    <dgm:cxn modelId="{41C0FCCD-8C07-4A44-941E-35E4E447F4C5}" type="presParOf" srcId="{F173E3AA-EC4E-7249-BEDC-724778BF2E7F}" destId="{B873036B-7D0E-DA40-92E7-427AA501E5A1}" srcOrd="0" destOrd="0" presId="urn:microsoft.com/office/officeart/2008/layout/HexagonCluster"/>
    <dgm:cxn modelId="{4366BF8B-53E8-FC47-A192-7DBC555836D9}" type="presParOf" srcId="{0AC382F9-C0D8-CF4D-99BD-CF606C426E2C}" destId="{2930D83A-E595-BE42-B8F2-1AC3D4B8A69A}" srcOrd="26" destOrd="0" presId="urn:microsoft.com/office/officeart/2008/layout/HexagonCluster"/>
    <dgm:cxn modelId="{BD578A1B-6050-724E-A3AD-97470E8A8832}" type="presParOf" srcId="{2930D83A-E595-BE42-B8F2-1AC3D4B8A69A}" destId="{DD68A0AF-A312-474B-9012-217CCCCDB0E1}" srcOrd="0" destOrd="0" presId="urn:microsoft.com/office/officeart/2008/layout/HexagonCluster"/>
    <dgm:cxn modelId="{924B8E85-3CA9-724F-8A21-A055BEB6F7BE}" type="presParOf" srcId="{0AC382F9-C0D8-CF4D-99BD-CF606C426E2C}" destId="{5970457B-A7CD-F94B-A955-006135A2864A}" srcOrd="27" destOrd="0" presId="urn:microsoft.com/office/officeart/2008/layout/HexagonCluster"/>
    <dgm:cxn modelId="{28F5E77C-BDF0-5740-9823-7E330AF2FA0D}" type="presParOf" srcId="{5970457B-A7CD-F94B-A955-006135A2864A}" destId="{3870B9F1-4EB0-FF4A-ADB0-248D335F7259}" srcOrd="0" destOrd="0" presId="urn:microsoft.com/office/officeart/2008/layout/HexagonCluster"/>
    <dgm:cxn modelId="{4D11A77A-0BE3-5340-B89C-984D1C2C15C0}" type="presParOf" srcId="{0AC382F9-C0D8-CF4D-99BD-CF606C426E2C}" destId="{9C4C3BB6-4F62-9B43-9E1C-DBD7C39AEA4C}" srcOrd="28" destOrd="0" presId="urn:microsoft.com/office/officeart/2008/layout/HexagonCluster"/>
    <dgm:cxn modelId="{5F2F6A14-7DD5-9C4D-83FB-D84D141F4CEF}" type="presParOf" srcId="{9C4C3BB6-4F62-9B43-9E1C-DBD7C39AEA4C}" destId="{45F75EE9-432A-634A-82A8-DFCB45B371DB}" srcOrd="0" destOrd="0" presId="urn:microsoft.com/office/officeart/2008/layout/HexagonCluster"/>
    <dgm:cxn modelId="{AC2722AC-ECE9-2A46-BF9C-72B01B256914}" type="presParOf" srcId="{0AC382F9-C0D8-CF4D-99BD-CF606C426E2C}" destId="{03305BC0-F9B6-2E4B-94B1-44759FFE2395}" srcOrd="29" destOrd="0" presId="urn:microsoft.com/office/officeart/2008/layout/HexagonCluster"/>
    <dgm:cxn modelId="{559B1642-D990-7748-91CC-E2D410342A21}" type="presParOf" srcId="{03305BC0-F9B6-2E4B-94B1-44759FFE2395}" destId="{E9C62DD6-BC99-AE43-A4D0-F9BE2243BEA5}" srcOrd="0" destOrd="0" presId="urn:microsoft.com/office/officeart/2008/layout/HexagonCluster"/>
    <dgm:cxn modelId="{FF06B341-B91A-E646-896D-13D5C119716F}" type="presParOf" srcId="{0AC382F9-C0D8-CF4D-99BD-CF606C426E2C}" destId="{66805306-7B68-2742-8DCC-BA8ADA7141B6}" srcOrd="30" destOrd="0" presId="urn:microsoft.com/office/officeart/2008/layout/HexagonCluster"/>
    <dgm:cxn modelId="{AF90C6EB-38CC-F642-95C2-87ACF50AF8EE}" type="presParOf" srcId="{66805306-7B68-2742-8DCC-BA8ADA7141B6}" destId="{BB9A85B4-8BC8-3A42-9607-506D3057CF39}" srcOrd="0" destOrd="0" presId="urn:microsoft.com/office/officeart/2008/layout/HexagonCluster"/>
    <dgm:cxn modelId="{F079FE83-D2A8-6141-884B-9F26F5C87E2D}" type="presParOf" srcId="{0AC382F9-C0D8-CF4D-99BD-CF606C426E2C}" destId="{1368FA3E-F478-CC41-86B3-A9E3C2074302}" srcOrd="31" destOrd="0" presId="urn:microsoft.com/office/officeart/2008/layout/HexagonCluster"/>
    <dgm:cxn modelId="{5D51D02C-5475-6649-B13B-DF011B3F971C}" type="presParOf" srcId="{1368FA3E-F478-CC41-86B3-A9E3C2074302}" destId="{37F79C80-4BC9-014E-AAF8-55D1DDBD5EF0}" srcOrd="0" destOrd="0" presId="urn:microsoft.com/office/officeart/2008/layout/HexagonCluster"/>
    <dgm:cxn modelId="{4B3C4A17-3F99-5B42-8E36-82CDB0551147}" type="presParOf" srcId="{0AC382F9-C0D8-CF4D-99BD-CF606C426E2C}" destId="{8C07AA92-FE70-104A-8B96-7DEA9DE4225C}" srcOrd="32" destOrd="0" presId="urn:microsoft.com/office/officeart/2008/layout/HexagonCluster"/>
    <dgm:cxn modelId="{845244A9-A75D-0C4F-AE43-7BCA2A45D443}" type="presParOf" srcId="{8C07AA92-FE70-104A-8B96-7DEA9DE4225C}" destId="{4E5A5341-8A15-9D4B-A151-7CC70723A441}" srcOrd="0" destOrd="0" presId="urn:microsoft.com/office/officeart/2008/layout/HexagonCluster"/>
    <dgm:cxn modelId="{CFF061CD-DBCC-B64A-83BD-2A7C7FED4E05}" type="presParOf" srcId="{0AC382F9-C0D8-CF4D-99BD-CF606C426E2C}" destId="{AC275A50-1C30-FF42-89E4-7579637127E0}" srcOrd="33" destOrd="0" presId="urn:microsoft.com/office/officeart/2008/layout/HexagonCluster"/>
    <dgm:cxn modelId="{62974559-8AA1-974A-9358-9A04FD3BA7A3}" type="presParOf" srcId="{AC275A50-1C30-FF42-89E4-7579637127E0}" destId="{99CE4A4B-EF81-6942-AD49-9FCD51012977}" srcOrd="0" destOrd="0" presId="urn:microsoft.com/office/officeart/2008/layout/HexagonCluster"/>
    <dgm:cxn modelId="{7293A4E9-BF63-A843-9CA3-ABD0B2C9E1C9}" type="presParOf" srcId="{0AC382F9-C0D8-CF4D-99BD-CF606C426E2C}" destId="{778F530F-D4C9-C243-9012-20CDE1B73DAE}" srcOrd="34" destOrd="0" presId="urn:microsoft.com/office/officeart/2008/layout/HexagonCluster"/>
    <dgm:cxn modelId="{29114EAB-6DB5-0D4C-AD33-38F8AC715103}" type="presParOf" srcId="{778F530F-D4C9-C243-9012-20CDE1B73DAE}" destId="{F090BA8D-C6F7-3542-B2F2-948081B47607}" srcOrd="0" destOrd="0" presId="urn:microsoft.com/office/officeart/2008/layout/HexagonCluster"/>
    <dgm:cxn modelId="{CF8B8B46-8C2B-B14E-9D2C-7C038935F55A}" type="presParOf" srcId="{0AC382F9-C0D8-CF4D-99BD-CF606C426E2C}" destId="{7CAB4DAE-11EB-7D44-B65F-000D48E8ADD4}" srcOrd="35" destOrd="0" presId="urn:microsoft.com/office/officeart/2008/layout/HexagonCluster"/>
    <dgm:cxn modelId="{2B37C2D9-4A70-6549-8BEB-266CD74B12FA}" type="presParOf" srcId="{7CAB4DAE-11EB-7D44-B65F-000D48E8ADD4}" destId="{35F3A977-FF39-2A40-8230-9C5599D80165}" srcOrd="0" destOrd="0" presId="urn:microsoft.com/office/officeart/2008/layout/HexagonCluster"/>
    <dgm:cxn modelId="{8D3D20B7-604A-E64E-AB95-982CD90D7085}" type="presParOf" srcId="{0AC382F9-C0D8-CF4D-99BD-CF606C426E2C}" destId="{40102DF3-A9E2-F543-838B-C9894DADF941}" srcOrd="36" destOrd="0" presId="urn:microsoft.com/office/officeart/2008/layout/HexagonCluster"/>
    <dgm:cxn modelId="{5E443C9B-70E9-2A4A-8968-E1CDA3674D20}" type="presParOf" srcId="{40102DF3-A9E2-F543-838B-C9894DADF941}" destId="{6B4E49A4-DB15-EB49-84B3-DDF41985C9FE}" srcOrd="0" destOrd="0" presId="urn:microsoft.com/office/officeart/2008/layout/HexagonCluster"/>
    <dgm:cxn modelId="{7B4F4648-4122-544E-A604-D32CAD1208EC}" type="presParOf" srcId="{0AC382F9-C0D8-CF4D-99BD-CF606C426E2C}" destId="{CDBCBBC2-A172-5D41-99C5-4887B5A9D34A}" srcOrd="37" destOrd="0" presId="urn:microsoft.com/office/officeart/2008/layout/HexagonCluster"/>
    <dgm:cxn modelId="{EDA4E2E3-89E0-C648-B61B-42E1CD17AF2E}" type="presParOf" srcId="{CDBCBBC2-A172-5D41-99C5-4887B5A9D34A}" destId="{63D2E3AB-B068-E74A-BE36-926A81B4CD36}" srcOrd="0" destOrd="0" presId="urn:microsoft.com/office/officeart/2008/layout/HexagonCluster"/>
    <dgm:cxn modelId="{094A8921-FAB0-5A40-B28F-C1B1CFECE559}" type="presParOf" srcId="{0AC382F9-C0D8-CF4D-99BD-CF606C426E2C}" destId="{20FAC81F-938E-9746-AF07-878D2809A16C}" srcOrd="38" destOrd="0" presId="urn:microsoft.com/office/officeart/2008/layout/HexagonCluster"/>
    <dgm:cxn modelId="{06BBDBD0-3AEA-964E-BD58-9C227CE1D013}" type="presParOf" srcId="{20FAC81F-938E-9746-AF07-878D2809A16C}" destId="{917FACCA-A484-284F-B98A-5F70BF6BC457}" srcOrd="0" destOrd="0" presId="urn:microsoft.com/office/officeart/2008/layout/HexagonCluster"/>
    <dgm:cxn modelId="{AF4BC1A7-BC68-2D44-AEBA-E0C7CE09FB56}" type="presParOf" srcId="{0AC382F9-C0D8-CF4D-99BD-CF606C426E2C}" destId="{CA2B8FC4-B7CE-DE48-9053-B3DE3109D977}" srcOrd="39" destOrd="0" presId="urn:microsoft.com/office/officeart/2008/layout/HexagonCluster"/>
    <dgm:cxn modelId="{0241CD11-6698-CD49-887C-993FD297F354}" type="presParOf" srcId="{CA2B8FC4-B7CE-DE48-9053-B3DE3109D977}" destId="{A12F7842-B6BE-B14D-9F00-2B7A57C46D31}" srcOrd="0" destOrd="0" presId="urn:microsoft.com/office/officeart/2008/layout/HexagonCluster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F89E188-F3BE-4F50-ADEC-72EFC4DAB9D8}" type="doc">
      <dgm:prSet loTypeId="urn:microsoft.com/office/officeart/2008/layout/CircularPictureCallou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945EEEC-9EF0-42A5-A817-34DD9B64EDB4}">
      <dgm:prSet/>
      <dgm:spPr/>
      <dgm:t>
        <a:bodyPr/>
        <a:lstStyle/>
        <a:p>
          <a:endParaRPr lang="en-US"/>
        </a:p>
      </dgm:t>
    </dgm:pt>
    <dgm:pt modelId="{DFED2025-A8D0-44A4-B7BE-288F90935B60}" type="parTrans" cxnId="{CFC6B01D-9E5C-4188-8FFD-13405D290D5C}">
      <dgm:prSet/>
      <dgm:spPr/>
      <dgm:t>
        <a:bodyPr/>
        <a:lstStyle/>
        <a:p>
          <a:endParaRPr lang="en-US"/>
        </a:p>
      </dgm:t>
    </dgm:pt>
    <dgm:pt modelId="{6FB867BC-EDE5-4115-94E9-B7A47BF13439}" type="sibTrans" cxnId="{CFC6B01D-9E5C-4188-8FFD-13405D290D5C}">
      <dgm:prSet/>
      <dgm:spPr/>
      <dgm:t>
        <a:bodyPr/>
        <a:lstStyle/>
        <a:p>
          <a:endParaRPr lang="en-US"/>
        </a:p>
      </dgm:t>
    </dgm:pt>
    <dgm:pt modelId="{BDD54493-520B-4FFA-9088-FB6944159E5B}">
      <dgm:prSet phldrT="[Text]"/>
      <dgm:spPr/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0D833C07-F0DC-4F3C-9927-FC45D1DC7516}" type="parTrans" cxnId="{10E96471-714F-4B26-9EC3-522CBEA4B9DF}">
      <dgm:prSet/>
      <dgm:spPr/>
      <dgm:t>
        <a:bodyPr/>
        <a:lstStyle/>
        <a:p>
          <a:endParaRPr lang="en-US"/>
        </a:p>
      </dgm:t>
    </dgm:pt>
    <dgm:pt modelId="{E4E9827E-8552-492D-804E-BBCA822DC2C3}" type="sibTrans" cxnId="{10E96471-714F-4B26-9EC3-522CBEA4B9DF}">
      <dgm:prSet/>
      <dgm:spPr/>
      <dgm:t>
        <a:bodyPr/>
        <a:lstStyle/>
        <a:p>
          <a:endParaRPr lang="en-US"/>
        </a:p>
      </dgm:t>
    </dgm:pt>
    <dgm:pt modelId="{638C29FD-0CD1-4CF0-8891-4B71901A559F}">
      <dgm:prSet phldrT="[Text]"/>
      <dgm:spPr/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C6294532-2A02-4159-A8EA-6AE25554E256}" type="sibTrans" cxnId="{10846DDD-C0AE-46FE-80CB-CE6A77D34CAF}">
      <dgm:prSet/>
      <dgm:spPr/>
      <dgm:t>
        <a:bodyPr/>
        <a:lstStyle/>
        <a:p>
          <a:endParaRPr lang="en-US"/>
        </a:p>
      </dgm:t>
    </dgm:pt>
    <dgm:pt modelId="{9D386759-897E-4EA0-9796-061C59C0290B}" type="parTrans" cxnId="{10846DDD-C0AE-46FE-80CB-CE6A77D34CAF}">
      <dgm:prSet/>
      <dgm:spPr/>
      <dgm:t>
        <a:bodyPr/>
        <a:lstStyle/>
        <a:p>
          <a:endParaRPr lang="en-US"/>
        </a:p>
      </dgm:t>
    </dgm:pt>
    <dgm:pt modelId="{5D42BD92-AFBD-4F0C-B535-093173D34A8A}">
      <dgm:prSet phldrT="[Text]"/>
      <dgm:spPr/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A4A92CB2-B1A9-477F-8245-4107A3EB8F8D}" type="sibTrans" cxnId="{CFD6D2EA-3F52-40AC-804C-5C0F53F7BBB2}">
      <dgm:prSet/>
      <dgm:spPr/>
      <dgm:t>
        <a:bodyPr/>
        <a:lstStyle/>
        <a:p>
          <a:endParaRPr lang="en-US"/>
        </a:p>
      </dgm:t>
    </dgm:pt>
    <dgm:pt modelId="{96CF8143-02C0-4BFB-A576-B0599EF0CC77}" type="parTrans" cxnId="{CFD6D2EA-3F52-40AC-804C-5C0F53F7BBB2}">
      <dgm:prSet/>
      <dgm:spPr/>
      <dgm:t>
        <a:bodyPr/>
        <a:lstStyle/>
        <a:p>
          <a:endParaRPr lang="en-US"/>
        </a:p>
      </dgm:t>
    </dgm:pt>
    <dgm:pt modelId="{51B46FF4-0E01-43A1-B9D1-FB0C90A2CD4B}" type="pres">
      <dgm:prSet presAssocID="{BF89E188-F3BE-4F50-ADEC-72EFC4DAB9D8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D8F6F457-7F20-4DA3-B4B4-C1FEF9B5C38C}" type="pres">
      <dgm:prSet presAssocID="{BF89E188-F3BE-4F50-ADEC-72EFC4DAB9D8}" presName="Name1" presStyleCnt="0"/>
      <dgm:spPr/>
    </dgm:pt>
    <dgm:pt modelId="{B28CBB58-B5B5-4814-A709-282E0C4F8B0F}" type="pres">
      <dgm:prSet presAssocID="{6FB867BC-EDE5-4115-94E9-B7A47BF13439}" presName="picture_1" presStyleCnt="0"/>
      <dgm:spPr/>
    </dgm:pt>
    <dgm:pt modelId="{4D30CE2E-33BC-4DED-A0C4-070F86B5792F}" type="pres">
      <dgm:prSet presAssocID="{6FB867BC-EDE5-4115-94E9-B7A47BF13439}" presName="pictureRepeatNode" presStyleLbl="alignImgPlace1" presStyleIdx="0" presStyleCnt="4"/>
      <dgm:spPr/>
      <dgm:t>
        <a:bodyPr/>
        <a:lstStyle/>
        <a:p>
          <a:endParaRPr lang="en-US"/>
        </a:p>
      </dgm:t>
    </dgm:pt>
    <dgm:pt modelId="{634120EC-6513-421D-AAD3-11B9465038EA}" type="pres">
      <dgm:prSet presAssocID="{A945EEEC-9EF0-42A5-A817-34DD9B64EDB4}" presName="text_1" presStyleLbl="node1" presStyleIdx="0" presStyleCnt="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5D2189B-779F-47DE-B5F3-688E45E070C1}" type="pres">
      <dgm:prSet presAssocID="{C6294532-2A02-4159-A8EA-6AE25554E256}" presName="picture_2" presStyleCnt="0"/>
      <dgm:spPr/>
    </dgm:pt>
    <dgm:pt modelId="{852A7F88-8329-4987-9B92-66B4DB927A23}" type="pres">
      <dgm:prSet presAssocID="{C6294532-2A02-4159-A8EA-6AE25554E256}" presName="pictureRepeatNode" presStyleLbl="alignImgPlace1" presStyleIdx="1" presStyleCnt="4"/>
      <dgm:spPr/>
      <dgm:t>
        <a:bodyPr/>
        <a:lstStyle/>
        <a:p>
          <a:endParaRPr lang="en-US"/>
        </a:p>
      </dgm:t>
    </dgm:pt>
    <dgm:pt modelId="{9198FB42-001E-45ED-AB5F-E05FD6D274CE}" type="pres">
      <dgm:prSet presAssocID="{638C29FD-0CD1-4CF0-8891-4B71901A559F}" presName="line_2" presStyleLbl="parChTrans1D1" presStyleIdx="0" presStyleCnt="3"/>
      <dgm:spPr/>
    </dgm:pt>
    <dgm:pt modelId="{2765DDD1-05FD-4746-A5B2-752721454598}" type="pres">
      <dgm:prSet presAssocID="{638C29FD-0CD1-4CF0-8891-4B71901A559F}" presName="textparent_2" presStyleLbl="node1" presStyleIdx="0" presStyleCnt="0"/>
      <dgm:spPr/>
    </dgm:pt>
    <dgm:pt modelId="{DA9D29A6-A2B9-4940-9210-03B7644B84BF}" type="pres">
      <dgm:prSet presAssocID="{638C29FD-0CD1-4CF0-8891-4B71901A559F}" presName="text_2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FC948CC-F7BA-4BF4-91F0-973B02C3C504}" type="pres">
      <dgm:prSet presAssocID="{A4A92CB2-B1A9-477F-8245-4107A3EB8F8D}" presName="picture_3" presStyleCnt="0"/>
      <dgm:spPr/>
    </dgm:pt>
    <dgm:pt modelId="{ECFB979F-6F29-475D-BC9D-15F820B99E98}" type="pres">
      <dgm:prSet presAssocID="{A4A92CB2-B1A9-477F-8245-4107A3EB8F8D}" presName="pictureRepeatNode" presStyleLbl="alignImgPlace1" presStyleIdx="2" presStyleCnt="4"/>
      <dgm:spPr/>
      <dgm:t>
        <a:bodyPr/>
        <a:lstStyle/>
        <a:p>
          <a:endParaRPr lang="en-US"/>
        </a:p>
      </dgm:t>
    </dgm:pt>
    <dgm:pt modelId="{01D4C83F-5B73-47C3-AA0E-D33968292369}" type="pres">
      <dgm:prSet presAssocID="{5D42BD92-AFBD-4F0C-B535-093173D34A8A}" presName="line_3" presStyleLbl="parChTrans1D1" presStyleIdx="1" presStyleCnt="3"/>
      <dgm:spPr/>
    </dgm:pt>
    <dgm:pt modelId="{5A6BE828-376D-48A9-85BA-739B5B4FC68E}" type="pres">
      <dgm:prSet presAssocID="{5D42BD92-AFBD-4F0C-B535-093173D34A8A}" presName="textparent_3" presStyleLbl="node1" presStyleIdx="0" presStyleCnt="0"/>
      <dgm:spPr/>
    </dgm:pt>
    <dgm:pt modelId="{63E7AA3B-EA23-48F8-8CA0-42BE85BEDE5D}" type="pres">
      <dgm:prSet presAssocID="{5D42BD92-AFBD-4F0C-B535-093173D34A8A}" presName="text_3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7D5C86E-47CB-403C-9791-DD699CDD6757}" type="pres">
      <dgm:prSet presAssocID="{E4E9827E-8552-492D-804E-BBCA822DC2C3}" presName="picture_4" presStyleCnt="0"/>
      <dgm:spPr/>
    </dgm:pt>
    <dgm:pt modelId="{EC2A63EC-ECD6-4A12-9968-15E940ED68AE}" type="pres">
      <dgm:prSet presAssocID="{E4E9827E-8552-492D-804E-BBCA822DC2C3}" presName="pictureRepeatNode" presStyleLbl="alignImgPlace1" presStyleIdx="3" presStyleCnt="4"/>
      <dgm:spPr/>
      <dgm:t>
        <a:bodyPr/>
        <a:lstStyle/>
        <a:p>
          <a:endParaRPr lang="en-US"/>
        </a:p>
      </dgm:t>
    </dgm:pt>
    <dgm:pt modelId="{C50C3F9B-F50F-40BA-B7D5-2239ADE84AD4}" type="pres">
      <dgm:prSet presAssocID="{BDD54493-520B-4FFA-9088-FB6944159E5B}" presName="line_4" presStyleLbl="parChTrans1D1" presStyleIdx="2" presStyleCnt="3"/>
      <dgm:spPr/>
    </dgm:pt>
    <dgm:pt modelId="{B1C33839-B090-4FB4-ABD9-471E6751DE09}" type="pres">
      <dgm:prSet presAssocID="{BDD54493-520B-4FFA-9088-FB6944159E5B}" presName="textparent_4" presStyleLbl="node1" presStyleIdx="0" presStyleCnt="0"/>
      <dgm:spPr/>
    </dgm:pt>
    <dgm:pt modelId="{25E5B459-031D-4E22-A8EA-CE0DDF1984E2}" type="pres">
      <dgm:prSet presAssocID="{BDD54493-520B-4FFA-9088-FB6944159E5B}" presName="text_4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0AA339A-EE40-48F3-BB89-659231165EA7}" type="presOf" srcId="{E4E9827E-8552-492D-804E-BBCA822DC2C3}" destId="{EC2A63EC-ECD6-4A12-9968-15E940ED68AE}" srcOrd="0" destOrd="0" presId="urn:microsoft.com/office/officeart/2008/layout/CircularPictureCallout"/>
    <dgm:cxn modelId="{41D2C144-9EA8-4C43-8E47-B904639D9D26}" type="presOf" srcId="{5D42BD92-AFBD-4F0C-B535-093173D34A8A}" destId="{63E7AA3B-EA23-48F8-8CA0-42BE85BEDE5D}" srcOrd="0" destOrd="0" presId="urn:microsoft.com/office/officeart/2008/layout/CircularPictureCallout"/>
    <dgm:cxn modelId="{CFD6D2EA-3F52-40AC-804C-5C0F53F7BBB2}" srcId="{BF89E188-F3BE-4F50-ADEC-72EFC4DAB9D8}" destId="{5D42BD92-AFBD-4F0C-B535-093173D34A8A}" srcOrd="2" destOrd="0" parTransId="{96CF8143-02C0-4BFB-A576-B0599EF0CC77}" sibTransId="{A4A92CB2-B1A9-477F-8245-4107A3EB8F8D}"/>
    <dgm:cxn modelId="{6E21A55F-1468-4D03-8A76-342216F44059}" type="presOf" srcId="{A4A92CB2-B1A9-477F-8245-4107A3EB8F8D}" destId="{ECFB979F-6F29-475D-BC9D-15F820B99E98}" srcOrd="0" destOrd="0" presId="urn:microsoft.com/office/officeart/2008/layout/CircularPictureCallout"/>
    <dgm:cxn modelId="{10846DDD-C0AE-46FE-80CB-CE6A77D34CAF}" srcId="{BF89E188-F3BE-4F50-ADEC-72EFC4DAB9D8}" destId="{638C29FD-0CD1-4CF0-8891-4B71901A559F}" srcOrd="1" destOrd="0" parTransId="{9D386759-897E-4EA0-9796-061C59C0290B}" sibTransId="{C6294532-2A02-4159-A8EA-6AE25554E256}"/>
    <dgm:cxn modelId="{CFC6B01D-9E5C-4188-8FFD-13405D290D5C}" srcId="{BF89E188-F3BE-4F50-ADEC-72EFC4DAB9D8}" destId="{A945EEEC-9EF0-42A5-A817-34DD9B64EDB4}" srcOrd="0" destOrd="0" parTransId="{DFED2025-A8D0-44A4-B7BE-288F90935B60}" sibTransId="{6FB867BC-EDE5-4115-94E9-B7A47BF13439}"/>
    <dgm:cxn modelId="{205383A1-EB1D-4AC2-ACD0-97263C309E34}" type="presOf" srcId="{BF89E188-F3BE-4F50-ADEC-72EFC4DAB9D8}" destId="{51B46FF4-0E01-43A1-B9D1-FB0C90A2CD4B}" srcOrd="0" destOrd="0" presId="urn:microsoft.com/office/officeart/2008/layout/CircularPictureCallout"/>
    <dgm:cxn modelId="{10E96471-714F-4B26-9EC3-522CBEA4B9DF}" srcId="{BF89E188-F3BE-4F50-ADEC-72EFC4DAB9D8}" destId="{BDD54493-520B-4FFA-9088-FB6944159E5B}" srcOrd="3" destOrd="0" parTransId="{0D833C07-F0DC-4F3C-9927-FC45D1DC7516}" sibTransId="{E4E9827E-8552-492D-804E-BBCA822DC2C3}"/>
    <dgm:cxn modelId="{60DA4267-FAF5-4030-9895-00E3B4A40131}" type="presOf" srcId="{C6294532-2A02-4159-A8EA-6AE25554E256}" destId="{852A7F88-8329-4987-9B92-66B4DB927A23}" srcOrd="0" destOrd="0" presId="urn:microsoft.com/office/officeart/2008/layout/CircularPictureCallout"/>
    <dgm:cxn modelId="{75C1D138-7F29-44A6-8BA2-1171EB552974}" type="presOf" srcId="{A945EEEC-9EF0-42A5-A817-34DD9B64EDB4}" destId="{634120EC-6513-421D-AAD3-11B9465038EA}" srcOrd="0" destOrd="0" presId="urn:microsoft.com/office/officeart/2008/layout/CircularPictureCallout"/>
    <dgm:cxn modelId="{3C8BA8A7-324A-419E-815F-8FD8FEEDA1F6}" type="presOf" srcId="{BDD54493-520B-4FFA-9088-FB6944159E5B}" destId="{25E5B459-031D-4E22-A8EA-CE0DDF1984E2}" srcOrd="0" destOrd="0" presId="urn:microsoft.com/office/officeart/2008/layout/CircularPictureCallout"/>
    <dgm:cxn modelId="{401639BB-0273-43B1-A7BC-24AFA963E190}" type="presOf" srcId="{638C29FD-0CD1-4CF0-8891-4B71901A559F}" destId="{DA9D29A6-A2B9-4940-9210-03B7644B84BF}" srcOrd="0" destOrd="0" presId="urn:microsoft.com/office/officeart/2008/layout/CircularPictureCallout"/>
    <dgm:cxn modelId="{D9760C28-64C7-49DC-9840-DCAB7928E2A1}" type="presOf" srcId="{6FB867BC-EDE5-4115-94E9-B7A47BF13439}" destId="{4D30CE2E-33BC-4DED-A0C4-070F86B5792F}" srcOrd="0" destOrd="0" presId="urn:microsoft.com/office/officeart/2008/layout/CircularPictureCallout"/>
    <dgm:cxn modelId="{1872BA39-3EF9-423B-8118-B3814C3DB4FA}" type="presParOf" srcId="{51B46FF4-0E01-43A1-B9D1-FB0C90A2CD4B}" destId="{D8F6F457-7F20-4DA3-B4B4-C1FEF9B5C38C}" srcOrd="0" destOrd="0" presId="urn:microsoft.com/office/officeart/2008/layout/CircularPictureCallout"/>
    <dgm:cxn modelId="{8762D685-7443-4CD8-925E-0C9C21C7927E}" type="presParOf" srcId="{D8F6F457-7F20-4DA3-B4B4-C1FEF9B5C38C}" destId="{B28CBB58-B5B5-4814-A709-282E0C4F8B0F}" srcOrd="0" destOrd="0" presId="urn:microsoft.com/office/officeart/2008/layout/CircularPictureCallout"/>
    <dgm:cxn modelId="{8A49C200-ADBD-42E6-B8A6-EBD150B2C29E}" type="presParOf" srcId="{B28CBB58-B5B5-4814-A709-282E0C4F8B0F}" destId="{4D30CE2E-33BC-4DED-A0C4-070F86B5792F}" srcOrd="0" destOrd="0" presId="urn:microsoft.com/office/officeart/2008/layout/CircularPictureCallout"/>
    <dgm:cxn modelId="{28CB5E00-8872-4A20-A0DB-F35076261E98}" type="presParOf" srcId="{D8F6F457-7F20-4DA3-B4B4-C1FEF9B5C38C}" destId="{634120EC-6513-421D-AAD3-11B9465038EA}" srcOrd="1" destOrd="0" presId="urn:microsoft.com/office/officeart/2008/layout/CircularPictureCallout"/>
    <dgm:cxn modelId="{B1E390C4-A067-41F5-B97C-04C54C57EE4E}" type="presParOf" srcId="{D8F6F457-7F20-4DA3-B4B4-C1FEF9B5C38C}" destId="{15D2189B-779F-47DE-B5F3-688E45E070C1}" srcOrd="2" destOrd="0" presId="urn:microsoft.com/office/officeart/2008/layout/CircularPictureCallout"/>
    <dgm:cxn modelId="{A90AF408-D23B-43DA-9CE8-4EB0E3CE0504}" type="presParOf" srcId="{15D2189B-779F-47DE-B5F3-688E45E070C1}" destId="{852A7F88-8329-4987-9B92-66B4DB927A23}" srcOrd="0" destOrd="0" presId="urn:microsoft.com/office/officeart/2008/layout/CircularPictureCallout"/>
    <dgm:cxn modelId="{367991C7-D78F-4AE8-904E-38D37B43FF4F}" type="presParOf" srcId="{D8F6F457-7F20-4DA3-B4B4-C1FEF9B5C38C}" destId="{9198FB42-001E-45ED-AB5F-E05FD6D274CE}" srcOrd="3" destOrd="0" presId="urn:microsoft.com/office/officeart/2008/layout/CircularPictureCallout"/>
    <dgm:cxn modelId="{337C7647-3EAE-4AC6-8ACE-EFE104C53D4E}" type="presParOf" srcId="{D8F6F457-7F20-4DA3-B4B4-C1FEF9B5C38C}" destId="{2765DDD1-05FD-4746-A5B2-752721454598}" srcOrd="4" destOrd="0" presId="urn:microsoft.com/office/officeart/2008/layout/CircularPictureCallout"/>
    <dgm:cxn modelId="{F71CA91F-3FA9-40AF-97DB-69C10D2EAD14}" type="presParOf" srcId="{2765DDD1-05FD-4746-A5B2-752721454598}" destId="{DA9D29A6-A2B9-4940-9210-03B7644B84BF}" srcOrd="0" destOrd="0" presId="urn:microsoft.com/office/officeart/2008/layout/CircularPictureCallout"/>
    <dgm:cxn modelId="{5BDA2F0F-A7D5-4731-9BA2-1D56C1A724FF}" type="presParOf" srcId="{D8F6F457-7F20-4DA3-B4B4-C1FEF9B5C38C}" destId="{AFC948CC-F7BA-4BF4-91F0-973B02C3C504}" srcOrd="5" destOrd="0" presId="urn:microsoft.com/office/officeart/2008/layout/CircularPictureCallout"/>
    <dgm:cxn modelId="{B6B56AA2-87C9-4AD9-AAFC-3D8E66A041C7}" type="presParOf" srcId="{AFC948CC-F7BA-4BF4-91F0-973B02C3C504}" destId="{ECFB979F-6F29-475D-BC9D-15F820B99E98}" srcOrd="0" destOrd="0" presId="urn:microsoft.com/office/officeart/2008/layout/CircularPictureCallout"/>
    <dgm:cxn modelId="{F5BC4027-99BD-4627-AE8D-CDE83BA6016D}" type="presParOf" srcId="{D8F6F457-7F20-4DA3-B4B4-C1FEF9B5C38C}" destId="{01D4C83F-5B73-47C3-AA0E-D33968292369}" srcOrd="6" destOrd="0" presId="urn:microsoft.com/office/officeart/2008/layout/CircularPictureCallout"/>
    <dgm:cxn modelId="{CE86125B-122C-4F19-9F97-88AC77258BB9}" type="presParOf" srcId="{D8F6F457-7F20-4DA3-B4B4-C1FEF9B5C38C}" destId="{5A6BE828-376D-48A9-85BA-739B5B4FC68E}" srcOrd="7" destOrd="0" presId="urn:microsoft.com/office/officeart/2008/layout/CircularPictureCallout"/>
    <dgm:cxn modelId="{430332F9-B497-4D35-B5CF-2860501AF98F}" type="presParOf" srcId="{5A6BE828-376D-48A9-85BA-739B5B4FC68E}" destId="{63E7AA3B-EA23-48F8-8CA0-42BE85BEDE5D}" srcOrd="0" destOrd="0" presId="urn:microsoft.com/office/officeart/2008/layout/CircularPictureCallout"/>
    <dgm:cxn modelId="{31A78D44-AF75-4B21-9598-DFCACD1FF63F}" type="presParOf" srcId="{D8F6F457-7F20-4DA3-B4B4-C1FEF9B5C38C}" destId="{37D5C86E-47CB-403C-9791-DD699CDD6757}" srcOrd="8" destOrd="0" presId="urn:microsoft.com/office/officeart/2008/layout/CircularPictureCallout"/>
    <dgm:cxn modelId="{16912C63-3A6E-4E7C-BF13-A48AC48A1B81}" type="presParOf" srcId="{37D5C86E-47CB-403C-9791-DD699CDD6757}" destId="{EC2A63EC-ECD6-4A12-9968-15E940ED68AE}" srcOrd="0" destOrd="0" presId="urn:microsoft.com/office/officeart/2008/layout/CircularPictureCallout"/>
    <dgm:cxn modelId="{759D538B-AF14-4F73-A72C-3BC0559F3EE7}" type="presParOf" srcId="{D8F6F457-7F20-4DA3-B4B4-C1FEF9B5C38C}" destId="{C50C3F9B-F50F-40BA-B7D5-2239ADE84AD4}" srcOrd="9" destOrd="0" presId="urn:microsoft.com/office/officeart/2008/layout/CircularPictureCallout"/>
    <dgm:cxn modelId="{23713E0C-8F04-477D-B185-8BB2F86ABBB6}" type="presParOf" srcId="{D8F6F457-7F20-4DA3-B4B4-C1FEF9B5C38C}" destId="{B1C33839-B090-4FB4-ABD9-471E6751DE09}" srcOrd="10" destOrd="0" presId="urn:microsoft.com/office/officeart/2008/layout/CircularPictureCallout"/>
    <dgm:cxn modelId="{52C015D6-E8FE-46B6-B734-FEBDA5808FAC}" type="presParOf" srcId="{B1C33839-B090-4FB4-ABD9-471E6751DE09}" destId="{25E5B459-031D-4E22-A8EA-CE0DDF1984E2}" srcOrd="0" destOrd="0" presId="urn:microsoft.com/office/officeart/2008/layout/CircularPictureCallou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9AB7E75-48F4-4D51-BD8B-6B79CB63605A}" type="doc">
      <dgm:prSet loTypeId="urn:microsoft.com/office/officeart/2005/8/layout/vList6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FE5C0C76-16DE-4538-9A28-55EDD1EB2DA1}">
      <dgm:prSet phldrT="[Text]" custT="1"/>
      <dgm:spPr/>
      <dgm:t>
        <a:bodyPr/>
        <a:lstStyle/>
        <a:p>
          <a:r>
            <a:rPr lang="en-US" sz="1400" dirty="0" smtClean="0">
              <a:latin typeface="HelvNeue for IBM Light"/>
            </a:rPr>
            <a:t>Secure, Scalable, &amp; Open Platform to enable IoT</a:t>
          </a:r>
          <a:endParaRPr lang="en-US" sz="1400" dirty="0">
            <a:latin typeface="HelvNeue for IBM Light"/>
          </a:endParaRPr>
        </a:p>
      </dgm:t>
    </dgm:pt>
    <dgm:pt modelId="{9B507F49-7E2D-4771-8D8F-E284666DC9C3}" type="parTrans" cxnId="{3BD0D4D1-B38C-4550-9815-6EDC5636E77F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C0FA9F1C-B263-4657-9364-75F99B532B7C}" type="sibTrans" cxnId="{3BD0D4D1-B38C-4550-9815-6EDC5636E77F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04781AA6-9679-464D-8599-DE9AC3EB72CB}">
      <dgm:prSet phldrT="[Text]" custT="1"/>
      <dgm:spPr/>
      <dgm:t>
        <a:bodyPr anchor="ctr"/>
        <a:lstStyle/>
        <a:p>
          <a:r>
            <a:rPr lang="en-US" sz="1000" dirty="0" smtClean="0">
              <a:latin typeface="HelvNeue for IBM Light"/>
            </a:rPr>
            <a:t>Watson </a:t>
          </a:r>
          <a:r>
            <a:rPr lang="en-US" sz="1000" dirty="0" err="1" smtClean="0">
              <a:latin typeface="HelvNeue for IBM Light"/>
            </a:rPr>
            <a:t>IoT</a:t>
          </a:r>
          <a:r>
            <a:rPr lang="en-US" sz="1000" dirty="0" smtClean="0">
              <a:latin typeface="HelvNeue for IBM Light"/>
            </a:rPr>
            <a:t> Platform</a:t>
          </a:r>
          <a:endParaRPr lang="en-US" sz="1000" dirty="0">
            <a:latin typeface="HelvNeue for IBM Light"/>
          </a:endParaRPr>
        </a:p>
      </dgm:t>
    </dgm:pt>
    <dgm:pt modelId="{0360A21F-6C54-4318-8630-35C97E57030B}" type="parTrans" cxnId="{E9F91F7D-DB36-405C-9F82-C8D06D085D78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FCE58CB1-D98C-47F8-B1D7-4E8590C58E5F}" type="sibTrans" cxnId="{E9F91F7D-DB36-405C-9F82-C8D06D085D78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D74E28AF-EB90-407D-A640-29618AECE3E5}">
      <dgm:prSet phldrT="[Text]" custT="1"/>
      <dgm:spPr/>
      <dgm:t>
        <a:bodyPr anchor="ctr"/>
        <a:lstStyle/>
        <a:p>
          <a:r>
            <a:rPr lang="en-US" sz="1000" dirty="0" smtClean="0">
              <a:latin typeface="HelvNeue for IBM Light"/>
            </a:rPr>
            <a:t>Partner Ecosystem</a:t>
          </a:r>
          <a:endParaRPr lang="en-US" sz="1000" dirty="0">
            <a:latin typeface="HelvNeue for IBM Light"/>
          </a:endParaRPr>
        </a:p>
      </dgm:t>
    </dgm:pt>
    <dgm:pt modelId="{00CF8EA1-C898-4AEC-A2E5-75E62BB22F35}" type="parTrans" cxnId="{01E5170F-D5A3-4878-86D6-A3B57EE2FE32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AE02AFFC-0BD0-49C0-B98B-87C8CEFE576E}" type="sibTrans" cxnId="{01E5170F-D5A3-4878-86D6-A3B57EE2FE32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C8EFC62B-F8A9-4EE1-945D-ECA7852A6497}">
      <dgm:prSet phldrT="[Text]" custT="1"/>
      <dgm:spPr/>
      <dgm:t>
        <a:bodyPr/>
        <a:lstStyle/>
        <a:p>
          <a:r>
            <a:rPr lang="en-US" sz="1400" dirty="0" smtClean="0">
              <a:latin typeface="HelvNeue for IBM Light"/>
            </a:rPr>
            <a:t>Industry-specific expertise to solve business needs</a:t>
          </a:r>
          <a:endParaRPr lang="en-US" sz="1400" dirty="0">
            <a:latin typeface="HelvNeue for IBM Light"/>
          </a:endParaRPr>
        </a:p>
      </dgm:t>
    </dgm:pt>
    <dgm:pt modelId="{12825799-B33F-4313-A9FA-73D821C59B86}" type="parTrans" cxnId="{12A04D65-B867-413A-A4CF-EBD0CE9FC611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756D5D78-EE08-4D7C-942C-87BB06E75E4C}" type="sibTrans" cxnId="{12A04D65-B867-413A-A4CF-EBD0CE9FC611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D7002E12-6789-419C-BBF3-88211CFD6A31}">
      <dgm:prSet phldrT="[Text]" custT="1"/>
      <dgm:spPr/>
      <dgm:t>
        <a:bodyPr anchor="ctr"/>
        <a:lstStyle/>
        <a:p>
          <a:r>
            <a:rPr lang="en-US" sz="1000" dirty="0" smtClean="0">
              <a:latin typeface="HelvNeue for IBM Light"/>
            </a:rPr>
            <a:t>IoT Applications</a:t>
          </a:r>
          <a:endParaRPr lang="en-US" sz="1000" dirty="0">
            <a:latin typeface="HelvNeue for IBM Light"/>
          </a:endParaRPr>
        </a:p>
      </dgm:t>
    </dgm:pt>
    <dgm:pt modelId="{9F1D8CA1-F977-433F-871F-D11C45254D26}" type="parTrans" cxnId="{F26813E9-9C53-4089-B4B9-95D6A27A4F02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56B2F62B-1BA7-4AAE-9E9F-30FDCFC708ED}" type="sibTrans" cxnId="{F26813E9-9C53-4089-B4B9-95D6A27A4F02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F8A39CDB-4DE1-4F8B-8662-304BA1C134B6}">
      <dgm:prSet phldrT="[Text]" custT="1"/>
      <dgm:spPr/>
      <dgm:t>
        <a:bodyPr anchor="ctr"/>
        <a:lstStyle/>
        <a:p>
          <a:r>
            <a:rPr lang="en-US" sz="1000" dirty="0" smtClean="0">
              <a:latin typeface="HelvNeue for IBM Light"/>
            </a:rPr>
            <a:t>GBS Digital  Ops Practice</a:t>
          </a:r>
          <a:endParaRPr lang="en-US" sz="1000" dirty="0">
            <a:latin typeface="HelvNeue for IBM Light"/>
          </a:endParaRPr>
        </a:p>
      </dgm:t>
    </dgm:pt>
    <dgm:pt modelId="{9DF82132-1090-4FDD-B3BB-FDDA3EECACD5}" type="parTrans" cxnId="{E253A82E-78B0-49BD-B48B-B2EB7A80278D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7D1B0288-B592-4EE1-823F-B372A9E97753}" type="sibTrans" cxnId="{E253A82E-78B0-49BD-B48B-B2EB7A80278D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0ED0C846-CFEC-4138-8966-7473E6F3C0CD}">
      <dgm:prSet phldrT="[Text]" custT="1"/>
      <dgm:spPr/>
      <dgm:t>
        <a:bodyPr anchor="ctr"/>
        <a:lstStyle/>
        <a:p>
          <a:r>
            <a:rPr lang="en-US" sz="1000" dirty="0" smtClean="0">
              <a:latin typeface="HelvNeue for IBM Light"/>
            </a:rPr>
            <a:t>Analytics &amp; Cognitive</a:t>
          </a:r>
          <a:endParaRPr lang="en-US" sz="1000" dirty="0">
            <a:latin typeface="HelvNeue for IBM Light"/>
          </a:endParaRPr>
        </a:p>
      </dgm:t>
    </dgm:pt>
    <dgm:pt modelId="{43946E9D-B9F1-4F3C-9BA2-61432C8AFDED}" type="parTrans" cxnId="{BA0CC75F-FC25-4B9F-A3DC-DA6546F2A0B8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B126DAFF-9C5D-4305-9255-A25EC12F5C21}" type="sibTrans" cxnId="{BA0CC75F-FC25-4B9F-A3DC-DA6546F2A0B8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B15CF686-DAFB-4802-877E-07165122F880}">
      <dgm:prSet phldrT="[Text]" custT="1"/>
      <dgm:spPr/>
      <dgm:t>
        <a:bodyPr anchor="ctr"/>
        <a:lstStyle/>
        <a:p>
          <a:r>
            <a:rPr lang="en-US" sz="1000" dirty="0" smtClean="0">
              <a:latin typeface="HelvNeue for IBM Light"/>
            </a:rPr>
            <a:t>Security</a:t>
          </a:r>
          <a:endParaRPr lang="en-US" sz="1000" dirty="0">
            <a:latin typeface="HelvNeue for IBM Light"/>
          </a:endParaRPr>
        </a:p>
      </dgm:t>
    </dgm:pt>
    <dgm:pt modelId="{D1DF5206-6282-4F8B-BFE8-A3824A2000D3}" type="parTrans" cxnId="{CE3DAF75-5617-4D9D-BB2D-EEA36BCAF872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57801103-ACCF-4D7A-9954-2ACA8DA41F49}" type="sibTrans" cxnId="{CE3DAF75-5617-4D9D-BB2D-EEA36BCAF872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89A69C35-CAB9-4DDD-B49E-61D1688B2E1D}">
      <dgm:prSet phldrT="[Text]" custT="1"/>
      <dgm:spPr/>
      <dgm:t>
        <a:bodyPr anchor="ctr"/>
        <a:lstStyle/>
        <a:p>
          <a:r>
            <a:rPr lang="en-US" sz="1000" dirty="0" smtClean="0">
              <a:latin typeface="HelvNeue for IBM Light"/>
            </a:rPr>
            <a:t>Cloud, On-Premise, Hybrid</a:t>
          </a:r>
          <a:endParaRPr lang="en-US" sz="1000" dirty="0">
            <a:latin typeface="HelvNeue for IBM Light"/>
          </a:endParaRPr>
        </a:p>
      </dgm:t>
    </dgm:pt>
    <dgm:pt modelId="{43140F50-C268-4CFB-9882-9838EF277D72}" type="parTrans" cxnId="{F134E767-86EF-49A4-9E21-AE8BE1B00499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ED085461-7B9F-4B8C-BC44-7B9D52F1A76E}" type="sibTrans" cxnId="{F134E767-86EF-49A4-9E21-AE8BE1B00499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AEC514D8-3B9F-4F21-8F87-ACC40D9C7C07}">
      <dgm:prSet phldrT="[Text]" custT="1"/>
      <dgm:spPr/>
      <dgm:t>
        <a:bodyPr anchor="ctr"/>
        <a:lstStyle/>
        <a:p>
          <a:r>
            <a:rPr lang="en-US" sz="1000" dirty="0" smtClean="0">
              <a:latin typeface="HelvNeue for IBM Light"/>
            </a:rPr>
            <a:t>Industry Solutions</a:t>
          </a:r>
          <a:endParaRPr lang="en-US" sz="1000" dirty="0">
            <a:latin typeface="HelvNeue for IBM Light"/>
          </a:endParaRPr>
        </a:p>
      </dgm:t>
    </dgm:pt>
    <dgm:pt modelId="{7BE15612-4077-48CF-A632-6A926E701A8D}" type="parTrans" cxnId="{2F394318-A038-4E8E-9B65-90430B4DB7E3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C741AEFC-9559-49E0-8F27-E4B3907E0647}" type="sibTrans" cxnId="{2F394318-A038-4E8E-9B65-90430B4DB7E3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18C76898-C02A-4F39-959C-B0D800C07CD7}">
      <dgm:prSet phldrT="[Text]" custT="1"/>
      <dgm:spPr/>
      <dgm:t>
        <a:bodyPr anchor="ctr"/>
        <a:lstStyle/>
        <a:p>
          <a:r>
            <a:rPr lang="en-US" sz="1000" dirty="0" smtClean="0">
              <a:latin typeface="HelvNeue for IBM Light"/>
            </a:rPr>
            <a:t>Third Party Solutions</a:t>
          </a:r>
          <a:endParaRPr lang="en-US" sz="1000" dirty="0">
            <a:latin typeface="HelvNeue for IBM Light"/>
          </a:endParaRPr>
        </a:p>
      </dgm:t>
    </dgm:pt>
    <dgm:pt modelId="{94A2D983-B8B2-440C-8FD0-55F516C973EC}" type="parTrans" cxnId="{AE494CE9-5703-4AD1-A8A0-5061F8DD9FED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653B479E-A080-4516-ABB6-4686C858B85D}" type="sibTrans" cxnId="{AE494CE9-5703-4AD1-A8A0-5061F8DD9FED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E32EA37B-0580-4289-8839-FDAA4CA5B6E7}">
      <dgm:prSet phldrT="[Text]" custT="1"/>
      <dgm:spPr/>
      <dgm:t>
        <a:bodyPr anchor="ctr"/>
        <a:lstStyle/>
        <a:p>
          <a:r>
            <a:rPr lang="en-US" sz="1000" dirty="0" smtClean="0">
              <a:latin typeface="HelvNeue for IBM Light"/>
            </a:rPr>
            <a:t>Client experience</a:t>
          </a:r>
          <a:endParaRPr lang="en-US" sz="1000" dirty="0">
            <a:latin typeface="HelvNeue for IBM Light"/>
          </a:endParaRPr>
        </a:p>
      </dgm:t>
    </dgm:pt>
    <dgm:pt modelId="{91BD3393-25E5-4E87-A239-700803CBC3F3}" type="parTrans" cxnId="{F466F3FE-8D3D-49BF-87EC-8BF861F20658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91444C26-585A-41C5-99A9-66247A1B67C0}" type="sibTrans" cxnId="{F466F3FE-8D3D-49BF-87EC-8BF861F20658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DD97687F-DDF5-477F-BB67-293E20B00D99}">
      <dgm:prSet phldrT="[Text]" custT="1"/>
      <dgm:spPr/>
      <dgm:t>
        <a:bodyPr/>
        <a:lstStyle/>
        <a:p>
          <a:r>
            <a:rPr lang="en-US" sz="1400" dirty="0" smtClean="0">
              <a:latin typeface="HelvNeue for IBM Light"/>
            </a:rPr>
            <a:t>Capabilities to help digital businesses become cognitive</a:t>
          </a:r>
          <a:endParaRPr lang="en-US" sz="1400" dirty="0">
            <a:latin typeface="HelvNeue for IBM Light"/>
          </a:endParaRPr>
        </a:p>
      </dgm:t>
    </dgm:pt>
    <dgm:pt modelId="{1144A23B-D469-4E9F-B2F3-2BE2E4AAA287}" type="parTrans" cxnId="{E0CB661B-DAF2-4997-924C-523601D1E2F9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D2AB7583-171C-441C-A184-86DFECFDC6EC}" type="sibTrans" cxnId="{E0CB661B-DAF2-4997-924C-523601D1E2F9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986D6966-1602-4D3A-A7C8-3855F9710138}">
      <dgm:prSet phldrT="[Text]" custT="1"/>
      <dgm:spPr/>
      <dgm:t>
        <a:bodyPr anchor="ctr"/>
        <a:lstStyle/>
        <a:p>
          <a:r>
            <a:rPr lang="en-US" sz="1000" dirty="0" smtClean="0">
              <a:latin typeface="HelvNeue for IBM Light"/>
            </a:rPr>
            <a:t>Watson capabilities via APIs</a:t>
          </a:r>
          <a:endParaRPr lang="en-US" sz="1000" dirty="0">
            <a:latin typeface="HelvNeue for IBM Light"/>
          </a:endParaRPr>
        </a:p>
      </dgm:t>
    </dgm:pt>
    <dgm:pt modelId="{4A72C642-3059-4F3F-91BD-DE11D9128CD3}" type="parTrans" cxnId="{715705E7-D624-43C3-B14C-33E44013B688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0B35B6D5-D670-42D4-9DA6-25309CF9893E}" type="sibTrans" cxnId="{715705E7-D624-43C3-B14C-33E44013B688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A5AC2AD2-2CA1-4422-8639-7F6D33CD49C9}">
      <dgm:prSet phldrT="[Text]" custT="1"/>
      <dgm:spPr/>
      <dgm:t>
        <a:bodyPr anchor="ctr"/>
        <a:lstStyle/>
        <a:p>
          <a:r>
            <a:rPr lang="en-US" sz="1000" dirty="0" smtClean="0">
              <a:latin typeface="HelvNeue for IBM Light"/>
            </a:rPr>
            <a:t>GBS’ Cognitive Practice</a:t>
          </a:r>
          <a:endParaRPr lang="en-US" sz="1000" dirty="0">
            <a:latin typeface="HelvNeue for IBM Light"/>
          </a:endParaRPr>
        </a:p>
      </dgm:t>
    </dgm:pt>
    <dgm:pt modelId="{1C49213B-E9C7-4FCF-AE2F-62CB2263DC7E}" type="parTrans" cxnId="{177CC30D-2CD4-4BE4-8E62-289D6683EB63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47A6651A-6169-43AC-9B91-46EDF50558D4}" type="sibTrans" cxnId="{177CC30D-2CD4-4BE4-8E62-289D6683EB63}">
      <dgm:prSet/>
      <dgm:spPr/>
      <dgm:t>
        <a:bodyPr/>
        <a:lstStyle/>
        <a:p>
          <a:endParaRPr lang="en-US">
            <a:latin typeface="HelvNeue for IBM Light"/>
          </a:endParaRPr>
        </a:p>
      </dgm:t>
    </dgm:pt>
    <dgm:pt modelId="{E52579D2-ABBC-4D4B-95D7-897ADDDA41E3}">
      <dgm:prSet phldrT="[Text]" custT="1"/>
      <dgm:spPr/>
      <dgm:t>
        <a:bodyPr anchor="ctr"/>
        <a:lstStyle/>
        <a:p>
          <a:r>
            <a:rPr lang="en-US" sz="1000" dirty="0" smtClean="0">
              <a:latin typeface="HelvNeue for IBM Light"/>
            </a:rPr>
            <a:t>Digital Transformation and Industry Know-how</a:t>
          </a:r>
          <a:endParaRPr lang="en-US" sz="1000" dirty="0">
            <a:latin typeface="HelvNeue for IBM Light"/>
          </a:endParaRPr>
        </a:p>
      </dgm:t>
    </dgm:pt>
    <dgm:pt modelId="{6452C031-8BBC-46A0-B5E4-1DA0F3C7C8EC}" type="parTrans" cxnId="{DA32F87E-E4F6-4ABB-BE80-323521F86726}">
      <dgm:prSet/>
      <dgm:spPr/>
      <dgm:t>
        <a:bodyPr/>
        <a:lstStyle/>
        <a:p>
          <a:endParaRPr lang="en-US"/>
        </a:p>
      </dgm:t>
    </dgm:pt>
    <dgm:pt modelId="{5C6A74BA-1A5E-4057-A5B4-722077131CDF}" type="sibTrans" cxnId="{DA32F87E-E4F6-4ABB-BE80-323521F86726}">
      <dgm:prSet/>
      <dgm:spPr/>
      <dgm:t>
        <a:bodyPr/>
        <a:lstStyle/>
        <a:p>
          <a:endParaRPr lang="en-US"/>
        </a:p>
      </dgm:t>
    </dgm:pt>
    <dgm:pt modelId="{9A586B1A-99F0-404E-AB49-B6650B2D9E58}">
      <dgm:prSet phldrT="[Text]" custT="1"/>
      <dgm:spPr/>
      <dgm:t>
        <a:bodyPr anchor="ctr"/>
        <a:lstStyle/>
        <a:p>
          <a:r>
            <a:rPr lang="en-US" sz="1000" dirty="0" smtClean="0">
              <a:latin typeface="HelvNeue for IBM Light"/>
            </a:rPr>
            <a:t>Data: Weather, Social, etc…</a:t>
          </a:r>
          <a:endParaRPr lang="en-US" sz="1000" dirty="0">
            <a:latin typeface="HelvNeue for IBM Light"/>
          </a:endParaRPr>
        </a:p>
      </dgm:t>
    </dgm:pt>
    <dgm:pt modelId="{F03CD8F8-64BD-DB44-B8C4-4963F9DD4DAD}" type="parTrans" cxnId="{7C6EBD51-56B8-9744-AA91-2969FE7D7CDE}">
      <dgm:prSet/>
      <dgm:spPr/>
      <dgm:t>
        <a:bodyPr/>
        <a:lstStyle/>
        <a:p>
          <a:endParaRPr lang="en-US"/>
        </a:p>
      </dgm:t>
    </dgm:pt>
    <dgm:pt modelId="{102B61B6-2ACF-9749-983D-AD92757AB1D7}" type="sibTrans" cxnId="{7C6EBD51-56B8-9744-AA91-2969FE7D7CDE}">
      <dgm:prSet/>
      <dgm:spPr/>
      <dgm:t>
        <a:bodyPr/>
        <a:lstStyle/>
        <a:p>
          <a:endParaRPr lang="en-US"/>
        </a:p>
      </dgm:t>
    </dgm:pt>
    <dgm:pt modelId="{982E02EB-4DB2-468E-9819-10916BD06234}" type="pres">
      <dgm:prSet presAssocID="{79AB7E75-48F4-4D51-BD8B-6B79CB63605A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91153DE7-E0D9-4C26-945F-2DFF5C859F3E}" type="pres">
      <dgm:prSet presAssocID="{FE5C0C76-16DE-4538-9A28-55EDD1EB2DA1}" presName="linNode" presStyleCnt="0"/>
      <dgm:spPr/>
    </dgm:pt>
    <dgm:pt modelId="{0D0F726E-A926-4D4A-98E0-E8725A5453F4}" type="pres">
      <dgm:prSet presAssocID="{FE5C0C76-16DE-4538-9A28-55EDD1EB2DA1}" presName="parentShp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9411C82-898C-49C3-9CE8-1EBE79D794DA}" type="pres">
      <dgm:prSet presAssocID="{FE5C0C76-16DE-4538-9A28-55EDD1EB2DA1}" presName="childShp" presStyleLbl="b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2181BBE-39E9-46DE-B3FA-D1A45BF4E4EC}" type="pres">
      <dgm:prSet presAssocID="{C0FA9F1C-B263-4657-9364-75F99B532B7C}" presName="spacing" presStyleCnt="0"/>
      <dgm:spPr/>
    </dgm:pt>
    <dgm:pt modelId="{7CCE38BB-4EF4-4DE2-9534-8EDD9CE890D6}" type="pres">
      <dgm:prSet presAssocID="{C8EFC62B-F8A9-4EE1-945D-ECA7852A6497}" presName="linNode" presStyleCnt="0"/>
      <dgm:spPr/>
    </dgm:pt>
    <dgm:pt modelId="{1278E775-41AA-41D2-8E22-043FA618CA93}" type="pres">
      <dgm:prSet presAssocID="{C8EFC62B-F8A9-4EE1-945D-ECA7852A6497}" presName="parentShp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02BF03-FD7E-433A-97EF-CEC7B8E375C8}" type="pres">
      <dgm:prSet presAssocID="{C8EFC62B-F8A9-4EE1-945D-ECA7852A6497}" presName="childShp" presStyleLbl="b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DA2AE28-582C-4DEE-AC3E-68D0E8090D58}" type="pres">
      <dgm:prSet presAssocID="{756D5D78-EE08-4D7C-942C-87BB06E75E4C}" presName="spacing" presStyleCnt="0"/>
      <dgm:spPr/>
    </dgm:pt>
    <dgm:pt modelId="{DC091FDF-2625-4B97-B99A-8F80F0429357}" type="pres">
      <dgm:prSet presAssocID="{DD97687F-DDF5-477F-BB67-293E20B00D99}" presName="linNode" presStyleCnt="0"/>
      <dgm:spPr/>
    </dgm:pt>
    <dgm:pt modelId="{B17CBCB5-35AA-4003-BDC0-8943C31EA10E}" type="pres">
      <dgm:prSet presAssocID="{DD97687F-DDF5-477F-BB67-293E20B00D99}" presName="parentShp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928CFE-FF9F-4FCB-A3AB-3C7EB7DFB30D}" type="pres">
      <dgm:prSet presAssocID="{DD97687F-DDF5-477F-BB67-293E20B00D99}" presName="childShp" presStyleLbl="b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01D9C45-9293-224F-A909-BA7C302058D4}" type="presOf" srcId="{89A69C35-CAB9-4DDD-B49E-61D1688B2E1D}" destId="{09411C82-898C-49C3-9CE8-1EBE79D794DA}" srcOrd="0" destOrd="4" presId="urn:microsoft.com/office/officeart/2005/8/layout/vList6"/>
    <dgm:cxn modelId="{40A6A656-AAC9-6647-80E1-8AF1A9E6FDC5}" type="presOf" srcId="{79AB7E75-48F4-4D51-BD8B-6B79CB63605A}" destId="{982E02EB-4DB2-468E-9819-10916BD06234}" srcOrd="0" destOrd="0" presId="urn:microsoft.com/office/officeart/2005/8/layout/vList6"/>
    <dgm:cxn modelId="{D5AF205B-8DE5-9449-A869-A21976526E2A}" type="presOf" srcId="{C8EFC62B-F8A9-4EE1-945D-ECA7852A6497}" destId="{1278E775-41AA-41D2-8E22-043FA618CA93}" srcOrd="0" destOrd="0" presId="urn:microsoft.com/office/officeart/2005/8/layout/vList6"/>
    <dgm:cxn modelId="{BE31DCB7-C705-6148-957F-D9AF57ED8EE1}" type="presOf" srcId="{AEC514D8-3B9F-4F21-8F87-ACC40D9C7C07}" destId="{BF02BF03-FD7E-433A-97EF-CEC7B8E375C8}" srcOrd="0" destOrd="1" presId="urn:microsoft.com/office/officeart/2005/8/layout/vList6"/>
    <dgm:cxn modelId="{DA32F87E-E4F6-4ABB-BE80-323521F86726}" srcId="{DD97687F-DDF5-477F-BB67-293E20B00D99}" destId="{E52579D2-ABBC-4D4B-95D7-897ADDDA41E3}" srcOrd="2" destOrd="0" parTransId="{6452C031-8BBC-46A0-B5E4-1DA0F3C7C8EC}" sibTransId="{5C6A74BA-1A5E-4057-A5B4-722077131CDF}"/>
    <dgm:cxn modelId="{741AB153-40A4-6744-B415-2E95205AB291}" type="presOf" srcId="{E32EA37B-0580-4289-8839-FDAA4CA5B6E7}" destId="{BF02BF03-FD7E-433A-97EF-CEC7B8E375C8}" srcOrd="0" destOrd="4" presId="urn:microsoft.com/office/officeart/2005/8/layout/vList6"/>
    <dgm:cxn modelId="{715705E7-D624-43C3-B14C-33E44013B688}" srcId="{DD97687F-DDF5-477F-BB67-293E20B00D99}" destId="{986D6966-1602-4D3A-A7C8-3855F9710138}" srcOrd="0" destOrd="0" parTransId="{4A72C642-3059-4F3F-91BD-DE11D9128CD3}" sibTransId="{0B35B6D5-D670-42D4-9DA6-25309CF9893E}"/>
    <dgm:cxn modelId="{DB619A03-C025-7C48-BF0C-81C9B0CA2125}" type="presOf" srcId="{E52579D2-ABBC-4D4B-95D7-897ADDDA41E3}" destId="{F0928CFE-FF9F-4FCB-A3AB-3C7EB7DFB30D}" srcOrd="0" destOrd="2" presId="urn:microsoft.com/office/officeart/2005/8/layout/vList6"/>
    <dgm:cxn modelId="{177CC30D-2CD4-4BE4-8E62-289D6683EB63}" srcId="{DD97687F-DDF5-477F-BB67-293E20B00D99}" destId="{A5AC2AD2-2CA1-4422-8639-7F6D33CD49C9}" srcOrd="1" destOrd="0" parTransId="{1C49213B-E9C7-4FCF-AE2F-62CB2263DC7E}" sibTransId="{47A6651A-6169-43AC-9B91-46EDF50558D4}"/>
    <dgm:cxn modelId="{BA0CC75F-FC25-4B9F-A3DC-DA6546F2A0B8}" srcId="{FE5C0C76-16DE-4538-9A28-55EDD1EB2DA1}" destId="{0ED0C846-CFEC-4138-8966-7473E6F3C0CD}" srcOrd="2" destOrd="0" parTransId="{43946E9D-B9F1-4F3C-9BA2-61432C8AFDED}" sibTransId="{B126DAFF-9C5D-4305-9255-A25EC12F5C21}"/>
    <dgm:cxn modelId="{3BD0D4D1-B38C-4550-9815-6EDC5636E77F}" srcId="{79AB7E75-48F4-4D51-BD8B-6B79CB63605A}" destId="{FE5C0C76-16DE-4538-9A28-55EDD1EB2DA1}" srcOrd="0" destOrd="0" parTransId="{9B507F49-7E2D-4771-8D8F-E284666DC9C3}" sibTransId="{C0FA9F1C-B263-4657-9364-75F99B532B7C}"/>
    <dgm:cxn modelId="{A0FACF34-EB33-274C-B25A-7C306451DCE2}" type="presOf" srcId="{04781AA6-9679-464D-8599-DE9AC3EB72CB}" destId="{09411C82-898C-49C3-9CE8-1EBE79D794DA}" srcOrd="0" destOrd="0" presId="urn:microsoft.com/office/officeart/2005/8/layout/vList6"/>
    <dgm:cxn modelId="{F466F3FE-8D3D-49BF-87EC-8BF861F20658}" srcId="{C8EFC62B-F8A9-4EE1-945D-ECA7852A6497}" destId="{E32EA37B-0580-4289-8839-FDAA4CA5B6E7}" srcOrd="4" destOrd="0" parTransId="{91BD3393-25E5-4E87-A239-700803CBC3F3}" sibTransId="{91444C26-585A-41C5-99A9-66247A1B67C0}"/>
    <dgm:cxn modelId="{E9F91F7D-DB36-405C-9F82-C8D06D085D78}" srcId="{FE5C0C76-16DE-4538-9A28-55EDD1EB2DA1}" destId="{04781AA6-9679-464D-8599-DE9AC3EB72CB}" srcOrd="0" destOrd="0" parTransId="{0360A21F-6C54-4318-8630-35C97E57030B}" sibTransId="{FCE58CB1-D98C-47F8-B1D7-4E8590C58E5F}"/>
    <dgm:cxn modelId="{043C6AF2-3478-1840-A3EC-30CABFF1F3E0}" type="presOf" srcId="{B15CF686-DAFB-4802-877E-07165122F880}" destId="{09411C82-898C-49C3-9CE8-1EBE79D794DA}" srcOrd="0" destOrd="3" presId="urn:microsoft.com/office/officeart/2005/8/layout/vList6"/>
    <dgm:cxn modelId="{F134E767-86EF-49A4-9E21-AE8BE1B00499}" srcId="{FE5C0C76-16DE-4538-9A28-55EDD1EB2DA1}" destId="{89A69C35-CAB9-4DDD-B49E-61D1688B2E1D}" srcOrd="4" destOrd="0" parTransId="{43140F50-C268-4CFB-9882-9838EF277D72}" sibTransId="{ED085461-7B9F-4B8C-BC44-7B9D52F1A76E}"/>
    <dgm:cxn modelId="{CE3DAF75-5617-4D9D-BB2D-EEA36BCAF872}" srcId="{FE5C0C76-16DE-4538-9A28-55EDD1EB2DA1}" destId="{B15CF686-DAFB-4802-877E-07165122F880}" srcOrd="3" destOrd="0" parTransId="{D1DF5206-6282-4F8B-BFE8-A3824A2000D3}" sibTransId="{57801103-ACCF-4D7A-9954-2ACA8DA41F49}"/>
    <dgm:cxn modelId="{12A04D65-B867-413A-A4CF-EBD0CE9FC611}" srcId="{79AB7E75-48F4-4D51-BD8B-6B79CB63605A}" destId="{C8EFC62B-F8A9-4EE1-945D-ECA7852A6497}" srcOrd="1" destOrd="0" parTransId="{12825799-B33F-4313-A9FA-73D821C59B86}" sibTransId="{756D5D78-EE08-4D7C-942C-87BB06E75E4C}"/>
    <dgm:cxn modelId="{E253A82E-78B0-49BD-B48B-B2EB7A80278D}" srcId="{C8EFC62B-F8A9-4EE1-945D-ECA7852A6497}" destId="{F8A39CDB-4DE1-4F8B-8662-304BA1C134B6}" srcOrd="3" destOrd="0" parTransId="{9DF82132-1090-4FDD-B3BB-FDDA3EECACD5}" sibTransId="{7D1B0288-B592-4EE1-823F-B372A9E97753}"/>
    <dgm:cxn modelId="{AE494CE9-5703-4AD1-A8A0-5061F8DD9FED}" srcId="{C8EFC62B-F8A9-4EE1-945D-ECA7852A6497}" destId="{18C76898-C02A-4F39-959C-B0D800C07CD7}" srcOrd="2" destOrd="0" parTransId="{94A2D983-B8B2-440C-8FD0-55F516C973EC}" sibTransId="{653B479E-A080-4516-ABB6-4686C858B85D}"/>
    <dgm:cxn modelId="{7C6EBD51-56B8-9744-AA91-2969FE7D7CDE}" srcId="{DD97687F-DDF5-477F-BB67-293E20B00D99}" destId="{9A586B1A-99F0-404E-AB49-B6650B2D9E58}" srcOrd="3" destOrd="0" parTransId="{F03CD8F8-64BD-DB44-B8C4-4963F9DD4DAD}" sibTransId="{102B61B6-2ACF-9749-983D-AD92757AB1D7}"/>
    <dgm:cxn modelId="{777D60D1-6A26-7F40-B1EF-7D339D22CB11}" type="presOf" srcId="{A5AC2AD2-2CA1-4422-8639-7F6D33CD49C9}" destId="{F0928CFE-FF9F-4FCB-A3AB-3C7EB7DFB30D}" srcOrd="0" destOrd="1" presId="urn:microsoft.com/office/officeart/2005/8/layout/vList6"/>
    <dgm:cxn modelId="{5BD23AA0-E6C5-084E-A378-4A647C39EA96}" type="presOf" srcId="{0ED0C846-CFEC-4138-8966-7473E6F3C0CD}" destId="{09411C82-898C-49C3-9CE8-1EBE79D794DA}" srcOrd="0" destOrd="2" presId="urn:microsoft.com/office/officeart/2005/8/layout/vList6"/>
    <dgm:cxn modelId="{E2AF8D56-F767-B943-87E6-4CEEC0E88699}" type="presOf" srcId="{FE5C0C76-16DE-4538-9A28-55EDD1EB2DA1}" destId="{0D0F726E-A926-4D4A-98E0-E8725A5453F4}" srcOrd="0" destOrd="0" presId="urn:microsoft.com/office/officeart/2005/8/layout/vList6"/>
    <dgm:cxn modelId="{01E5170F-D5A3-4878-86D6-A3B57EE2FE32}" srcId="{FE5C0C76-16DE-4538-9A28-55EDD1EB2DA1}" destId="{D74E28AF-EB90-407D-A640-29618AECE3E5}" srcOrd="1" destOrd="0" parTransId="{00CF8EA1-C898-4AEC-A2E5-75E62BB22F35}" sibTransId="{AE02AFFC-0BD0-49C0-B98B-87C8CEFE576E}"/>
    <dgm:cxn modelId="{DCE62467-E3E3-5B4F-B9E3-05D48E2F2EBD}" type="presOf" srcId="{F8A39CDB-4DE1-4F8B-8662-304BA1C134B6}" destId="{BF02BF03-FD7E-433A-97EF-CEC7B8E375C8}" srcOrd="0" destOrd="3" presId="urn:microsoft.com/office/officeart/2005/8/layout/vList6"/>
    <dgm:cxn modelId="{EED86048-84F9-C54A-B393-296E0E2D5C1A}" type="presOf" srcId="{DD97687F-DDF5-477F-BB67-293E20B00D99}" destId="{B17CBCB5-35AA-4003-BDC0-8943C31EA10E}" srcOrd="0" destOrd="0" presId="urn:microsoft.com/office/officeart/2005/8/layout/vList6"/>
    <dgm:cxn modelId="{2F394318-A038-4E8E-9B65-90430B4DB7E3}" srcId="{C8EFC62B-F8A9-4EE1-945D-ECA7852A6497}" destId="{AEC514D8-3B9F-4F21-8F87-ACC40D9C7C07}" srcOrd="1" destOrd="0" parTransId="{7BE15612-4077-48CF-A632-6A926E701A8D}" sibTransId="{C741AEFC-9559-49E0-8F27-E4B3907E0647}"/>
    <dgm:cxn modelId="{E0CB661B-DAF2-4997-924C-523601D1E2F9}" srcId="{79AB7E75-48F4-4D51-BD8B-6B79CB63605A}" destId="{DD97687F-DDF5-477F-BB67-293E20B00D99}" srcOrd="2" destOrd="0" parTransId="{1144A23B-D469-4E9F-B2F3-2BE2E4AAA287}" sibTransId="{D2AB7583-171C-441C-A184-86DFECFDC6EC}"/>
    <dgm:cxn modelId="{C91A03BC-A6F4-1D4D-9ABD-9D4D3379251C}" type="presOf" srcId="{986D6966-1602-4D3A-A7C8-3855F9710138}" destId="{F0928CFE-FF9F-4FCB-A3AB-3C7EB7DFB30D}" srcOrd="0" destOrd="0" presId="urn:microsoft.com/office/officeart/2005/8/layout/vList6"/>
    <dgm:cxn modelId="{A8085DCD-F3AD-DA4E-845B-51B382509C6E}" type="presOf" srcId="{D7002E12-6789-419C-BBF3-88211CFD6A31}" destId="{BF02BF03-FD7E-433A-97EF-CEC7B8E375C8}" srcOrd="0" destOrd="0" presId="urn:microsoft.com/office/officeart/2005/8/layout/vList6"/>
    <dgm:cxn modelId="{F26813E9-9C53-4089-B4B9-95D6A27A4F02}" srcId="{C8EFC62B-F8A9-4EE1-945D-ECA7852A6497}" destId="{D7002E12-6789-419C-BBF3-88211CFD6A31}" srcOrd="0" destOrd="0" parTransId="{9F1D8CA1-F977-433F-871F-D11C45254D26}" sibTransId="{56B2F62B-1BA7-4AAE-9E9F-30FDCFC708ED}"/>
    <dgm:cxn modelId="{AF3BC6B7-5804-8A49-9ECA-4896E9BFE55C}" type="presOf" srcId="{18C76898-C02A-4F39-959C-B0D800C07CD7}" destId="{BF02BF03-FD7E-433A-97EF-CEC7B8E375C8}" srcOrd="0" destOrd="2" presId="urn:microsoft.com/office/officeart/2005/8/layout/vList6"/>
    <dgm:cxn modelId="{BF4980ED-12DE-354C-9A1B-9717D7463959}" type="presOf" srcId="{9A586B1A-99F0-404E-AB49-B6650B2D9E58}" destId="{F0928CFE-FF9F-4FCB-A3AB-3C7EB7DFB30D}" srcOrd="0" destOrd="3" presId="urn:microsoft.com/office/officeart/2005/8/layout/vList6"/>
    <dgm:cxn modelId="{B122DA89-2D5D-3748-8830-42AFAEA494B4}" type="presOf" srcId="{D74E28AF-EB90-407D-A640-29618AECE3E5}" destId="{09411C82-898C-49C3-9CE8-1EBE79D794DA}" srcOrd="0" destOrd="1" presId="urn:microsoft.com/office/officeart/2005/8/layout/vList6"/>
    <dgm:cxn modelId="{6462EE9E-070E-8C4C-A1B2-75990EB4C93B}" type="presParOf" srcId="{982E02EB-4DB2-468E-9819-10916BD06234}" destId="{91153DE7-E0D9-4C26-945F-2DFF5C859F3E}" srcOrd="0" destOrd="0" presId="urn:microsoft.com/office/officeart/2005/8/layout/vList6"/>
    <dgm:cxn modelId="{47122C39-1153-1246-ABDD-0666B4B72A11}" type="presParOf" srcId="{91153DE7-E0D9-4C26-945F-2DFF5C859F3E}" destId="{0D0F726E-A926-4D4A-98E0-E8725A5453F4}" srcOrd="0" destOrd="0" presId="urn:microsoft.com/office/officeart/2005/8/layout/vList6"/>
    <dgm:cxn modelId="{A5F39686-EC00-2C4C-B41D-B89B63DF5DBB}" type="presParOf" srcId="{91153DE7-E0D9-4C26-945F-2DFF5C859F3E}" destId="{09411C82-898C-49C3-9CE8-1EBE79D794DA}" srcOrd="1" destOrd="0" presId="urn:microsoft.com/office/officeart/2005/8/layout/vList6"/>
    <dgm:cxn modelId="{8C932A31-2004-B440-AB29-3427C77E7630}" type="presParOf" srcId="{982E02EB-4DB2-468E-9819-10916BD06234}" destId="{32181BBE-39E9-46DE-B3FA-D1A45BF4E4EC}" srcOrd="1" destOrd="0" presId="urn:microsoft.com/office/officeart/2005/8/layout/vList6"/>
    <dgm:cxn modelId="{66941DE2-779E-A04B-96BC-4CD728777DDE}" type="presParOf" srcId="{982E02EB-4DB2-468E-9819-10916BD06234}" destId="{7CCE38BB-4EF4-4DE2-9534-8EDD9CE890D6}" srcOrd="2" destOrd="0" presId="urn:microsoft.com/office/officeart/2005/8/layout/vList6"/>
    <dgm:cxn modelId="{5221E82E-FDA9-0247-B015-D09DC3D25DC4}" type="presParOf" srcId="{7CCE38BB-4EF4-4DE2-9534-8EDD9CE890D6}" destId="{1278E775-41AA-41D2-8E22-043FA618CA93}" srcOrd="0" destOrd="0" presId="urn:microsoft.com/office/officeart/2005/8/layout/vList6"/>
    <dgm:cxn modelId="{8AD6F785-101D-5642-B3CE-1211A30086CE}" type="presParOf" srcId="{7CCE38BB-4EF4-4DE2-9534-8EDD9CE890D6}" destId="{BF02BF03-FD7E-433A-97EF-CEC7B8E375C8}" srcOrd="1" destOrd="0" presId="urn:microsoft.com/office/officeart/2005/8/layout/vList6"/>
    <dgm:cxn modelId="{7AA7BF6C-04CB-D243-AE1A-81C6354FE0A3}" type="presParOf" srcId="{982E02EB-4DB2-468E-9819-10916BD06234}" destId="{DDA2AE28-582C-4DEE-AC3E-68D0E8090D58}" srcOrd="3" destOrd="0" presId="urn:microsoft.com/office/officeart/2005/8/layout/vList6"/>
    <dgm:cxn modelId="{0D66EC1F-96F2-9448-B1B8-F0A94B97E64E}" type="presParOf" srcId="{982E02EB-4DB2-468E-9819-10916BD06234}" destId="{DC091FDF-2625-4B97-B99A-8F80F0429357}" srcOrd="4" destOrd="0" presId="urn:microsoft.com/office/officeart/2005/8/layout/vList6"/>
    <dgm:cxn modelId="{1B83C941-0CEA-6B49-B5C5-3EE1C4689BA4}" type="presParOf" srcId="{DC091FDF-2625-4B97-B99A-8F80F0429357}" destId="{B17CBCB5-35AA-4003-BDC0-8943C31EA10E}" srcOrd="0" destOrd="0" presId="urn:microsoft.com/office/officeart/2005/8/layout/vList6"/>
    <dgm:cxn modelId="{526219F1-1A6E-0343-A08E-456884E362CB}" type="presParOf" srcId="{DC091FDF-2625-4B97-B99A-8F80F0429357}" destId="{F0928CFE-FF9F-4FCB-A3AB-3C7EB7DFB30D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CFE6B5-237A-B047-B6FC-0661A892C7C3}">
      <dsp:nvSpPr>
        <dsp:cNvPr id="0" name=""/>
        <dsp:cNvSpPr/>
      </dsp:nvSpPr>
      <dsp:spPr>
        <a:xfrm>
          <a:off x="851001" y="1608054"/>
          <a:ext cx="989380" cy="849358"/>
        </a:xfrm>
        <a:prstGeom prst="hexagon">
          <a:avLst>
            <a:gd name="adj" fmla="val 25000"/>
            <a:gd name="vf" fmla="val 115470"/>
          </a:avLst>
        </a:prstGeom>
        <a:solidFill>
          <a:srgbClr val="449E8A"/>
        </a:solidFill>
        <a:ln w="25400" cap="flat" cmpd="sng" algn="ctr">
          <a:solidFill>
            <a:srgbClr val="449F8A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3970" rIns="0" bIns="1397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kern="1200" dirty="0" smtClean="0">
              <a:latin typeface="HelvNeue for IBM Medium"/>
            </a:rPr>
            <a:t>Automotive</a:t>
          </a:r>
          <a:endParaRPr lang="en-US" sz="1050" kern="1200" dirty="0">
            <a:latin typeface="HelvNeue for IBM Medium"/>
          </a:endParaRPr>
        </a:p>
      </dsp:txBody>
      <dsp:txXfrm>
        <a:off x="1004229" y="1739597"/>
        <a:ext cx="682924" cy="586272"/>
      </dsp:txXfrm>
    </dsp:sp>
    <dsp:sp modelId="{B1175ABC-3D1B-0E47-B071-93441D521652}">
      <dsp:nvSpPr>
        <dsp:cNvPr id="0" name=""/>
        <dsp:cNvSpPr/>
      </dsp:nvSpPr>
      <dsp:spPr>
        <a:xfrm>
          <a:off x="874775" y="1987953"/>
          <a:ext cx="115214" cy="9947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FEFF82F-39D1-E642-AE6D-7A701AA2898A}">
      <dsp:nvSpPr>
        <dsp:cNvPr id="0" name=""/>
        <dsp:cNvSpPr/>
      </dsp:nvSpPr>
      <dsp:spPr>
        <a:xfrm>
          <a:off x="0" y="1138595"/>
          <a:ext cx="989380" cy="849358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A340AE1-BC53-9F46-864E-F4C2CC8DD673}">
      <dsp:nvSpPr>
        <dsp:cNvPr id="0" name=""/>
        <dsp:cNvSpPr/>
      </dsp:nvSpPr>
      <dsp:spPr>
        <a:xfrm>
          <a:off x="677265" y="1874901"/>
          <a:ext cx="115214" cy="9947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F90A66-96CD-C140-9401-B8CF312EA796}">
      <dsp:nvSpPr>
        <dsp:cNvPr id="0" name=""/>
        <dsp:cNvSpPr/>
      </dsp:nvSpPr>
      <dsp:spPr>
        <a:xfrm>
          <a:off x="1702612" y="1135658"/>
          <a:ext cx="989380" cy="849358"/>
        </a:xfrm>
        <a:prstGeom prst="hexagon">
          <a:avLst>
            <a:gd name="adj" fmla="val 25000"/>
            <a:gd name="vf" fmla="val 115470"/>
          </a:avLst>
        </a:prstGeom>
        <a:solidFill>
          <a:srgbClr val="449E8A"/>
        </a:solidFill>
        <a:ln w="25400" cap="flat" cmpd="sng" algn="ctr">
          <a:solidFill>
            <a:srgbClr val="449F8A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3970" rIns="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latin typeface="HelvNeue for IBM Medium"/>
            </a:rPr>
            <a:t>Retail</a:t>
          </a:r>
          <a:endParaRPr lang="en-US" sz="1100" kern="1200" dirty="0">
            <a:latin typeface="HelvNeue for IBM Medium"/>
          </a:endParaRPr>
        </a:p>
      </dsp:txBody>
      <dsp:txXfrm>
        <a:off x="1855840" y="1267201"/>
        <a:ext cx="682924" cy="586272"/>
      </dsp:txXfrm>
    </dsp:sp>
    <dsp:sp modelId="{00B472AD-44FD-FE47-AFE3-59F2969DBD4E}">
      <dsp:nvSpPr>
        <dsp:cNvPr id="0" name=""/>
        <dsp:cNvSpPr/>
      </dsp:nvSpPr>
      <dsp:spPr>
        <a:xfrm>
          <a:off x="2383536" y="1870497"/>
          <a:ext cx="115214" cy="9947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3E61004-11E6-414F-9770-586EDF6C687D}">
      <dsp:nvSpPr>
        <dsp:cNvPr id="0" name=""/>
        <dsp:cNvSpPr/>
      </dsp:nvSpPr>
      <dsp:spPr>
        <a:xfrm>
          <a:off x="2553614" y="1606219"/>
          <a:ext cx="989380" cy="849358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25400" cap="flat" cmpd="sng" algn="ctr">
          <a:solidFill>
            <a:schemeClr val="accent5">
              <a:shade val="80000"/>
              <a:hueOff val="22802"/>
              <a:satOff val="-249"/>
              <a:lumOff val="284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7FF7A28-F91D-E34A-8ADC-3480E1C3F53B}">
      <dsp:nvSpPr>
        <dsp:cNvPr id="0" name=""/>
        <dsp:cNvSpPr/>
      </dsp:nvSpPr>
      <dsp:spPr>
        <a:xfrm>
          <a:off x="2577388" y="1984283"/>
          <a:ext cx="115214" cy="9947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3F764C2-C9CA-AC4B-8676-6690799B4B94}">
      <dsp:nvSpPr>
        <dsp:cNvPr id="0" name=""/>
        <dsp:cNvSpPr/>
      </dsp:nvSpPr>
      <dsp:spPr>
        <a:xfrm>
          <a:off x="851001" y="668768"/>
          <a:ext cx="989380" cy="849358"/>
        </a:xfrm>
        <a:prstGeom prst="hexagon">
          <a:avLst>
            <a:gd name="adj" fmla="val 25000"/>
            <a:gd name="vf" fmla="val 115470"/>
          </a:avLst>
        </a:prstGeom>
        <a:solidFill>
          <a:srgbClr val="449E8A"/>
        </a:solidFill>
        <a:ln w="25400" cap="flat" cmpd="sng" algn="ctr">
          <a:solidFill>
            <a:srgbClr val="4BB09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3970" rIns="0" bIns="1397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kern="1200" dirty="0" smtClean="0">
              <a:latin typeface="HelvNeue for IBM Medium"/>
            </a:rPr>
            <a:t>Electronics</a:t>
          </a:r>
          <a:endParaRPr lang="en-US" sz="1050" kern="1200" dirty="0">
            <a:latin typeface="HelvNeue for IBM Medium"/>
          </a:endParaRPr>
        </a:p>
      </dsp:txBody>
      <dsp:txXfrm>
        <a:off x="1004229" y="800311"/>
        <a:ext cx="682924" cy="586272"/>
      </dsp:txXfrm>
    </dsp:sp>
    <dsp:sp modelId="{2343B998-0EB5-0345-BAF1-1CDE00B521E2}">
      <dsp:nvSpPr>
        <dsp:cNvPr id="0" name=""/>
        <dsp:cNvSpPr/>
      </dsp:nvSpPr>
      <dsp:spPr>
        <a:xfrm>
          <a:off x="1524609" y="680514"/>
          <a:ext cx="115214" cy="9947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555297-7F85-8849-ADC8-00585E6CBFEE}">
      <dsp:nvSpPr>
        <dsp:cNvPr id="0" name=""/>
        <dsp:cNvSpPr/>
      </dsp:nvSpPr>
      <dsp:spPr>
        <a:xfrm>
          <a:off x="1702612" y="196739"/>
          <a:ext cx="989380" cy="849358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25400" cap="flat" cmpd="sng" algn="ctr">
          <a:solidFill>
            <a:schemeClr val="accent5">
              <a:shade val="80000"/>
              <a:hueOff val="45605"/>
              <a:satOff val="-497"/>
              <a:lumOff val="568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3C24DD-7089-4C41-8FF5-E1F6824CE491}">
      <dsp:nvSpPr>
        <dsp:cNvPr id="0" name=""/>
        <dsp:cNvSpPr/>
      </dsp:nvSpPr>
      <dsp:spPr>
        <a:xfrm>
          <a:off x="1730654" y="572968"/>
          <a:ext cx="115214" cy="9947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041DAC-50A7-F845-A633-D0176A83C047}">
      <dsp:nvSpPr>
        <dsp:cNvPr id="0" name=""/>
        <dsp:cNvSpPr/>
      </dsp:nvSpPr>
      <dsp:spPr>
        <a:xfrm>
          <a:off x="2553614" y="667300"/>
          <a:ext cx="989380" cy="849358"/>
        </a:xfrm>
        <a:prstGeom prst="hexagon">
          <a:avLst>
            <a:gd name="adj" fmla="val 25000"/>
            <a:gd name="vf" fmla="val 115470"/>
          </a:avLst>
        </a:prstGeom>
        <a:solidFill>
          <a:srgbClr val="5CDBC0"/>
        </a:solidFill>
        <a:ln w="25400" cap="flat" cmpd="sng" algn="ctr">
          <a:solidFill>
            <a:srgbClr val="5CDBC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3970" rIns="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latin typeface="HelvNeue for IBM Medium"/>
            </a:rPr>
            <a:t>Industrial Products</a:t>
          </a:r>
          <a:endParaRPr lang="en-US" sz="1100" kern="1200" dirty="0">
            <a:latin typeface="HelvNeue for IBM Medium"/>
          </a:endParaRPr>
        </a:p>
      </dsp:txBody>
      <dsp:txXfrm>
        <a:off x="2706842" y="798843"/>
        <a:ext cx="682924" cy="586272"/>
      </dsp:txXfrm>
    </dsp:sp>
    <dsp:sp modelId="{1D36502A-5648-7443-BDE9-4F73A13E46CC}">
      <dsp:nvSpPr>
        <dsp:cNvPr id="0" name=""/>
        <dsp:cNvSpPr/>
      </dsp:nvSpPr>
      <dsp:spPr>
        <a:xfrm>
          <a:off x="3409492" y="1043528"/>
          <a:ext cx="115214" cy="9947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93CA799-6947-5349-8101-387F471805B1}">
      <dsp:nvSpPr>
        <dsp:cNvPr id="0" name=""/>
        <dsp:cNvSpPr/>
      </dsp:nvSpPr>
      <dsp:spPr>
        <a:xfrm>
          <a:off x="3404616" y="1144835"/>
          <a:ext cx="989380" cy="849358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accent5">
              <a:shade val="80000"/>
              <a:hueOff val="68407"/>
              <a:satOff val="-746"/>
              <a:lumOff val="852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D8F678E-ED20-AC4A-8EB3-FA67DE560C48}">
      <dsp:nvSpPr>
        <dsp:cNvPr id="0" name=""/>
        <dsp:cNvSpPr/>
      </dsp:nvSpPr>
      <dsp:spPr>
        <a:xfrm>
          <a:off x="3597249" y="1159884"/>
          <a:ext cx="115214" cy="9947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A1914D-5B54-154F-AAC5-2BFA917B3CFE}">
      <dsp:nvSpPr>
        <dsp:cNvPr id="0" name=""/>
        <dsp:cNvSpPr/>
      </dsp:nvSpPr>
      <dsp:spPr>
        <a:xfrm>
          <a:off x="3404616" y="205549"/>
          <a:ext cx="989380" cy="849358"/>
        </a:xfrm>
        <a:prstGeom prst="hexagon">
          <a:avLst>
            <a:gd name="adj" fmla="val 25000"/>
            <a:gd name="vf" fmla="val 115470"/>
          </a:avLst>
        </a:prstGeom>
        <a:solidFill>
          <a:srgbClr val="449E8A"/>
        </a:solidFill>
        <a:ln w="25400" cap="flat" cmpd="sng" algn="ctr">
          <a:solidFill>
            <a:srgbClr val="4BB09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3970" rIns="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latin typeface="HelvNeue for IBM Medium"/>
            </a:rPr>
            <a:t>Insurance</a:t>
          </a:r>
          <a:endParaRPr lang="en-US" sz="1100" kern="1200" dirty="0">
            <a:latin typeface="HelvNeue for IBM Medium"/>
          </a:endParaRPr>
        </a:p>
      </dsp:txBody>
      <dsp:txXfrm>
        <a:off x="3557844" y="337092"/>
        <a:ext cx="682924" cy="586272"/>
      </dsp:txXfrm>
    </dsp:sp>
    <dsp:sp modelId="{29D7D25D-6CB3-FB4C-AB60-5339E989280C}">
      <dsp:nvSpPr>
        <dsp:cNvPr id="0" name=""/>
        <dsp:cNvSpPr/>
      </dsp:nvSpPr>
      <dsp:spPr>
        <a:xfrm>
          <a:off x="4260494" y="586549"/>
          <a:ext cx="115214" cy="9947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B1CFB39-ECBD-8741-8363-242C9F83D4B2}">
      <dsp:nvSpPr>
        <dsp:cNvPr id="0" name=""/>
        <dsp:cNvSpPr/>
      </dsp:nvSpPr>
      <dsp:spPr>
        <a:xfrm>
          <a:off x="4256227" y="679780"/>
          <a:ext cx="989380" cy="849358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chemeClr val="accent5">
              <a:shade val="80000"/>
              <a:hueOff val="91209"/>
              <a:satOff val="-995"/>
              <a:lumOff val="1136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50E5B8-DA6A-924C-A64E-E0DA6676C32A}">
      <dsp:nvSpPr>
        <dsp:cNvPr id="0" name=""/>
        <dsp:cNvSpPr/>
      </dsp:nvSpPr>
      <dsp:spPr>
        <a:xfrm>
          <a:off x="4453128" y="698499"/>
          <a:ext cx="115214" cy="9947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4EE5BA7-6C47-8943-9601-96EF0A2703BC}">
      <dsp:nvSpPr>
        <dsp:cNvPr id="0" name=""/>
        <dsp:cNvSpPr/>
      </dsp:nvSpPr>
      <dsp:spPr>
        <a:xfrm>
          <a:off x="4256227" y="1617231"/>
          <a:ext cx="989380" cy="849358"/>
        </a:xfrm>
        <a:prstGeom prst="hexagon">
          <a:avLst>
            <a:gd name="adj" fmla="val 25000"/>
            <a:gd name="vf" fmla="val 115470"/>
          </a:avLst>
        </a:prstGeom>
        <a:solidFill>
          <a:srgbClr val="449E8A"/>
        </a:solidFill>
        <a:ln w="25400" cap="flat" cmpd="sng" algn="ctr">
          <a:solidFill>
            <a:srgbClr val="5CDBB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3970" rIns="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latin typeface="HelvNeue for IBM Medium"/>
            </a:rPr>
            <a:t>Aviation</a:t>
          </a:r>
          <a:endParaRPr lang="en-US" sz="1100" kern="1200" dirty="0">
            <a:latin typeface="HelvNeue for IBM Medium"/>
          </a:endParaRPr>
        </a:p>
      </dsp:txBody>
      <dsp:txXfrm>
        <a:off x="4409455" y="1748774"/>
        <a:ext cx="682924" cy="586272"/>
      </dsp:txXfrm>
    </dsp:sp>
    <dsp:sp modelId="{7609E58B-02B4-9A4F-A071-9471CC6F54A7}">
      <dsp:nvSpPr>
        <dsp:cNvPr id="0" name=""/>
        <dsp:cNvSpPr/>
      </dsp:nvSpPr>
      <dsp:spPr>
        <a:xfrm>
          <a:off x="4451908" y="2361245"/>
          <a:ext cx="115214" cy="9947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ADB008-FBA8-E04F-B175-1A840D62FE2B}">
      <dsp:nvSpPr>
        <dsp:cNvPr id="0" name=""/>
        <dsp:cNvSpPr/>
      </dsp:nvSpPr>
      <dsp:spPr>
        <a:xfrm>
          <a:off x="3404616" y="2082286"/>
          <a:ext cx="989380" cy="849358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6"/>
          <a:stretch>
            <a:fillRect/>
          </a:stretch>
        </a:blipFill>
        <a:ln w="25400" cap="flat" cmpd="sng" algn="ctr">
          <a:solidFill>
            <a:schemeClr val="accent5">
              <a:shade val="80000"/>
              <a:hueOff val="114012"/>
              <a:satOff val="-1243"/>
              <a:lumOff val="1421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F0ECC03-1AAB-9D44-9AED-14954289A56E}">
      <dsp:nvSpPr>
        <dsp:cNvPr id="0" name=""/>
        <dsp:cNvSpPr/>
      </dsp:nvSpPr>
      <dsp:spPr>
        <a:xfrm>
          <a:off x="4268419" y="2454843"/>
          <a:ext cx="115214" cy="9947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2C708A7-EEFF-B148-A7A7-FDB8C7C9FFE4}">
      <dsp:nvSpPr>
        <dsp:cNvPr id="0" name=""/>
        <dsp:cNvSpPr/>
      </dsp:nvSpPr>
      <dsp:spPr>
        <a:xfrm>
          <a:off x="1702003" y="2076780"/>
          <a:ext cx="989380" cy="849358"/>
        </a:xfrm>
        <a:prstGeom prst="hexagon">
          <a:avLst>
            <a:gd name="adj" fmla="val 25000"/>
            <a:gd name="vf" fmla="val 115470"/>
          </a:avLst>
        </a:prstGeom>
        <a:solidFill>
          <a:srgbClr val="5CDBBF"/>
        </a:solidFill>
        <a:ln w="25400" cap="flat" cmpd="sng" algn="ctr">
          <a:solidFill>
            <a:srgbClr val="5CDBB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3970" rIns="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latin typeface="HelvNeue for IBM Medium"/>
            </a:rPr>
            <a:t>Energy &amp; Utilities</a:t>
          </a:r>
          <a:endParaRPr lang="en-US" sz="1100" kern="1200" dirty="0">
            <a:latin typeface="HelvNeue for IBM Medium"/>
          </a:endParaRPr>
        </a:p>
      </dsp:txBody>
      <dsp:txXfrm>
        <a:off x="1855231" y="2208323"/>
        <a:ext cx="682924" cy="586272"/>
      </dsp:txXfrm>
    </dsp:sp>
    <dsp:sp modelId="{B873036B-7D0E-DA40-92E7-427AA501E5A1}">
      <dsp:nvSpPr>
        <dsp:cNvPr id="0" name=""/>
        <dsp:cNvSpPr/>
      </dsp:nvSpPr>
      <dsp:spPr>
        <a:xfrm>
          <a:off x="1730044" y="2453375"/>
          <a:ext cx="115214" cy="9947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D68A0AF-A312-474B-9012-217CCCCDB0E1}">
      <dsp:nvSpPr>
        <dsp:cNvPr id="0" name=""/>
        <dsp:cNvSpPr/>
      </dsp:nvSpPr>
      <dsp:spPr>
        <a:xfrm>
          <a:off x="850391" y="2549176"/>
          <a:ext cx="989380" cy="849358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7"/>
          <a:stretch>
            <a:fillRect/>
          </a:stretch>
        </a:blipFill>
        <a:ln w="25400" cap="flat" cmpd="sng" algn="ctr">
          <a:solidFill>
            <a:schemeClr val="accent5">
              <a:shade val="80000"/>
              <a:hueOff val="136814"/>
              <a:satOff val="-1492"/>
              <a:lumOff val="1705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70B9F1-4EB0-FF4A-ADB0-248D335F7259}">
      <dsp:nvSpPr>
        <dsp:cNvPr id="0" name=""/>
        <dsp:cNvSpPr/>
      </dsp:nvSpPr>
      <dsp:spPr>
        <a:xfrm>
          <a:off x="1523999" y="2560921"/>
          <a:ext cx="115214" cy="9947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5F75EE9-432A-634A-82A8-DFCB45B371DB}">
      <dsp:nvSpPr>
        <dsp:cNvPr id="0" name=""/>
        <dsp:cNvSpPr/>
      </dsp:nvSpPr>
      <dsp:spPr>
        <a:xfrm>
          <a:off x="5102961" y="2093297"/>
          <a:ext cx="989380" cy="849358"/>
        </a:xfrm>
        <a:prstGeom prst="hexagon">
          <a:avLst>
            <a:gd name="adj" fmla="val 25000"/>
            <a:gd name="vf" fmla="val 115470"/>
          </a:avLst>
        </a:prstGeom>
        <a:solidFill>
          <a:srgbClr val="5CDBBF"/>
        </a:solidFill>
        <a:ln w="25400" cap="flat" cmpd="sng" algn="ctr">
          <a:solidFill>
            <a:srgbClr val="5CDBB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3970" rIns="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latin typeface="HelvNeue for IBM Medium"/>
            </a:rPr>
            <a:t>Chemical &amp; Petroleum</a:t>
          </a:r>
          <a:endParaRPr lang="en-US" sz="1100" kern="1200" dirty="0">
            <a:latin typeface="HelvNeue for IBM Medium"/>
          </a:endParaRPr>
        </a:p>
      </dsp:txBody>
      <dsp:txXfrm>
        <a:off x="5256189" y="2224840"/>
        <a:ext cx="682924" cy="586272"/>
      </dsp:txXfrm>
    </dsp:sp>
    <dsp:sp modelId="{E9C62DD6-BC99-AE43-A4D0-F9BE2243BEA5}">
      <dsp:nvSpPr>
        <dsp:cNvPr id="0" name=""/>
        <dsp:cNvSpPr/>
      </dsp:nvSpPr>
      <dsp:spPr>
        <a:xfrm>
          <a:off x="5299252" y="2837312"/>
          <a:ext cx="115214" cy="9947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B9A85B4-8BC8-3A42-9607-506D3057CF39}">
      <dsp:nvSpPr>
        <dsp:cNvPr id="0" name=""/>
        <dsp:cNvSpPr/>
      </dsp:nvSpPr>
      <dsp:spPr>
        <a:xfrm>
          <a:off x="4251960" y="2557985"/>
          <a:ext cx="989380" cy="849358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8"/>
          <a:stretch>
            <a:fillRect/>
          </a:stretch>
        </a:blipFill>
        <a:ln w="25400" cap="flat" cmpd="sng" algn="ctr">
          <a:solidFill>
            <a:schemeClr val="accent5">
              <a:shade val="80000"/>
              <a:hueOff val="159616"/>
              <a:satOff val="-1741"/>
              <a:lumOff val="1989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F79C80-4BC9-014E-AAF8-55D1DDBD5EF0}">
      <dsp:nvSpPr>
        <dsp:cNvPr id="0" name=""/>
        <dsp:cNvSpPr/>
      </dsp:nvSpPr>
      <dsp:spPr>
        <a:xfrm>
          <a:off x="5115763" y="2930910"/>
          <a:ext cx="115214" cy="9947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E5A5341-8A15-9D4B-A151-7CC70723A441}">
      <dsp:nvSpPr>
        <dsp:cNvPr id="0" name=""/>
        <dsp:cNvSpPr/>
      </dsp:nvSpPr>
      <dsp:spPr>
        <a:xfrm>
          <a:off x="5106619" y="215092"/>
          <a:ext cx="989380" cy="849358"/>
        </a:xfrm>
        <a:prstGeom prst="hexagon">
          <a:avLst>
            <a:gd name="adj" fmla="val 25000"/>
            <a:gd name="vf" fmla="val 115470"/>
          </a:avLst>
        </a:prstGeom>
        <a:solidFill>
          <a:srgbClr val="5CDBBF"/>
        </a:solidFill>
        <a:ln w="25400" cap="flat" cmpd="sng" algn="ctr">
          <a:solidFill>
            <a:srgbClr val="5CDBB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3970" rIns="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latin typeface="HelvNeue for IBM Medium"/>
            </a:rPr>
            <a:t>Transport</a:t>
          </a:r>
        </a:p>
      </dsp:txBody>
      <dsp:txXfrm>
        <a:off x="5259847" y="346635"/>
        <a:ext cx="682924" cy="586272"/>
      </dsp:txXfrm>
    </dsp:sp>
    <dsp:sp modelId="{99CE4A4B-EF81-6942-AD49-9FCD51012977}">
      <dsp:nvSpPr>
        <dsp:cNvPr id="0" name=""/>
        <dsp:cNvSpPr/>
      </dsp:nvSpPr>
      <dsp:spPr>
        <a:xfrm>
          <a:off x="5791200" y="961676"/>
          <a:ext cx="115214" cy="9947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090BA8D-C6F7-3542-B2F2-948081B47607}">
      <dsp:nvSpPr>
        <dsp:cNvPr id="0" name=""/>
        <dsp:cNvSpPr/>
      </dsp:nvSpPr>
      <dsp:spPr>
        <a:xfrm>
          <a:off x="5106619" y="1152543"/>
          <a:ext cx="989380" cy="849358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25400" cap="flat" cmpd="sng" algn="ctr">
          <a:solidFill>
            <a:schemeClr val="accent5">
              <a:shade val="80000"/>
              <a:hueOff val="182419"/>
              <a:satOff val="-1989"/>
              <a:lumOff val="2273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F3A977-FF39-2A40-8230-9C5599D80165}">
      <dsp:nvSpPr>
        <dsp:cNvPr id="0" name=""/>
        <dsp:cNvSpPr/>
      </dsp:nvSpPr>
      <dsp:spPr>
        <a:xfrm>
          <a:off x="5791200" y="1157682"/>
          <a:ext cx="115214" cy="9947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B4E49A4-DB15-EB49-84B3-DDF41985C9FE}">
      <dsp:nvSpPr>
        <dsp:cNvPr id="0" name=""/>
        <dsp:cNvSpPr/>
      </dsp:nvSpPr>
      <dsp:spPr>
        <a:xfrm>
          <a:off x="2549956" y="2552846"/>
          <a:ext cx="989380" cy="849358"/>
        </a:xfrm>
        <a:prstGeom prst="hexagon">
          <a:avLst>
            <a:gd name="adj" fmla="val 25000"/>
            <a:gd name="vf" fmla="val 115470"/>
          </a:avLst>
        </a:prstGeom>
        <a:solidFill>
          <a:srgbClr val="5CDBBF"/>
        </a:solidFill>
        <a:ln w="25400" cap="flat" cmpd="sng" algn="ctr">
          <a:solidFill>
            <a:srgbClr val="5CDBB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3970" rIns="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latin typeface="HelvNeue for IBM Medium"/>
            </a:rPr>
            <a:t>Healthcare</a:t>
          </a:r>
          <a:endParaRPr lang="en-US" sz="1100" kern="1200" dirty="0">
            <a:latin typeface="HelvNeue for IBM Medium"/>
          </a:endParaRPr>
        </a:p>
      </dsp:txBody>
      <dsp:txXfrm>
        <a:off x="2703184" y="2684389"/>
        <a:ext cx="682924" cy="586272"/>
      </dsp:txXfrm>
    </dsp:sp>
    <dsp:sp modelId="{63D2E3AB-B068-E74A-BE36-926A81B4CD36}">
      <dsp:nvSpPr>
        <dsp:cNvPr id="0" name=""/>
        <dsp:cNvSpPr/>
      </dsp:nvSpPr>
      <dsp:spPr>
        <a:xfrm>
          <a:off x="2745638" y="3296861"/>
          <a:ext cx="115214" cy="9947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17FACCA-A484-284F-B98A-5F70BF6BC457}">
      <dsp:nvSpPr>
        <dsp:cNvPr id="0" name=""/>
        <dsp:cNvSpPr/>
      </dsp:nvSpPr>
      <dsp:spPr>
        <a:xfrm>
          <a:off x="1698345" y="3017901"/>
          <a:ext cx="989380" cy="849358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10"/>
          <a:stretch>
            <a:fillRect/>
          </a:stretch>
        </a:blipFill>
        <a:ln w="25400" cap="flat" cmpd="sng" algn="ctr">
          <a:solidFill>
            <a:schemeClr val="accent5">
              <a:shade val="80000"/>
              <a:hueOff val="205221"/>
              <a:satOff val="-2238"/>
              <a:lumOff val="2557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12F7842-B6BE-B14D-9F00-2B7A57C46D31}">
      <dsp:nvSpPr>
        <dsp:cNvPr id="0" name=""/>
        <dsp:cNvSpPr/>
      </dsp:nvSpPr>
      <dsp:spPr>
        <a:xfrm>
          <a:off x="2562148" y="3390459"/>
          <a:ext cx="115214" cy="9947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0C3F9B-F50F-40BA-B7D5-2239ADE84AD4}">
      <dsp:nvSpPr>
        <dsp:cNvPr id="0" name=""/>
        <dsp:cNvSpPr/>
      </dsp:nvSpPr>
      <dsp:spPr>
        <a:xfrm>
          <a:off x="1790947" y="3098800"/>
          <a:ext cx="3060192" cy="0"/>
        </a:xfrm>
        <a:prstGeom prst="line">
          <a:avLst/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1D4C83F-5B73-47C3-AA0E-D33968292369}">
      <dsp:nvSpPr>
        <dsp:cNvPr id="0" name=""/>
        <dsp:cNvSpPr/>
      </dsp:nvSpPr>
      <dsp:spPr>
        <a:xfrm>
          <a:off x="1790947" y="2031999"/>
          <a:ext cx="2621280" cy="0"/>
        </a:xfrm>
        <a:prstGeom prst="line">
          <a:avLst/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198FB42-001E-45ED-AB5F-E05FD6D274CE}">
      <dsp:nvSpPr>
        <dsp:cNvPr id="0" name=""/>
        <dsp:cNvSpPr/>
      </dsp:nvSpPr>
      <dsp:spPr>
        <a:xfrm>
          <a:off x="1790947" y="965199"/>
          <a:ext cx="3060192" cy="0"/>
        </a:xfrm>
        <a:prstGeom prst="line">
          <a:avLst/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30CE2E-33BC-4DED-A0C4-070F86B5792F}">
      <dsp:nvSpPr>
        <dsp:cNvPr id="0" name=""/>
        <dsp:cNvSpPr/>
      </dsp:nvSpPr>
      <dsp:spPr>
        <a:xfrm>
          <a:off x="266947" y="507999"/>
          <a:ext cx="3048000" cy="3048000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4120EC-6513-421D-AAD3-11B9465038EA}">
      <dsp:nvSpPr>
        <dsp:cNvPr id="0" name=""/>
        <dsp:cNvSpPr/>
      </dsp:nvSpPr>
      <dsp:spPr>
        <a:xfrm>
          <a:off x="815587" y="2126487"/>
          <a:ext cx="1950720" cy="1005840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500" kern="1200"/>
        </a:p>
      </dsp:txBody>
      <dsp:txXfrm>
        <a:off x="815587" y="2126487"/>
        <a:ext cx="1950720" cy="1005840"/>
      </dsp:txXfrm>
    </dsp:sp>
    <dsp:sp modelId="{852A7F88-8329-4987-9B92-66B4DB927A23}">
      <dsp:nvSpPr>
        <dsp:cNvPr id="0" name=""/>
        <dsp:cNvSpPr/>
      </dsp:nvSpPr>
      <dsp:spPr>
        <a:xfrm>
          <a:off x="4393939" y="507999"/>
          <a:ext cx="914400" cy="914400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A9D29A6-A2B9-4940-9210-03B7644B84BF}">
      <dsp:nvSpPr>
        <dsp:cNvPr id="0" name=""/>
        <dsp:cNvSpPr/>
      </dsp:nvSpPr>
      <dsp:spPr>
        <a:xfrm>
          <a:off x="5308339" y="507999"/>
          <a:ext cx="520712" cy="914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0" rIns="247650" bIns="0" numCol="1" spcCol="1270" anchor="ctr" anchorCtr="0">
          <a:noAutofit/>
        </a:bodyPr>
        <a:lstStyle/>
        <a:p>
          <a:pPr lvl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500" kern="1200" dirty="0" smtClean="0"/>
            <a:t> </a:t>
          </a:r>
          <a:endParaRPr lang="en-US" sz="6500" kern="1200" dirty="0"/>
        </a:p>
      </dsp:txBody>
      <dsp:txXfrm>
        <a:off x="5308339" y="507999"/>
        <a:ext cx="520712" cy="914400"/>
      </dsp:txXfrm>
    </dsp:sp>
    <dsp:sp modelId="{ECFB979F-6F29-475D-BC9D-15F820B99E98}">
      <dsp:nvSpPr>
        <dsp:cNvPr id="0" name=""/>
        <dsp:cNvSpPr/>
      </dsp:nvSpPr>
      <dsp:spPr>
        <a:xfrm>
          <a:off x="3955027" y="1574799"/>
          <a:ext cx="914400" cy="914400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E7AA3B-EA23-48F8-8CA0-42BE85BEDE5D}">
      <dsp:nvSpPr>
        <dsp:cNvPr id="0" name=""/>
        <dsp:cNvSpPr/>
      </dsp:nvSpPr>
      <dsp:spPr>
        <a:xfrm>
          <a:off x="4869427" y="1574799"/>
          <a:ext cx="527399" cy="914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0" rIns="247650" bIns="0" numCol="1" spcCol="1270" anchor="ctr" anchorCtr="0">
          <a:noAutofit/>
        </a:bodyPr>
        <a:lstStyle/>
        <a:p>
          <a:pPr lvl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500" kern="1200" dirty="0" smtClean="0"/>
            <a:t> </a:t>
          </a:r>
          <a:endParaRPr lang="en-US" sz="6500" kern="1200" dirty="0"/>
        </a:p>
      </dsp:txBody>
      <dsp:txXfrm>
        <a:off x="4869427" y="1574799"/>
        <a:ext cx="527399" cy="914400"/>
      </dsp:txXfrm>
    </dsp:sp>
    <dsp:sp modelId="{EC2A63EC-ECD6-4A12-9968-15E940ED68AE}">
      <dsp:nvSpPr>
        <dsp:cNvPr id="0" name=""/>
        <dsp:cNvSpPr/>
      </dsp:nvSpPr>
      <dsp:spPr>
        <a:xfrm>
          <a:off x="4393939" y="2641600"/>
          <a:ext cx="914400" cy="914400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E5B459-031D-4E22-A8EA-CE0DDF1984E2}">
      <dsp:nvSpPr>
        <dsp:cNvPr id="0" name=""/>
        <dsp:cNvSpPr/>
      </dsp:nvSpPr>
      <dsp:spPr>
        <a:xfrm>
          <a:off x="5308339" y="2641600"/>
          <a:ext cx="520712" cy="914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0" rIns="247650" bIns="0" numCol="1" spcCol="1270" anchor="ctr" anchorCtr="0">
          <a:noAutofit/>
        </a:bodyPr>
        <a:lstStyle/>
        <a:p>
          <a:pPr lvl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500" kern="1200" dirty="0" smtClean="0"/>
            <a:t> </a:t>
          </a:r>
          <a:endParaRPr lang="en-US" sz="6500" kern="1200" dirty="0"/>
        </a:p>
      </dsp:txBody>
      <dsp:txXfrm>
        <a:off x="5308339" y="2641600"/>
        <a:ext cx="520712" cy="9144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9411C82-898C-49C3-9CE8-1EBE79D794DA}">
      <dsp:nvSpPr>
        <dsp:cNvPr id="0" name=""/>
        <dsp:cNvSpPr/>
      </dsp:nvSpPr>
      <dsp:spPr>
        <a:xfrm>
          <a:off x="1456676" y="0"/>
          <a:ext cx="2185014" cy="1071562"/>
        </a:xfrm>
        <a:prstGeom prst="rightArrow">
          <a:avLst>
            <a:gd name="adj1" fmla="val 75000"/>
            <a:gd name="adj2" fmla="val 50000"/>
          </a:avLst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>
              <a:latin typeface="HelvNeue for IBM Light"/>
            </a:rPr>
            <a:t>Watson </a:t>
          </a:r>
          <a:r>
            <a:rPr lang="en-US" sz="1000" kern="1200" dirty="0" err="1" smtClean="0">
              <a:latin typeface="HelvNeue for IBM Light"/>
            </a:rPr>
            <a:t>IoT</a:t>
          </a:r>
          <a:r>
            <a:rPr lang="en-US" sz="1000" kern="1200" dirty="0" smtClean="0">
              <a:latin typeface="HelvNeue for IBM Light"/>
            </a:rPr>
            <a:t> Platform</a:t>
          </a:r>
          <a:endParaRPr lang="en-US" sz="1000" kern="1200" dirty="0">
            <a:latin typeface="HelvNeue for IBM Light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>
              <a:latin typeface="HelvNeue for IBM Light"/>
            </a:rPr>
            <a:t>Partner Ecosystem</a:t>
          </a:r>
          <a:endParaRPr lang="en-US" sz="1000" kern="1200" dirty="0">
            <a:latin typeface="HelvNeue for IBM Light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>
              <a:latin typeface="HelvNeue for IBM Light"/>
            </a:rPr>
            <a:t>Analytics &amp; Cognitive</a:t>
          </a:r>
          <a:endParaRPr lang="en-US" sz="1000" kern="1200" dirty="0">
            <a:latin typeface="HelvNeue for IBM Light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>
              <a:latin typeface="HelvNeue for IBM Light"/>
            </a:rPr>
            <a:t>Security</a:t>
          </a:r>
          <a:endParaRPr lang="en-US" sz="1000" kern="1200" dirty="0">
            <a:latin typeface="HelvNeue for IBM Light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>
              <a:latin typeface="HelvNeue for IBM Light"/>
            </a:rPr>
            <a:t>Cloud, On-Premise, Hybrid</a:t>
          </a:r>
          <a:endParaRPr lang="en-US" sz="1000" kern="1200" dirty="0">
            <a:latin typeface="HelvNeue for IBM Light"/>
          </a:endParaRPr>
        </a:p>
      </dsp:txBody>
      <dsp:txXfrm>
        <a:off x="1456676" y="133945"/>
        <a:ext cx="1783178" cy="803672"/>
      </dsp:txXfrm>
    </dsp:sp>
    <dsp:sp modelId="{0D0F726E-A926-4D4A-98E0-E8725A5453F4}">
      <dsp:nvSpPr>
        <dsp:cNvPr id="0" name=""/>
        <dsp:cNvSpPr/>
      </dsp:nvSpPr>
      <dsp:spPr>
        <a:xfrm>
          <a:off x="0" y="0"/>
          <a:ext cx="1456676" cy="1071562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latin typeface="HelvNeue for IBM Light"/>
            </a:rPr>
            <a:t>Secure, Scalable, &amp; Open Platform to enable IoT</a:t>
          </a:r>
          <a:endParaRPr lang="en-US" sz="1400" kern="1200" dirty="0">
            <a:latin typeface="HelvNeue for IBM Light"/>
          </a:endParaRPr>
        </a:p>
      </dsp:txBody>
      <dsp:txXfrm>
        <a:off x="52309" y="52309"/>
        <a:ext cx="1352058" cy="966944"/>
      </dsp:txXfrm>
    </dsp:sp>
    <dsp:sp modelId="{BF02BF03-FD7E-433A-97EF-CEC7B8E375C8}">
      <dsp:nvSpPr>
        <dsp:cNvPr id="0" name=""/>
        <dsp:cNvSpPr/>
      </dsp:nvSpPr>
      <dsp:spPr>
        <a:xfrm>
          <a:off x="1456676" y="1178719"/>
          <a:ext cx="2185014" cy="1071562"/>
        </a:xfrm>
        <a:prstGeom prst="rightArrow">
          <a:avLst>
            <a:gd name="adj1" fmla="val 75000"/>
            <a:gd name="adj2" fmla="val 50000"/>
          </a:avLst>
        </a:prstGeom>
        <a:solidFill>
          <a:schemeClr val="accent3">
            <a:tint val="40000"/>
            <a:alpha val="90000"/>
            <a:hueOff val="5358426"/>
            <a:satOff val="-6896"/>
            <a:lumOff val="-537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5358426"/>
              <a:satOff val="-6896"/>
              <a:lumOff val="-53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>
              <a:latin typeface="HelvNeue for IBM Light"/>
            </a:rPr>
            <a:t>IoT Applications</a:t>
          </a:r>
          <a:endParaRPr lang="en-US" sz="1000" kern="1200" dirty="0">
            <a:latin typeface="HelvNeue for IBM Light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>
              <a:latin typeface="HelvNeue for IBM Light"/>
            </a:rPr>
            <a:t>Industry Solutions</a:t>
          </a:r>
          <a:endParaRPr lang="en-US" sz="1000" kern="1200" dirty="0">
            <a:latin typeface="HelvNeue for IBM Light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>
              <a:latin typeface="HelvNeue for IBM Light"/>
            </a:rPr>
            <a:t>Third Party Solutions</a:t>
          </a:r>
          <a:endParaRPr lang="en-US" sz="1000" kern="1200" dirty="0">
            <a:latin typeface="HelvNeue for IBM Light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>
              <a:latin typeface="HelvNeue for IBM Light"/>
            </a:rPr>
            <a:t>GBS Digital  Ops Practice</a:t>
          </a:r>
          <a:endParaRPr lang="en-US" sz="1000" kern="1200" dirty="0">
            <a:latin typeface="HelvNeue for IBM Light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>
              <a:latin typeface="HelvNeue for IBM Light"/>
            </a:rPr>
            <a:t>Client experience</a:t>
          </a:r>
          <a:endParaRPr lang="en-US" sz="1000" kern="1200" dirty="0">
            <a:latin typeface="HelvNeue for IBM Light"/>
          </a:endParaRPr>
        </a:p>
      </dsp:txBody>
      <dsp:txXfrm>
        <a:off x="1456676" y="1312664"/>
        <a:ext cx="1783178" cy="803672"/>
      </dsp:txXfrm>
    </dsp:sp>
    <dsp:sp modelId="{1278E775-41AA-41D2-8E22-043FA618CA93}">
      <dsp:nvSpPr>
        <dsp:cNvPr id="0" name=""/>
        <dsp:cNvSpPr/>
      </dsp:nvSpPr>
      <dsp:spPr>
        <a:xfrm>
          <a:off x="0" y="1178719"/>
          <a:ext cx="1456676" cy="1071562"/>
        </a:xfrm>
        <a:prstGeom prst="roundRect">
          <a:avLst/>
        </a:prstGeom>
        <a:solidFill>
          <a:schemeClr val="accent3">
            <a:hueOff val="5625133"/>
            <a:satOff val="-8440"/>
            <a:lumOff val="-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latin typeface="HelvNeue for IBM Light"/>
            </a:rPr>
            <a:t>Industry-specific expertise to solve business needs</a:t>
          </a:r>
          <a:endParaRPr lang="en-US" sz="1400" kern="1200" dirty="0">
            <a:latin typeface="HelvNeue for IBM Light"/>
          </a:endParaRPr>
        </a:p>
      </dsp:txBody>
      <dsp:txXfrm>
        <a:off x="52309" y="1231028"/>
        <a:ext cx="1352058" cy="966944"/>
      </dsp:txXfrm>
    </dsp:sp>
    <dsp:sp modelId="{F0928CFE-FF9F-4FCB-A3AB-3C7EB7DFB30D}">
      <dsp:nvSpPr>
        <dsp:cNvPr id="0" name=""/>
        <dsp:cNvSpPr/>
      </dsp:nvSpPr>
      <dsp:spPr>
        <a:xfrm>
          <a:off x="1456676" y="2357438"/>
          <a:ext cx="2185014" cy="1071562"/>
        </a:xfrm>
        <a:prstGeom prst="rightArrow">
          <a:avLst>
            <a:gd name="adj1" fmla="val 75000"/>
            <a:gd name="adj2" fmla="val 50000"/>
          </a:avLst>
        </a:prstGeom>
        <a:solidFill>
          <a:schemeClr val="accent3">
            <a:tint val="40000"/>
            <a:alpha val="90000"/>
            <a:hueOff val="10716852"/>
            <a:satOff val="-13793"/>
            <a:lumOff val="-1075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10716852"/>
              <a:satOff val="-13793"/>
              <a:lumOff val="-107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>
              <a:latin typeface="HelvNeue for IBM Light"/>
            </a:rPr>
            <a:t>Watson capabilities via APIs</a:t>
          </a:r>
          <a:endParaRPr lang="en-US" sz="1000" kern="1200" dirty="0">
            <a:latin typeface="HelvNeue for IBM Light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>
              <a:latin typeface="HelvNeue for IBM Light"/>
            </a:rPr>
            <a:t>GBS’ Cognitive Practice</a:t>
          </a:r>
          <a:endParaRPr lang="en-US" sz="1000" kern="1200" dirty="0">
            <a:latin typeface="HelvNeue for IBM Light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>
              <a:latin typeface="HelvNeue for IBM Light"/>
            </a:rPr>
            <a:t>Digital Transformation and Industry Know-how</a:t>
          </a:r>
          <a:endParaRPr lang="en-US" sz="1000" kern="1200" dirty="0">
            <a:latin typeface="HelvNeue for IBM Light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>
              <a:latin typeface="HelvNeue for IBM Light"/>
            </a:rPr>
            <a:t>Data: Weather, Social, etc…</a:t>
          </a:r>
          <a:endParaRPr lang="en-US" sz="1000" kern="1200" dirty="0">
            <a:latin typeface="HelvNeue for IBM Light"/>
          </a:endParaRPr>
        </a:p>
      </dsp:txBody>
      <dsp:txXfrm>
        <a:off x="1456676" y="2491383"/>
        <a:ext cx="1783178" cy="803672"/>
      </dsp:txXfrm>
    </dsp:sp>
    <dsp:sp modelId="{B17CBCB5-35AA-4003-BDC0-8943C31EA10E}">
      <dsp:nvSpPr>
        <dsp:cNvPr id="0" name=""/>
        <dsp:cNvSpPr/>
      </dsp:nvSpPr>
      <dsp:spPr>
        <a:xfrm>
          <a:off x="0" y="2357438"/>
          <a:ext cx="1456676" cy="1071562"/>
        </a:xfrm>
        <a:prstGeom prst="roundRect">
          <a:avLst/>
        </a:prstGeom>
        <a:solidFill>
          <a:schemeClr val="accent3">
            <a:hueOff val="11250266"/>
            <a:satOff val="-16880"/>
            <a:lumOff val="-274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latin typeface="HelvNeue for IBM Light"/>
            </a:rPr>
            <a:t>Capabilities to help digital businesses become cognitive</a:t>
          </a:r>
          <a:endParaRPr lang="en-US" sz="1400" kern="1200" dirty="0">
            <a:latin typeface="HelvNeue for IBM Light"/>
          </a:endParaRPr>
        </a:p>
      </dsp:txBody>
      <dsp:txXfrm>
        <a:off x="52309" y="2409747"/>
        <a:ext cx="1352058" cy="9669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exagonCluster">
  <dgm:title val=""/>
  <dgm:desc val=""/>
  <dgm:catLst>
    <dgm:cat type="picture" pri="21000"/>
    <dgm:cat type="relationship" pri="3200"/>
    <dgm:cat type="pictureconvert" pri="21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clrData>
  <dgm:layoutNode name="Name0">
    <dgm:varLst>
      <dgm:chMax val="21"/>
      <dgm:chPref val="21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1.3871"/>
        </dgm:alg>
        <dgm:constrLst>
          <dgm:constr type="primFontSz" for="des" ptType="node" op="equ" val="65"/>
          <dgm:constr type="l" for="ch" forName="text1" refType="w" fact="0.4525"/>
          <dgm:constr type="t" for="ch" forName="text1" refType="h" fact="0.346"/>
          <dgm:constr type="w" for="ch" forName="text1" refType="w" fact="0.5475"/>
          <dgm:constr type="h" for="ch" forName="text1" refType="h" fact="0.654"/>
          <dgm:constr type="l" for="ch" forName="textaccent1" refType="w" fact="0.4652"/>
          <dgm:constr type="t" for="ch" forName="textaccent1" refType="h" fact="0.6348"/>
          <dgm:constr type="w" for="ch" forName="textaccent1" refType="w" fact="0.0639"/>
          <dgm:constr type="h" for="ch" forName="textaccent1" refType="h" fact="0.0765"/>
          <dgm:constr type="l" for="ch" forName="image1" refType="w" fact="0"/>
          <dgm:constr type="t" for="ch" forName="image1" refType="h" fact="0"/>
          <dgm:constr type="w" for="ch" forName="image1" refType="w" fact="0.5468"/>
          <dgm:constr type="h" for="ch" forName="image1" refType="h" fact="0.6538"/>
          <dgm:constr type="l" for="ch" forName="imageaccent1" refType="w" fact="0.3702"/>
          <dgm:constr type="t" for="ch" forName="imageaccent1" refType="h" fact="0.5633"/>
          <dgm:constr type="w" for="ch" forName="imageaccent1" refType="w" fact="0.0639"/>
          <dgm:constr type="h" for="ch" forName="imageaccent1" refType="h" fact="0.0765"/>
        </dgm:constrLst>
      </dgm:if>
      <dgm:if name="Name3" axis="ch" ptType="node" func="cnt" op="equ" val="2">
        <dgm:alg type="composite">
          <dgm:param type="ar" val="2.6443"/>
        </dgm:alg>
        <dgm:constrLst>
          <dgm:constr type="primFontSz" for="des" ptType="node" op="equ" val="65"/>
          <dgm:constr type="l" for="ch" forName="text1" refType="w" fact="0.2383"/>
          <dgm:constr type="t" for="ch" forName="text1" refType="h" fact="0.3501"/>
          <dgm:constr type="w" for="ch" forName="text1" refType="w" fact="0.285"/>
          <dgm:constr type="h" for="ch" forName="text1" refType="h" fact="0.6499"/>
          <dgm:constr type="l" for="ch" forName="textaccent1" refType="w" fact="0.2472"/>
          <dgm:constr type="t" for="ch" forName="textaccent1" refType="h" fact="0.6371"/>
          <dgm:constr type="w" for="ch" forName="textaccent1" refType="w" fact="0.0333"/>
          <dgm:constr type="h" for="ch" forName="textaccent1" refType="h" fact="0.076"/>
          <dgm:constr type="l" for="ch" forName="image1" refType="w" fact="0"/>
          <dgm:constr type="t" for="ch" forName="image1" refType="h" fact="0"/>
          <dgm:constr type="w" for="ch" forName="image1" refType="w" fact="0.285"/>
          <dgm:constr type="h" for="ch" forName="image1" refType="h" fact="0.6499"/>
          <dgm:constr type="l" for="ch" forName="imageaccent1" refType="w" fact="0.1942"/>
          <dgm:constr type="t" for="ch" forName="imageaccent1" refType="h" fact="0.5602"/>
          <dgm:constr type="w" for="ch" forName="imageaccent1" refType="w" fact="0.0333"/>
          <dgm:constr type="h" for="ch" forName="imageaccent1" refType="h" fact="0.076"/>
          <dgm:constr type="l" for="ch" forName="text2" refType="w" fact="0.4767"/>
          <dgm:constr type="t" for="ch" forName="text2" refType="h" fact="0"/>
          <dgm:constr type="w" for="ch" forName="text2" refType="w" fact="0.285"/>
          <dgm:constr type="h" for="ch" forName="text2" refType="h" fact="0.6499"/>
          <dgm:constr type="l" for="ch" forName="textaccent2" refType="w" fact="0.6709"/>
          <dgm:constr type="t" for="ch" forName="textaccent2" refType="h" fact="0.5602"/>
          <dgm:constr type="w" for="ch" forName="textaccent2" refType="w" fact="0.0333"/>
          <dgm:constr type="h" for="ch" forName="textaccent2" refType="h" fact="0.076"/>
          <dgm:constr type="l" for="ch" forName="image2" refType="w" fact="0.715"/>
          <dgm:constr type="t" for="ch" forName="image2" refType="h" fact="0.3501"/>
          <dgm:constr type="w" for="ch" forName="image2" refType="w" fact="0.285"/>
          <dgm:constr type="h" for="ch" forName="image2" refType="h" fact="0.6499"/>
          <dgm:constr type="l" for="ch" forName="imageaccent2" refType="w" fact="0.7239"/>
          <dgm:constr type="t" for="ch" forName="imageaccent2" refType="h" fact="0.6371"/>
          <dgm:constr type="w" for="ch" forName="imageaccent2" refType="w" fact="0.0333"/>
          <dgm:constr type="h" for="ch" forName="imageaccent2" refType="h" fact="0.076"/>
        </dgm:constrLst>
      </dgm:if>
      <dgm:if name="Name4" axis="ch" ptType="node" func="cnt" op="equ" val="3">
        <dgm:alg type="composite">
          <dgm:param type="ar" val="1.5623"/>
        </dgm:alg>
        <dgm:constrLst>
          <dgm:constr type="primFontSz" for="des" ptType="node" op="equ" val="65"/>
          <dgm:constr type="l" for="ch" forName="text1" refType="w" fact="0.2402"/>
          <dgm:constr type="t" for="ch" forName="text1" refType="h" fact="0.6215"/>
          <dgm:constr type="w" for="ch" forName="text1" refType="w" fact="0.281"/>
          <dgm:constr type="h" for="ch" forName="text1" refType="h" fact="0.3785"/>
          <dgm:constr type="l" for="ch" forName="textaccent1" refType="w" fact="0.2475"/>
          <dgm:constr type="t" for="ch" forName="textaccent1" refType="h" fact="0.7886"/>
          <dgm:constr type="w" for="ch" forName="textaccent1" refType="w" fact="0.0329"/>
          <dgm:constr type="h" for="ch" forName="textaccent1" refType="h" fact="0.0443"/>
          <dgm:constr type="l" for="ch" forName="image1" refType="w" fact="0"/>
          <dgm:constr type="t" for="ch" forName="image1" refType="h" fact="0.4182"/>
          <dgm:constr type="w" for="ch" forName="image1" refType="w" fact="0.281"/>
          <dgm:constr type="h" for="ch" forName="image1" refType="h" fact="0.3785"/>
          <dgm:constr type="l" for="ch" forName="imageaccent1" refType="w" fact="0.1913"/>
          <dgm:constr type="t" for="ch" forName="imageaccent1" refType="h" fact="0.7467"/>
          <dgm:constr type="w" for="ch" forName="imageaccent1" refType="w" fact="0.0329"/>
          <dgm:constr type="h" for="ch" forName="imageaccent1" refType="h" fact="0.0443"/>
          <dgm:constr type="l" for="ch" forName="text2" refType="w" fact="0.4796"/>
          <dgm:constr type="t" for="ch" forName="text2" refType="h" fact="0.4137"/>
          <dgm:constr type="w" for="ch" forName="text2" refType="w" fact="0.281"/>
          <dgm:constr type="h" for="ch" forName="text2" refType="h" fact="0.3785"/>
          <dgm:constr type="l" for="ch" forName="textaccent2" refType="w" fact="0.6717"/>
          <dgm:constr type="t" for="ch" forName="textaccent2" refType="h" fact="0.7418"/>
          <dgm:constr type="w" for="ch" forName="textaccent2" refType="w" fact="0.0329"/>
          <dgm:constr type="h" for="ch" forName="textaccent2" refType="h" fact="0.0443"/>
          <dgm:constr type="l" for="ch" forName="image2" refType="w" fact="0.719"/>
          <dgm:constr type="t" for="ch" forName="image2" refType="h" fact="0.6215"/>
          <dgm:constr type="w" for="ch" forName="image2" refType="w" fact="0.281"/>
          <dgm:constr type="h" for="ch" forName="image2" refType="h" fact="0.3785"/>
          <dgm:constr type="l" for="ch" forName="imageaccent2" refType="w" fact="0.7263"/>
          <dgm:constr type="t" for="ch" forName="imageaccent2" refType="h" fact="0.7886"/>
          <dgm:constr type="w" for="ch" forName="imageaccent2" refType="w" fact="0.0329"/>
          <dgm:constr type="h" for="ch" forName="imageaccent2" refType="h" fact="0.0443"/>
          <dgm:constr type="l" for="ch" forName="text3" refType="w" fact="0.2402"/>
          <dgm:constr type="t" for="ch" forName="text3" refType="h" fact="0.2068"/>
          <dgm:constr type="w" for="ch" forName="text3" refType="w" fact="0.281"/>
          <dgm:constr type="h" for="ch" forName="text3" refType="h" fact="0.3785"/>
          <dgm:constr type="l" for="ch" forName="textaccent3" refType="w" fact="0.4307"/>
          <dgm:constr type="t" for="ch" forName="textaccent3" refType="h" fact="0.215"/>
          <dgm:constr type="w" for="ch" forName="textaccent3" refType="w" fact="0.0329"/>
          <dgm:constr type="h" for="ch" forName="textaccent3" refType="h" fact="0.0443"/>
          <dgm:constr type="l" for="ch" forName="image3" refType="w" fact="0.4796"/>
          <dgm:constr type="t" for="ch" forName="image3" refType="h" fact="0"/>
          <dgm:constr type="w" for="ch" forName="image3" refType="w" fact="0.281"/>
          <dgm:constr type="h" for="ch" forName="image3" refType="h" fact="0.3785"/>
          <dgm:constr type="l" for="ch" forName="imageaccent3" refType="w" fact="0.4879"/>
          <dgm:constr type="t" for="ch" forName="imageaccent3" refType="h" fact="0.1662"/>
          <dgm:constr type="w" for="ch" forName="imageaccent3" refType="w" fact="0.0329"/>
          <dgm:constr type="h" for="ch" forName="imageaccent3" refType="h" fact="0.0443"/>
        </dgm:constrLst>
      </dgm:if>
      <dgm:if name="Name5" axis="ch" ptType="node" func="cnt" op="equ" val="4">
        <dgm:alg type="composite">
          <dgm:param type="ar" val="1.943"/>
        </dgm:alg>
        <dgm:constrLst>
          <dgm:constr type="primFontSz" for="des" ptType="node" op="equ" val="65"/>
          <dgm:constr type="l" for="ch" forName="image2" refType="w" fact="0.5787"/>
          <dgm:constr type="t" for="ch" forName="image2" refType="h" fact="0.6208"/>
          <dgm:constr type="w" for="ch" forName="image2" refType="w" fact="0.227"/>
          <dgm:constr type="h" for="ch" forName="image2" refType="h" fact="0.3786"/>
          <dgm:constr type="l" for="ch" forName="text4" refType="w" fact="0.5787"/>
          <dgm:constr type="t" for="ch" forName="text4" refType="h" fact="0.2081"/>
          <dgm:constr type="w" for="ch" forName="text4" refType="w" fact="0.227"/>
          <dgm:constr type="h" for="ch" forName="text4" refType="h" fact="0.3786"/>
          <dgm:constr type="l" for="ch" forName="text2" refType="w" fact="0.3852"/>
          <dgm:constr type="t" for="ch" forName="text2" refType="h" fact="0.4127"/>
          <dgm:constr type="w" for="ch" forName="text2" refType="w" fact="0.227"/>
          <dgm:constr type="h" for="ch" forName="text2" refType="h" fact="0.3786"/>
          <dgm:constr type="l" for="ch" forName="image3" refType="w" fact="0.3852"/>
          <dgm:constr type="t" for="ch" forName="image3" refType="h" fact="0"/>
          <dgm:constr type="w" for="ch" forName="image3" refType="w" fact="0.227"/>
          <dgm:constr type="h" for="ch" forName="image3" refType="h" fact="0.3786"/>
          <dgm:constr type="l" for="ch" forName="text1" refType="w" fact="0.1927"/>
          <dgm:constr type="t" for="ch" forName="text1" refType="h" fact="0.6214"/>
          <dgm:constr type="w" for="ch" forName="text1" refType="w" fact="0.227"/>
          <dgm:constr type="h" for="ch" forName="text1" refType="h" fact="0.3786"/>
          <dgm:constr type="l" for="ch" forName="textaccent1" refType="w" fact="0.1998"/>
          <dgm:constr type="t" for="ch" forName="textaccent1" refType="h" fact="0.7887"/>
          <dgm:constr type="w" for="ch" forName="textaccent1" refType="w" fact="0.0265"/>
          <dgm:constr type="h" for="ch" forName="textaccent1" refType="h" fact="0.0444"/>
          <dgm:constr type="l" for="ch" forName="image1" refType="w" fact="0"/>
          <dgm:constr type="t" for="ch" forName="image1" refType="h" fact="0.4156"/>
          <dgm:constr type="w" for="ch" forName="image1" refType="w" fact="0.227"/>
          <dgm:constr type="h" for="ch" forName="image1" refType="h" fact="0.3786"/>
          <dgm:constr type="l" for="ch" forName="imageaccent1" refType="w" fact="0.1537"/>
          <dgm:constr type="t" for="ch" forName="imageaccent1" refType="h" fact="0.7417"/>
          <dgm:constr type="w" for="ch" forName="imageaccent1" refType="w" fact="0.0265"/>
          <dgm:constr type="h" for="ch" forName="imageaccent1" refType="h" fact="0.0444"/>
          <dgm:constr type="l" for="ch" forName="textaccent2" refType="w" fact="0.5407"/>
          <dgm:constr type="t" for="ch" forName="textaccent2" refType="h" fact="0.7384"/>
          <dgm:constr type="w" for="ch" forName="textaccent2" refType="w" fact="0.0265"/>
          <dgm:constr type="h" for="ch" forName="textaccent2" refType="h" fact="0.0444"/>
          <dgm:constr type="l" for="ch" forName="imageaccent2" refType="w" fact="0.5839"/>
          <dgm:constr type="t" for="ch" forName="imageaccent2" refType="h" fact="0.7904"/>
          <dgm:constr type="w" for="ch" forName="imageaccent2" refType="w" fact="0.0265"/>
          <dgm:constr type="h" for="ch" forName="imageaccent2" refType="h" fact="0.0444"/>
          <dgm:constr type="l" for="ch" forName="text3" refType="w" fact="0.1927"/>
          <dgm:constr type="t" for="ch" forName="text3" refType="h" fact="0.2087"/>
          <dgm:constr type="w" for="ch" forName="text3" refType="w" fact="0.227"/>
          <dgm:constr type="h" for="ch" forName="text3" refType="h" fact="0.3786"/>
          <dgm:constr type="l" for="ch" forName="textaccent3" refType="w" fact="0.3472"/>
          <dgm:constr type="t" for="ch" forName="textaccent3" refType="h" fact="0.2165"/>
          <dgm:constr type="w" for="ch" forName="textaccent3" refType="w" fact="0.0265"/>
          <dgm:constr type="h" for="ch" forName="textaccent3" refType="h" fact="0.0444"/>
          <dgm:constr type="l" for="ch" forName="imageaccent3" refType="w" fact="0.3904"/>
          <dgm:constr type="t" for="ch" forName="imageaccent3" refType="h" fact="0.1678"/>
          <dgm:constr type="w" for="ch" forName="imageaccent3" refType="w" fact="0.0265"/>
          <dgm:constr type="h" for="ch" forName="imageaccent3" refType="h" fact="0.0444"/>
          <dgm:constr type="l" for="ch" forName="textaccent4" refType="w" fact="0.7739"/>
          <dgm:constr type="t" for="ch" forName="textaccent4" refType="h" fact="0.3752"/>
          <dgm:constr type="w" for="ch" forName="textaccent4" refType="w" fact="0.0265"/>
          <dgm:constr type="h" for="ch" forName="textaccent4" refType="h" fact="0.0444"/>
          <dgm:constr type="l" for="ch" forName="image4" refType="w" fact="0.773"/>
          <dgm:constr type="t" for="ch" forName="image4" refType="h" fact="0.4162"/>
          <dgm:constr type="w" for="ch" forName="image4" refType="w" fact="0.227"/>
          <dgm:constr type="h" for="ch" forName="image4" refType="h" fact="0.3786"/>
          <dgm:constr type="l" for="ch" forName="imageaccent4" refType="w" fact="0.8188"/>
          <dgm:constr type="t" for="ch" forName="imageaccent4" refType="h" fact="0.4229"/>
          <dgm:constr type="w" for="ch" forName="imageaccent4" refType="w" fact="0.0265"/>
          <dgm:constr type="h" for="ch" forName="imageaccent4" refType="h" fact="0.0444"/>
        </dgm:constrLst>
      </dgm:if>
      <dgm:if name="Name6" axis="ch" ptType="node" func="cnt" op="equ" val="5">
        <dgm:alg type="composite">
          <dgm:param type="ar" val="2.3203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4193"/>
          <dgm:constr type="w" for="ch" forName="image4" refType="w" fact="0.1886"/>
          <dgm:constr type="h" for="ch" forName="image4" refType="h" fact="0.3757"/>
          <dgm:constr type="l" for="ch" forName="text5" refType="w" fact="0.6491"/>
          <dgm:constr type="t" for="ch" forName="text5" refType="h" fact="0.004"/>
          <dgm:constr type="w" for="ch" forName="text5" refType="w" fact="0.1886"/>
          <dgm:constr type="h" for="ch" forName="text5" refType="h" fact="0.3757"/>
          <dgm:constr type="l" for="ch" forName="image5" refType="w" fact="0.8114"/>
          <dgm:constr type="t" for="ch" forName="image5" refType="h" fact="0.2136"/>
          <dgm:constr type="w" for="ch" forName="image5" refType="w" fact="0.1886"/>
          <dgm:constr type="h" for="ch" forName="image5" refType="h" fact="0.3757"/>
          <dgm:constr type="l" for="ch" forName="image2" refType="w" fact="0.4868"/>
          <dgm:constr type="t" for="ch" forName="image2" refType="h" fact="0.6235"/>
          <dgm:constr type="w" for="ch" forName="image2" refType="w" fact="0.1886"/>
          <dgm:constr type="h" for="ch" forName="image2" refType="h" fact="0.3757"/>
          <dgm:constr type="l" for="ch" forName="text4" refType="w" fact="0.4868"/>
          <dgm:constr type="t" for="ch" forName="text4" refType="h" fact="0.2081"/>
          <dgm:constr type="w" for="ch" forName="text4" refType="w" fact="0.1886"/>
          <dgm:constr type="h" for="ch" forName="text4" refType="h" fact="0.3757"/>
          <dgm:constr type="l" for="ch" forName="text2" refType="w" fact="0.3246"/>
          <dgm:constr type="t" for="ch" forName="text2" refType="h" fact="0.4154"/>
          <dgm:constr type="w" for="ch" forName="text2" refType="w" fact="0.1886"/>
          <dgm:constr type="h" for="ch" forName="text2" refType="h" fact="0.3757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757"/>
          <dgm:constr type="l" for="ch" forName="text1" refType="w" fact="0.1623"/>
          <dgm:constr type="t" for="ch" forName="text1" refType="h" fact="0.6243"/>
          <dgm:constr type="w" for="ch" forName="text1" refType="w" fact="0.1886"/>
          <dgm:constr type="h" for="ch" forName="text1" refType="h" fact="0.3757"/>
          <dgm:constr type="l" for="ch" forName="text3" refType="w" fact="0.1623"/>
          <dgm:constr type="t" for="ch" forName="text3" refType="h" fact="0.2089"/>
          <dgm:constr type="w" for="ch" forName="text3" refType="w" fact="0.1886"/>
          <dgm:constr type="h" for="ch" forName="text3" refType="h" fact="0.3757"/>
          <dgm:constr type="l" for="ch" forName="textaccent1" refType="w" fact="0.1668"/>
          <dgm:constr type="t" for="ch" forName="textaccent1" refType="h" fact="0.7923"/>
          <dgm:constr type="w" for="ch" forName="textaccent1" refType="w" fact="0.022"/>
          <dgm:constr type="h" for="ch" forName="textaccent1" refType="h" fact="0.044"/>
          <dgm:constr type="l" for="ch" forName="image1" refType="w" fact="0"/>
          <dgm:constr type="t" for="ch" forName="image1" refType="h" fact="0.4166"/>
          <dgm:constr type="w" for="ch" forName="image1" refType="w" fact="0.1886"/>
          <dgm:constr type="h" for="ch" forName="image1" refType="h" fact="0.3757"/>
          <dgm:constr type="l" for="ch" forName="imageaccent1" refType="w" fact="0.1292"/>
          <dgm:constr type="t" for="ch" forName="imageaccent1" refType="h" fact="0.7424"/>
          <dgm:constr type="w" for="ch" forName="imageaccent1" refType="w" fact="0.022"/>
          <dgm:constr type="h" for="ch" forName="imageaccent1" refType="h" fact="0.044"/>
          <dgm:constr type="l" for="ch" forName="textaccent2" refType="w" fact="0.4544"/>
          <dgm:constr type="t" for="ch" forName="textaccent2" refType="h" fact="0.7404"/>
          <dgm:constr type="w" for="ch" forName="textaccent2" refType="w" fact="0.022"/>
          <dgm:constr type="h" for="ch" forName="textaccent2" refType="h" fact="0.044"/>
          <dgm:constr type="l" for="ch" forName="imageaccent2" refType="w" fact="0.4914"/>
          <dgm:constr type="t" for="ch" forName="imageaccent2" refType="h" fact="0.7907"/>
          <dgm:constr type="w" for="ch" forName="imageaccent2" refType="w" fact="0.022"/>
          <dgm:constr type="h" for="ch" forName="imageaccent2" refType="h" fact="0.044"/>
          <dgm:constr type="l" for="ch" forName="textaccent3" refType="w" fact="0.2915"/>
          <dgm:constr type="t" for="ch" forName="textaccent3" refType="h" fact="0.216"/>
          <dgm:constr type="w" for="ch" forName="textaccent3" refType="w" fact="0.022"/>
          <dgm:constr type="h" for="ch" forName="textaccent3" refType="h" fact="0.044"/>
          <dgm:constr type="l" for="ch" forName="imageaccent3" refType="w" fact="0.3299"/>
          <dgm:constr type="t" for="ch" forName="imageaccent3" refType="h" fact="0.1665"/>
          <dgm:constr type="w" for="ch" forName="imageaccent3" refType="w" fact="0.022"/>
          <dgm:constr type="h" for="ch" forName="imageaccent3" refType="h" fact="0.044"/>
          <dgm:constr type="l" for="ch" forName="textaccent4" refType="w" fact="0.65"/>
          <dgm:constr type="t" for="ch" forName="textaccent4" refType="h" fact="0.3746"/>
          <dgm:constr type="w" for="ch" forName="textaccent4" refType="w" fact="0.022"/>
          <dgm:constr type="h" for="ch" forName="textaccent4" refType="h" fact="0.044"/>
          <dgm:constr type="l" for="ch" forName="imageaccent4" refType="w" fact="0.6859"/>
          <dgm:constr type="t" for="ch" forName="imageaccent4" refType="h" fact="0.4261"/>
          <dgm:constr type="w" for="ch" forName="imageaccent4" refType="w" fact="0.022"/>
          <dgm:constr type="h" for="ch" forName="imageaccent4" refType="h" fact="0.044"/>
          <dgm:constr type="l" for="ch" forName="textaccent5" refType="w" fact="0.8123"/>
          <dgm:constr type="t" for="ch" forName="textaccent5" refType="h" fact="0.1724"/>
          <dgm:constr type="w" for="ch" forName="textaccent5" refType="w" fact="0.022"/>
          <dgm:constr type="h" for="ch" forName="textaccent5" refType="h" fact="0.044"/>
          <dgm:constr type="l" for="ch" forName="imageaccent5" refType="w" fact="0.849"/>
          <dgm:constr type="t" for="ch" forName="imageaccent5" refType="h" fact="0.222"/>
          <dgm:constr type="w" for="ch" forName="imageaccent5" refType="w" fact="0.022"/>
          <dgm:constr type="h" for="ch" forName="imageaccent5" refType="h" fact="0.044"/>
        </dgm:constrLst>
      </dgm:if>
      <dgm:if name="Name7" axis="ch" ptType="node" func="cnt" op="equ" val="6">
        <dgm:alg type="composite">
          <dgm:param type="ar" val="1.9179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3466"/>
          <dgm:constr type="w" for="ch" forName="image4" refType="w" fact="0.1886"/>
          <dgm:constr type="h" for="ch" forName="image4" refType="h" fact="0.3106"/>
          <dgm:constr type="l" for="ch" forName="text5" refType="w" fact="0.6491"/>
          <dgm:constr type="t" for="ch" forName="text5" refType="h" fact="0.0033"/>
          <dgm:constr type="w" for="ch" forName="text5" refType="w" fact="0.1886"/>
          <dgm:constr type="h" for="ch" forName="text5" refType="h" fact="0.3106"/>
          <dgm:constr type="l" for="ch" forName="image5" refType="w" fact="0.8114"/>
          <dgm:constr type="t" for="ch" forName="image5" refType="h" fact="0.1766"/>
          <dgm:constr type="w" for="ch" forName="image5" refType="w" fact="0.1886"/>
          <dgm:constr type="h" for="ch" forName="image5" refType="h" fact="0.3106"/>
          <dgm:constr type="l" for="ch" forName="image2" refType="w" fact="0.4868"/>
          <dgm:constr type="t" for="ch" forName="image2" refType="h" fact="0.5154"/>
          <dgm:constr type="w" for="ch" forName="image2" refType="w" fact="0.1886"/>
          <dgm:constr type="h" for="ch" forName="image2" refType="h" fact="0.3106"/>
          <dgm:constr type="l" for="ch" forName="text4" refType="w" fact="0.4868"/>
          <dgm:constr type="t" for="ch" forName="text4" refType="h" fact="0.172"/>
          <dgm:constr type="w" for="ch" forName="text4" refType="w" fact="0.1886"/>
          <dgm:constr type="h" for="ch" forName="text4" refType="h" fact="0.3106"/>
          <dgm:constr type="l" for="ch" forName="text2" refType="w" fact="0.3246"/>
          <dgm:constr type="t" for="ch" forName="text2" refType="h" fact="0.3434"/>
          <dgm:constr type="w" for="ch" forName="text2" refType="w" fact="0.1886"/>
          <dgm:constr type="h" for="ch" forName="text2" refType="h" fact="0.3106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106"/>
          <dgm:constr type="l" for="ch" forName="text1" refType="w" fact="0.1623"/>
          <dgm:constr type="t" for="ch" forName="text1" refType="h" fact="0.516"/>
          <dgm:constr type="w" for="ch" forName="text1" refType="w" fact="0.1886"/>
          <dgm:constr type="h" for="ch" forName="text1" refType="h" fact="0.3106"/>
          <dgm:constr type="l" for="ch" forName="text3" refType="w" fact="0.1623"/>
          <dgm:constr type="t" for="ch" forName="text3" refType="h" fact="0.1727"/>
          <dgm:constr type="w" for="ch" forName="text3" refType="w" fact="0.1886"/>
          <dgm:constr type="h" for="ch" forName="text3" refType="h" fact="0.3106"/>
          <dgm:constr type="l" for="ch" forName="textaccent1" refType="w" fact="0.1668"/>
          <dgm:constr type="t" for="ch" forName="textaccent1" refType="h" fact="0.6549"/>
          <dgm:constr type="w" for="ch" forName="textaccent1" refType="w" fact="0.022"/>
          <dgm:constr type="h" for="ch" forName="textaccent1" refType="h" fact="0.0364"/>
          <dgm:constr type="l" for="ch" forName="image1" refType="w" fact="0"/>
          <dgm:constr type="t" for="ch" forName="image1" refType="h" fact="0.3443"/>
          <dgm:constr type="w" for="ch" forName="image1" refType="w" fact="0.1886"/>
          <dgm:constr type="h" for="ch" forName="image1" refType="h" fact="0.3106"/>
          <dgm:constr type="l" for="ch" forName="imageaccent1" refType="w" fact="0.1292"/>
          <dgm:constr type="t" for="ch" forName="imageaccent1" refType="h" fact="0.6137"/>
          <dgm:constr type="w" for="ch" forName="imageaccent1" refType="w" fact="0.022"/>
          <dgm:constr type="h" for="ch" forName="imageaccent1" refType="h" fact="0.0364"/>
          <dgm:constr type="l" for="ch" forName="textaccent2" refType="w" fact="0.4544"/>
          <dgm:constr type="t" for="ch" forName="textaccent2" refType="h" fact="0.612"/>
          <dgm:constr type="w" for="ch" forName="textaccent2" refType="w" fact="0.022"/>
          <dgm:constr type="h" for="ch" forName="textaccent2" refType="h" fact="0.0364"/>
          <dgm:constr type="l" for="ch" forName="imageaccent2" refType="w" fact="0.4914"/>
          <dgm:constr type="t" for="ch" forName="imageaccent2" refType="h" fact="0.6536"/>
          <dgm:constr type="w" for="ch" forName="imageaccent2" refType="w" fact="0.022"/>
          <dgm:constr type="h" for="ch" forName="imageaccent2" refType="h" fact="0.0364"/>
          <dgm:constr type="l" for="ch" forName="textaccent3" refType="w" fact="0.2915"/>
          <dgm:constr type="t" for="ch" forName="textaccent3" refType="h" fact="0.1786"/>
          <dgm:constr type="w" for="ch" forName="textaccent3" refType="w" fact="0.022"/>
          <dgm:constr type="h" for="ch" forName="textaccent3" refType="h" fact="0.0364"/>
          <dgm:constr type="l" for="ch" forName="imageaccent3" refType="w" fact="0.3299"/>
          <dgm:constr type="t" for="ch" forName="imageaccent3" refType="h" fact="0.1376"/>
          <dgm:constr type="w" for="ch" forName="imageaccent3" refType="w" fact="0.022"/>
          <dgm:constr type="h" for="ch" forName="imageaccent3" refType="h" fact="0.0364"/>
          <dgm:constr type="l" for="ch" forName="textaccent4" refType="w" fact="0.65"/>
          <dgm:constr type="t" for="ch" forName="textaccent4" refType="h" fact="0.3096"/>
          <dgm:constr type="w" for="ch" forName="textaccent4" refType="w" fact="0.022"/>
          <dgm:constr type="h" for="ch" forName="textaccent4" refType="h" fact="0.0364"/>
          <dgm:constr type="l" for="ch" forName="imageaccent4" refType="w" fact="0.6859"/>
          <dgm:constr type="t" for="ch" forName="imageaccent4" refType="h" fact="0.3522"/>
          <dgm:constr type="w" for="ch" forName="imageaccent4" refType="w" fact="0.022"/>
          <dgm:constr type="h" for="ch" forName="imageaccent4" refType="h" fact="0.0364"/>
          <dgm:constr type="l" for="ch" forName="textaccent5" refType="w" fact="0.8123"/>
          <dgm:constr type="t" for="ch" forName="textaccent5" refType="h" fact="0.1425"/>
          <dgm:constr type="w" for="ch" forName="textaccent5" refType="w" fact="0.022"/>
          <dgm:constr type="h" for="ch" forName="textaccent5" refType="h" fact="0.0364"/>
          <dgm:constr type="l" for="ch" forName="imageaccent5" refType="w" fact="0.849"/>
          <dgm:constr type="t" for="ch" forName="imageaccent5" refType="h" fact="0.1835"/>
          <dgm:constr type="w" for="ch" forName="imageaccent5" refType="w" fact="0.022"/>
          <dgm:constr type="h" for="ch" forName="imageaccent5" refType="h" fact="0.0364"/>
          <dgm:constr type="l" for="ch" forName="image6" refType="w" fact="0.6491"/>
          <dgm:constr type="t" for="ch" forName="image6" refType="h" fact="0.6894"/>
          <dgm:constr type="w" for="ch" forName="image6" refType="w" fact="0.1886"/>
          <dgm:constr type="h" for="ch" forName="image6" refType="h" fact="0.3106"/>
          <dgm:constr type="l" for="ch" forName="text6" refType="w" fact="0.8114"/>
          <dgm:constr type="t" for="ch" forName="text6" refType="h" fact="0.5194"/>
          <dgm:constr type="w" for="ch" forName="text6" refType="w" fact="0.1886"/>
          <dgm:constr type="h" for="ch" forName="text6" refType="h" fact="0.3106"/>
          <dgm:constr type="l" for="ch" forName="imageaccent6" refType="w" fact="0.8138"/>
          <dgm:constr type="t" for="ch" forName="imageaccent6" refType="h" fact="0.8257"/>
          <dgm:constr type="w" for="ch" forName="imageaccent6" refType="w" fact="0.022"/>
          <dgm:constr type="h" for="ch" forName="imageaccent6" refType="h" fact="0.0364"/>
          <dgm:constr type="l" for="ch" forName="textaccent6" refType="w" fact="0.8488"/>
          <dgm:constr type="t" for="ch" forName="textaccent6" refType="h" fact="0.7914"/>
          <dgm:constr type="w" for="ch" forName="textaccent6" refType="w" fact="0.022"/>
          <dgm:constr type="h" for="ch" forName="textaccent6" refType="h" fact="0.0364"/>
        </dgm:constrLst>
      </dgm:if>
      <dgm:if name="Name8" axis="ch" ptType="node" func="cnt" op="equ" val="7">
        <dgm:alg type="composite">
          <dgm:param type="ar" val="1.6382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2961"/>
          <dgm:constr type="w" for="ch" forName="image4" refType="w" fact="0.1886"/>
          <dgm:constr type="h" for="ch" forName="image4" refType="h" fact="0.2653"/>
          <dgm:constr type="l" for="ch" forName="text5" refType="w" fact="0.6491"/>
          <dgm:constr type="t" for="ch" forName="text5" refType="h" fact="0.0028"/>
          <dgm:constr type="w" for="ch" forName="text5" refType="w" fact="0.1886"/>
          <dgm:constr type="h" for="ch" forName="text5" refType="h" fact="0.2653"/>
          <dgm:constr type="l" for="ch" forName="image5" refType="w" fact="0.8114"/>
          <dgm:constr type="t" for="ch" forName="image5" refType="h" fact="0.1508"/>
          <dgm:constr type="w" for="ch" forName="image5" refType="w" fact="0.1886"/>
          <dgm:constr type="h" for="ch" forName="image5" refType="h" fact="0.2653"/>
          <dgm:constr type="l" for="ch" forName="image2" refType="w" fact="0.4868"/>
          <dgm:constr type="t" for="ch" forName="image2" refType="h" fact="0.4402"/>
          <dgm:constr type="w" for="ch" forName="image2" refType="w" fact="0.1886"/>
          <dgm:constr type="h" for="ch" forName="image2" refType="h" fact="0.2653"/>
          <dgm:constr type="l" for="ch" forName="text4" refType="w" fact="0.4868"/>
          <dgm:constr type="t" for="ch" forName="text4" refType="h" fact="0.1469"/>
          <dgm:constr type="w" for="ch" forName="text4" refType="w" fact="0.1886"/>
          <dgm:constr type="h" for="ch" forName="text4" refType="h" fact="0.2653"/>
          <dgm:constr type="l" for="ch" forName="text2" refType="w" fact="0.3246"/>
          <dgm:constr type="t" for="ch" forName="text2" refType="h" fact="0.2933"/>
          <dgm:constr type="w" for="ch" forName="text2" refType="w" fact="0.1886"/>
          <dgm:constr type="h" for="ch" forName="text2" refType="h" fact="0.2653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2653"/>
          <dgm:constr type="l" for="ch" forName="text1" refType="w" fact="0.1623"/>
          <dgm:constr type="t" for="ch" forName="text1" refType="h" fact="0.4408"/>
          <dgm:constr type="w" for="ch" forName="text1" refType="w" fact="0.1886"/>
          <dgm:constr type="h" for="ch" forName="text1" refType="h" fact="0.2653"/>
          <dgm:constr type="l" for="ch" forName="text3" refType="w" fact="0.1623"/>
          <dgm:constr type="t" for="ch" forName="text3" refType="h" fact="0.1475"/>
          <dgm:constr type="w" for="ch" forName="text3" refType="w" fact="0.1886"/>
          <dgm:constr type="h" for="ch" forName="text3" refType="h" fact="0.2653"/>
          <dgm:constr type="l" for="ch" forName="textaccent1" refType="w" fact="0.1668"/>
          <dgm:constr type="t" for="ch" forName="textaccent1" refType="h" fact="0.5594"/>
          <dgm:constr type="w" for="ch" forName="textaccent1" refType="w" fact="0.022"/>
          <dgm:constr type="h" for="ch" forName="textaccent1" refType="h" fact="0.0311"/>
          <dgm:constr type="l" for="ch" forName="image1" refType="w" fact="0"/>
          <dgm:constr type="t" for="ch" forName="image1" refType="h" fact="0.2941"/>
          <dgm:constr type="w" for="ch" forName="image1" refType="w" fact="0.1886"/>
          <dgm:constr type="h" for="ch" forName="image1" refType="h" fact="0.2653"/>
          <dgm:constr type="l" for="ch" forName="imageaccent1" refType="w" fact="0.1292"/>
          <dgm:constr type="t" for="ch" forName="imageaccent1" refType="h" fact="0.5242"/>
          <dgm:constr type="w" for="ch" forName="imageaccent1" refType="w" fact="0.022"/>
          <dgm:constr type="h" for="ch" forName="imageaccent1" refType="h" fact="0.0311"/>
          <dgm:constr type="l" for="ch" forName="textaccent2" refType="w" fact="0.4544"/>
          <dgm:constr type="t" for="ch" forName="textaccent2" refType="h" fact="0.5228"/>
          <dgm:constr type="w" for="ch" forName="textaccent2" refType="w" fact="0.022"/>
          <dgm:constr type="h" for="ch" forName="textaccent2" refType="h" fact="0.0311"/>
          <dgm:constr type="l" for="ch" forName="imageaccent2" refType="w" fact="0.4914"/>
          <dgm:constr type="t" for="ch" forName="imageaccent2" refType="h" fact="0.5583"/>
          <dgm:constr type="w" for="ch" forName="imageaccent2" refType="w" fact="0.022"/>
          <dgm:constr type="h" for="ch" forName="imageaccent2" refType="h" fact="0.0311"/>
          <dgm:constr type="l" for="ch" forName="textaccent3" refType="w" fact="0.2907"/>
          <dgm:constr type="t" for="ch" forName="textaccent3" refType="h" fact="0.1511"/>
          <dgm:constr type="w" for="ch" forName="textaccent3" refType="w" fact="0.022"/>
          <dgm:constr type="h" for="ch" forName="textaccent3" refType="h" fact="0.0311"/>
          <dgm:constr type="l" for="ch" forName="imageaccent3" refType="w" fact="0.3299"/>
          <dgm:constr type="t" for="ch" forName="imageaccent3" refType="h" fact="0.1175"/>
          <dgm:constr type="w" for="ch" forName="imageaccent3" refType="w" fact="0.022"/>
          <dgm:constr type="h" for="ch" forName="imageaccent3" refType="h" fact="0.0311"/>
          <dgm:constr type="l" for="ch" forName="textaccent4" refType="w" fact="0.65"/>
          <dgm:constr type="t" for="ch" forName="textaccent4" refType="h" fact="0.2645"/>
          <dgm:constr type="w" for="ch" forName="textaccent4" refType="w" fact="0.022"/>
          <dgm:constr type="h" for="ch" forName="textaccent4" refType="h" fact="0.0311"/>
          <dgm:constr type="l" for="ch" forName="imageaccent4" refType="w" fact="0.6859"/>
          <dgm:constr type="t" for="ch" forName="imageaccent4" refType="h" fact="0.3008"/>
          <dgm:constr type="w" for="ch" forName="imageaccent4" refType="w" fact="0.022"/>
          <dgm:constr type="h" for="ch" forName="imageaccent4" refType="h" fact="0.0311"/>
          <dgm:constr type="l" for="ch" forName="textaccent5" refType="w" fact="0.8123"/>
          <dgm:constr type="t" for="ch" forName="textaccent5" refType="h" fact="0.1217"/>
          <dgm:constr type="w" for="ch" forName="textaccent5" refType="w" fact="0.022"/>
          <dgm:constr type="h" for="ch" forName="textaccent5" refType="h" fact="0.0311"/>
          <dgm:constr type="l" for="ch" forName="imageaccent5" refType="w" fact="0.849"/>
          <dgm:constr type="t" for="ch" forName="imageaccent5" refType="h" fact="0.1567"/>
          <dgm:constr type="w" for="ch" forName="imageaccent5" refType="w" fact="0.022"/>
          <dgm:constr type="h" for="ch" forName="imageaccent5" refType="h" fact="0.0311"/>
          <dgm:constr type="l" for="ch" forName="image6" refType="w" fact="0.6491"/>
          <dgm:constr type="t" for="ch" forName="image6" refType="h" fact="0.5889"/>
          <dgm:constr type="w" for="ch" forName="image6" refType="w" fact="0.1886"/>
          <dgm:constr type="h" for="ch" forName="image6" refType="h" fact="0.2653"/>
          <dgm:constr type="l" for="ch" forName="text6" refType="w" fact="0.8114"/>
          <dgm:constr type="t" for="ch" forName="text6" refType="h" fact="0.4436"/>
          <dgm:constr type="w" for="ch" forName="text6" refType="w" fact="0.1886"/>
          <dgm:constr type="h" for="ch" forName="text6" refType="h" fact="0.2653"/>
          <dgm:constr type="l" for="ch" forName="imageaccent6" refType="w" fact="0.8138"/>
          <dgm:constr type="t" for="ch" forName="imageaccent6" refType="h" fact="0.7053"/>
          <dgm:constr type="w" for="ch" forName="imageaccent6" refType="w" fact="0.022"/>
          <dgm:constr type="h" for="ch" forName="imageaccent6" refType="h" fact="0.0311"/>
          <dgm:constr type="l" for="ch" forName="textaccent6" refType="w" fact="0.8488"/>
          <dgm:constr type="t" for="ch" forName="textaccent6" refType="h" fact="0.676"/>
          <dgm:constr type="w" for="ch" forName="textaccent6" refType="w" fact="0.022"/>
          <dgm:constr type="h" for="ch" forName="textaccent6" refType="h" fact="0.0311"/>
          <dgm:constr type="l" for="ch" forName="text7" refType="w" fact="0.3244"/>
          <dgm:constr type="t" for="ch" forName="text7" refType="h" fact="0.5872"/>
          <dgm:constr type="w" for="ch" forName="text7" refType="w" fact="0.1886"/>
          <dgm:constr type="h" for="ch" forName="text7" refType="h" fact="0.2653"/>
          <dgm:constr type="l" for="ch" forName="image7" refType="w" fact="0.1622"/>
          <dgm:constr type="t" for="ch" forName="image7" refType="h" fact="0.7347"/>
          <dgm:constr type="w" for="ch" forName="image7" refType="w" fact="0.1886"/>
          <dgm:constr type="h" for="ch" forName="image7" refType="h" fact="0.2653"/>
          <dgm:constr type="l" for="ch" forName="imageaccent7" refType="w" fact="0.2905"/>
          <dgm:constr type="t" for="ch" forName="imageaccent7" refType="h" fact="0.7384"/>
          <dgm:constr type="w" for="ch" forName="imageaccent7" refType="w" fact="0.022"/>
          <dgm:constr type="h" for="ch" forName="imageaccent7" refType="h" fact="0.0311"/>
          <dgm:constr type="l" for="ch" forName="textaccent7" refType="w" fact="0.3298"/>
          <dgm:constr type="t" for="ch" forName="textaccent7" refType="h" fact="0.7048"/>
          <dgm:constr type="w" for="ch" forName="textaccent7" refType="w" fact="0.022"/>
          <dgm:constr type="h" for="ch" forName="textaccent7" refType="h" fact="0.0311"/>
        </dgm:constrLst>
      </dgm:if>
      <dgm:if name="Name9" axis="ch" ptType="node" func="cnt" op="equ" val="8">
        <dgm:alg type="composite">
          <dgm:param type="ar" val="1.8974"/>
        </dgm:alg>
        <dgm:constrLst>
          <dgm:constr type="primFontSz" for="des" ptType="node" op="equ" val="65"/>
          <dgm:constr type="l" for="ch" forName="image4" refType="w" fact="0.5589"/>
          <dgm:constr type="t" for="ch" forName="image4" refType="h" fact="0.2952"/>
          <dgm:constr type="w" for="ch" forName="image4" refType="w" fact="0.1624"/>
          <dgm:constr type="h" for="ch" forName="image4" refType="h" fact="0.2645"/>
          <dgm:constr type="l" for="ch" forName="text5" refType="w" fact="0.5589"/>
          <dgm:constr type="t" for="ch" forName="text5" refType="h" fact="0.0028"/>
          <dgm:constr type="w" for="ch" forName="text5" refType="w" fact="0.1624"/>
          <dgm:constr type="h" for="ch" forName="text5" refType="h" fact="0.2645"/>
          <dgm:constr type="l" for="ch" forName="image5" refType="w" fact="0.6986"/>
          <dgm:constr type="t" for="ch" forName="image5" refType="h" fact="0.1504"/>
          <dgm:constr type="w" for="ch" forName="image5" refType="w" fact="0.1624"/>
          <dgm:constr type="h" for="ch" forName="image5" refType="h" fact="0.2645"/>
          <dgm:constr type="l" for="ch" forName="image2" refType="w" fact="0.4192"/>
          <dgm:constr type="t" for="ch" forName="image2" refType="h" fact="0.439"/>
          <dgm:constr type="w" for="ch" forName="image2" refType="w" fact="0.1624"/>
          <dgm:constr type="h" for="ch" forName="image2" refType="h" fact="0.2645"/>
          <dgm:constr type="l" for="ch" forName="text4" refType="w" fact="0.4192"/>
          <dgm:constr type="t" for="ch" forName="text4" refType="h" fact="0.1465"/>
          <dgm:constr type="w" for="ch" forName="text4" refType="w" fact="0.1624"/>
          <dgm:constr type="h" for="ch" forName="text4" refType="h" fact="0.2645"/>
          <dgm:constr type="l" for="ch" forName="text2" refType="w" fact="0.2794"/>
          <dgm:constr type="t" for="ch" forName="text2" refType="h" fact="0.2925"/>
          <dgm:constr type="w" for="ch" forName="text2" refType="w" fact="0.1624"/>
          <dgm:constr type="h" for="ch" forName="text2" refType="h" fact="0.2645"/>
          <dgm:constr type="l" for="ch" forName="image3" refType="w" fact="0.2794"/>
          <dgm:constr type="t" for="ch" forName="image3" refType="h" fact="0"/>
          <dgm:constr type="w" for="ch" forName="image3" refType="w" fact="0.1624"/>
          <dgm:constr type="h" for="ch" forName="image3" refType="h" fact="0.2645"/>
          <dgm:constr type="l" for="ch" forName="text1" refType="w" fact="0.1397"/>
          <dgm:constr type="t" for="ch" forName="text1" refType="h" fact="0.4395"/>
          <dgm:constr type="w" for="ch" forName="text1" refType="w" fact="0.1624"/>
          <dgm:constr type="h" for="ch" forName="text1" refType="h" fact="0.2645"/>
          <dgm:constr type="l" for="ch" forName="text3" refType="w" fact="0.1397"/>
          <dgm:constr type="t" for="ch" forName="text3" refType="h" fact="0.1471"/>
          <dgm:constr type="w" for="ch" forName="text3" refType="w" fact="0.1624"/>
          <dgm:constr type="h" for="ch" forName="text3" refType="h" fact="0.2645"/>
          <dgm:constr type="l" for="ch" forName="textaccent1" refType="w" fact="0.1436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4"/>
          <dgm:constr type="h" for="ch" forName="image1" refType="h" fact="0.2645"/>
          <dgm:constr type="l" for="ch" forName="imageaccent1" refType="w" fact="0.1112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2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31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2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41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6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5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93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1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9"/>
          <dgm:constr type="t" for="ch" forName="image6" refType="h" fact="0.5872"/>
          <dgm:constr type="w" for="ch" forName="image6" refType="w" fact="0.1624"/>
          <dgm:constr type="h" for="ch" forName="image6" refType="h" fact="0.2645"/>
          <dgm:constr type="l" for="ch" forName="text6" refType="w" fact="0.6986"/>
          <dgm:constr type="t" for="ch" forName="text6" refType="h" fact="0.4424"/>
          <dgm:constr type="w" for="ch" forName="text6" refType="w" fact="0.1624"/>
          <dgm:constr type="h" for="ch" forName="text6" refType="h" fact="0.2645"/>
          <dgm:constr type="l" for="ch" forName="imageaccent6" refType="w" fact="0.7007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8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3"/>
          <dgm:constr type="t" for="ch" forName="text7" refType="h" fact="0.5856"/>
          <dgm:constr type="w" for="ch" forName="text7" refType="w" fact="0.1624"/>
          <dgm:constr type="h" for="ch" forName="text7" refType="h" fact="0.2645"/>
          <dgm:constr type="l" for="ch" forName="image7" refType="w" fact="0.1396"/>
          <dgm:constr type="t" for="ch" forName="image7" refType="h" fact="0.7326"/>
          <dgm:constr type="w" for="ch" forName="image7" refType="w" fact="0.1624"/>
          <dgm:constr type="h" for="ch" forName="image7" refType="h" fact="0.2645"/>
          <dgm:constr type="l" for="ch" forName="imageaccent7" refType="w" fact="0.2501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4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9"/>
          <dgm:constr type="t" for="ch" forName="image8" refType="h" fact="0.7355"/>
          <dgm:constr type="w" for="ch" forName="image8" refType="w" fact="0.1624"/>
          <dgm:constr type="h" for="ch" forName="image8" refType="h" fact="0.2645"/>
          <dgm:constr type="l" for="ch" forName="text8" refType="w" fact="0.8376"/>
          <dgm:constr type="t" for="ch" forName="text8" refType="h" fact="0.5906"/>
          <dgm:constr type="w" for="ch" forName="text8" refType="w" fact="0.1624"/>
          <dgm:constr type="h" for="ch" forName="text8" refType="h" fact="0.2645"/>
          <dgm:constr type="l" for="ch" forName="imageaccent8" refType="w" fact="0.8397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8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</dgm:constrLst>
      </dgm:if>
      <dgm:if name="Name10" axis="ch" ptType="node" func="cnt" op="equ" val="9">
        <dgm:alg type="composite">
          <dgm:param type="ar" val="1.8986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952"/>
          <dgm:constr type="w" for="ch" forName="image4" refType="w" fact="0.1623"/>
          <dgm:constr type="h" for="ch" forName="image4" refType="h" fact="0.2645"/>
          <dgm:constr type="l" for="ch" forName="text5" refType="w" fact="0.5585"/>
          <dgm:constr type="t" for="ch" forName="text5" refType="h" fact="0.0028"/>
          <dgm:constr type="w" for="ch" forName="text5" refType="w" fact="0.1623"/>
          <dgm:constr type="h" for="ch" forName="text5" refType="h" fact="0.2645"/>
          <dgm:constr type="l" for="ch" forName="image5" refType="w" fact="0.6982"/>
          <dgm:constr type="t" for="ch" forName="image5" refType="h" fact="0.1504"/>
          <dgm:constr type="w" for="ch" forName="image5" refType="w" fact="0.1623"/>
          <dgm:constr type="h" for="ch" forName="image5" refType="h" fact="0.2645"/>
          <dgm:constr type="l" for="ch" forName="image2" refType="w" fact="0.4189"/>
          <dgm:constr type="t" for="ch" forName="image2" refType="h" fact="0.439"/>
          <dgm:constr type="w" for="ch" forName="image2" refType="w" fact="0.1623"/>
          <dgm:constr type="h" for="ch" forName="image2" refType="h" fact="0.2645"/>
          <dgm:constr type="l" for="ch" forName="text4" refType="w" fact="0.4189"/>
          <dgm:constr type="t" for="ch" forName="text4" refType="h" fact="0.1465"/>
          <dgm:constr type="w" for="ch" forName="text4" refType="w" fact="0.1623"/>
          <dgm:constr type="h" for="ch" forName="text4" refType="h" fact="0.2645"/>
          <dgm:constr type="l" for="ch" forName="text2" refType="w" fact="0.2793"/>
          <dgm:constr type="t" for="ch" forName="text2" refType="h" fact="0.2925"/>
          <dgm:constr type="w" for="ch" forName="text2" refType="w" fact="0.1623"/>
          <dgm:constr type="h" for="ch" forName="text2" refType="h" fact="0.2645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645"/>
          <dgm:constr type="l" for="ch" forName="text1" refType="w" fact="0.1396"/>
          <dgm:constr type="t" for="ch" forName="text1" refType="h" fact="0.4395"/>
          <dgm:constr type="w" for="ch" forName="text1" refType="w" fact="0.1623"/>
          <dgm:constr type="h" for="ch" forName="text1" refType="h" fact="0.2645"/>
          <dgm:constr type="l" for="ch" forName="text3" refType="w" fact="0.1396"/>
          <dgm:constr type="t" for="ch" forName="text3" refType="h" fact="0.1471"/>
          <dgm:constr type="w" for="ch" forName="text3" refType="w" fact="0.1623"/>
          <dgm:constr type="h" for="ch" forName="text3" refType="h" fact="0.2645"/>
          <dgm:constr type="l" for="ch" forName="textaccent1" refType="w" fact="0.1435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3"/>
          <dgm:constr type="h" for="ch" forName="image1" refType="h" fact="0.2645"/>
          <dgm:constr type="l" for="ch" forName="imageaccent1" refType="w" fact="0.1111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28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1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39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3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1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89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05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5"/>
          <dgm:constr type="t" for="ch" forName="image6" refType="h" fact="0.5872"/>
          <dgm:constr type="w" for="ch" forName="image6" refType="w" fact="0.1623"/>
          <dgm:constr type="h" for="ch" forName="image6" refType="h" fact="0.2645"/>
          <dgm:constr type="l" for="ch" forName="text6" refType="w" fact="0.6982"/>
          <dgm:constr type="t" for="ch" forName="text6" refType="h" fact="0.4424"/>
          <dgm:constr type="w" for="ch" forName="text6" refType="w" fact="0.1623"/>
          <dgm:constr type="h" for="ch" forName="text6" refType="h" fact="0.2645"/>
          <dgm:constr type="l" for="ch" forName="imageaccent6" refType="w" fact="0.7002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3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2"/>
          <dgm:constr type="t" for="ch" forName="text7" refType="h" fact="0.5856"/>
          <dgm:constr type="w" for="ch" forName="text7" refType="w" fact="0.1623"/>
          <dgm:constr type="h" for="ch" forName="text7" refType="h" fact="0.2645"/>
          <dgm:constr type="l" for="ch" forName="image7" refType="w" fact="0.1395"/>
          <dgm:constr type="t" for="ch" forName="image7" refType="h" fact="0.7326"/>
          <dgm:constr type="w" for="ch" forName="image7" refType="w" fact="0.1623"/>
          <dgm:constr type="h" for="ch" forName="image7" refType="h" fact="0.2645"/>
          <dgm:constr type="l" for="ch" forName="imageaccent7" refType="w" fact="0.25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38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5"/>
          <dgm:constr type="t" for="ch" forName="image8" refType="h" fact="0.7355"/>
          <dgm:constr type="w" for="ch" forName="image8" refType="w" fact="0.1623"/>
          <dgm:constr type="h" for="ch" forName="image8" refType="h" fact="0.2645"/>
          <dgm:constr type="l" for="ch" forName="text8" refType="w" fact="0.8371"/>
          <dgm:constr type="t" for="ch" forName="text8" refType="h" fact="0.5906"/>
          <dgm:constr type="w" for="ch" forName="text8" refType="w" fact="0.1623"/>
          <dgm:constr type="h" for="ch" forName="text8" refType="h" fact="0.2645"/>
          <dgm:constr type="l" for="ch" forName="imageaccent8" refType="w" fact="0.8392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3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  <dgm:constr type="l" for="ch" forName="text9" refType="w" fact="0.8377"/>
          <dgm:constr type="t" for="ch" forName="text9" refType="h" fact="0.0057"/>
          <dgm:constr type="w" for="ch" forName="text9" refType="w" fact="0.1623"/>
          <dgm:constr type="h" for="ch" forName="text9" refType="h" fact="0.2645"/>
          <dgm:constr type="l" for="ch" forName="textaccent9" refType="w" fact="0.95"/>
          <dgm:constr type="t" for="ch" forName="textaccent9" refType="h" fact="0.2383"/>
          <dgm:constr type="w" for="ch" forName="textaccent9" refType="w" fact="0.0189"/>
          <dgm:constr type="h" for="ch" forName="textaccent9" refType="h" fact="0.031"/>
          <dgm:constr type="l" for="ch" forName="image9" refType="w" fact="0.8377"/>
          <dgm:constr type="t" for="ch" forName="image9" refType="h" fact="0.2977"/>
          <dgm:constr type="w" for="ch" forName="image9" refType="w" fact="0.1623"/>
          <dgm:constr type="h" for="ch" forName="image9" refType="h" fact="0.2645"/>
          <dgm:constr type="l" for="ch" forName="imageaccent9" refType="w" fact="0.95"/>
          <dgm:constr type="t" for="ch" forName="imageaccent9" refType="h" fact="0.2993"/>
          <dgm:constr type="w" for="ch" forName="imageaccent9" refType="w" fact="0.0189"/>
          <dgm:constr type="h" for="ch" forName="imageaccent9" refType="h" fact="0.031"/>
        </dgm:constrLst>
      </dgm:if>
      <dgm:if name="Name11" axis="ch" ptType="node" func="cnt" op="equ" val="10">
        <dgm:alg type="composite">
          <dgm:param type="ar" val="1.6608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583"/>
          <dgm:constr type="w" for="ch" forName="image4" refType="w" fact="0.1623"/>
          <dgm:constr type="h" for="ch" forName="image4" refType="h" fact="0.2314"/>
          <dgm:constr type="l" for="ch" forName="text5" refType="w" fact="0.5585"/>
          <dgm:constr type="t" for="ch" forName="text5" refType="h" fact="0.0024"/>
          <dgm:constr type="w" for="ch" forName="text5" refType="w" fact="0.1623"/>
          <dgm:constr type="h" for="ch" forName="text5" refType="h" fact="0.2314"/>
          <dgm:constr type="l" for="ch" forName="image5" refType="w" fact="0.6982"/>
          <dgm:constr type="t" for="ch" forName="image5" refType="h" fact="0.1316"/>
          <dgm:constr type="w" for="ch" forName="image5" refType="w" fact="0.1623"/>
          <dgm:constr type="h" for="ch" forName="image5" refType="h" fact="0.2314"/>
          <dgm:constr type="l" for="ch" forName="image2" refType="w" fact="0.4189"/>
          <dgm:constr type="t" for="ch" forName="image2" refType="h" fact="0.384"/>
          <dgm:constr type="w" for="ch" forName="image2" refType="w" fact="0.1623"/>
          <dgm:constr type="h" for="ch" forName="image2" refType="h" fact="0.2314"/>
          <dgm:constr type="l" for="ch" forName="text4" refType="w" fact="0.4189"/>
          <dgm:constr type="t" for="ch" forName="text4" refType="h" fact="0.1282"/>
          <dgm:constr type="w" for="ch" forName="text4" refType="w" fact="0.1623"/>
          <dgm:constr type="h" for="ch" forName="text4" refType="h" fact="0.2314"/>
          <dgm:constr type="l" for="ch" forName="text2" refType="w" fact="0.2793"/>
          <dgm:constr type="t" for="ch" forName="text2" refType="h" fact="0.2558"/>
          <dgm:constr type="w" for="ch" forName="text2" refType="w" fact="0.1623"/>
          <dgm:constr type="h" for="ch" forName="text2" refType="h" fact="0.2314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314"/>
          <dgm:constr type="l" for="ch" forName="text1" refType="w" fact="0.1396"/>
          <dgm:constr type="t" for="ch" forName="text1" refType="h" fact="0.3845"/>
          <dgm:constr type="w" for="ch" forName="text1" refType="w" fact="0.1623"/>
          <dgm:constr type="h" for="ch" forName="text1" refType="h" fact="0.2314"/>
          <dgm:constr type="l" for="ch" forName="text3" refType="w" fact="0.1396"/>
          <dgm:constr type="t" for="ch" forName="text3" refType="h" fact="0.1286"/>
          <dgm:constr type="w" for="ch" forName="text3" refType="w" fact="0.1623"/>
          <dgm:constr type="h" for="ch" forName="text3" refType="h" fact="0.2314"/>
          <dgm:constr type="l" for="ch" forName="textaccent1" refType="w" fact="0.1435"/>
          <dgm:constr type="t" for="ch" forName="textaccent1" refType="h" fact="0.488"/>
          <dgm:constr type="w" for="ch" forName="textaccent1" refType="w" fact="0.0189"/>
          <dgm:constr type="h" for="ch" forName="textaccent1" refType="h" fact="0.0271"/>
          <dgm:constr type="l" for="ch" forName="image1" refType="w" fact="0"/>
          <dgm:constr type="t" for="ch" forName="image1" refType="h" fact="0.2566"/>
          <dgm:constr type="w" for="ch" forName="image1" refType="w" fact="0.1623"/>
          <dgm:constr type="h" for="ch" forName="image1" refType="h" fact="0.2314"/>
          <dgm:constr type="l" for="ch" forName="imageaccent1" refType="w" fact="0.1111"/>
          <dgm:constr type="t" for="ch" forName="imageaccent1" refType="h" fact="0.4572"/>
          <dgm:constr type="w" for="ch" forName="imageaccent1" refType="w" fact="0.0189"/>
          <dgm:constr type="h" for="ch" forName="imageaccent1" refType="h" fact="0.0271"/>
          <dgm:constr type="l" for="ch" forName="textaccent2" refType="w" fact="0.391"/>
          <dgm:constr type="t" for="ch" forName="textaccent2" refType="h" fact="0.456"/>
          <dgm:constr type="w" for="ch" forName="textaccent2" refType="w" fact="0.0189"/>
          <dgm:constr type="h" for="ch" forName="textaccent2" refType="h" fact="0.0271"/>
          <dgm:constr type="l" for="ch" forName="imageaccent2" refType="w" fact="0.4228"/>
          <dgm:constr type="t" for="ch" forName="imageaccent2" refType="h" fact="0.487"/>
          <dgm:constr type="w" for="ch" forName="imageaccent2" refType="w" fact="0.0189"/>
          <dgm:constr type="h" for="ch" forName="imageaccent2" refType="h" fact="0.0271"/>
          <dgm:constr type="l" for="ch" forName="textaccent3" refType="w" fact="0.2501"/>
          <dgm:constr type="t" for="ch" forName="textaccent3" refType="h" fact="0.1318"/>
          <dgm:constr type="w" for="ch" forName="textaccent3" refType="w" fact="0.0189"/>
          <dgm:constr type="h" for="ch" forName="textaccent3" refType="h" fact="0.0271"/>
          <dgm:constr type="l" for="ch" forName="imageaccent3" refType="w" fact="0.2839"/>
          <dgm:constr type="t" for="ch" forName="imageaccent3" refType="h" fact="0.1025"/>
          <dgm:constr type="w" for="ch" forName="imageaccent3" refType="w" fact="0.0189"/>
          <dgm:constr type="h" for="ch" forName="imageaccent3" refType="h" fact="0.0271"/>
          <dgm:constr type="l" for="ch" forName="textaccent4" refType="w" fact="0.5593"/>
          <dgm:constr type="t" for="ch" forName="textaccent4" refType="h" fact="0.2307"/>
          <dgm:constr type="w" for="ch" forName="textaccent4" refType="w" fact="0.0189"/>
          <dgm:constr type="h" for="ch" forName="textaccent4" refType="h" fact="0.0271"/>
          <dgm:constr type="l" for="ch" forName="imageaccent4" refType="w" fact="0.5901"/>
          <dgm:constr type="t" for="ch" forName="imageaccent4" refType="h" fact="0.2624"/>
          <dgm:constr type="w" for="ch" forName="imageaccent4" refType="w" fact="0.0189"/>
          <dgm:constr type="h" for="ch" forName="imageaccent4" refType="h" fact="0.0271"/>
          <dgm:constr type="l" for="ch" forName="textaccent5" refType="w" fact="0.6989"/>
          <dgm:constr type="t" for="ch" forName="textaccent5" refType="h" fact="0.1062"/>
          <dgm:constr type="w" for="ch" forName="textaccent5" refType="w" fact="0.0189"/>
          <dgm:constr type="h" for="ch" forName="textaccent5" refType="h" fact="0.0271"/>
          <dgm:constr type="l" for="ch" forName="imageaccent5" refType="w" fact="0.7305"/>
          <dgm:constr type="t" for="ch" forName="imageaccent5" refType="h" fact="0.1367"/>
          <dgm:constr type="w" for="ch" forName="imageaccent5" refType="w" fact="0.0189"/>
          <dgm:constr type="h" for="ch" forName="imageaccent5" refType="h" fact="0.0271"/>
          <dgm:constr type="l" for="ch" forName="image6" refType="w" fact="0.5585"/>
          <dgm:constr type="t" for="ch" forName="image6" refType="h" fact="0.5137"/>
          <dgm:constr type="w" for="ch" forName="image6" refType="w" fact="0.1623"/>
          <dgm:constr type="h" for="ch" forName="image6" refType="h" fact="0.2314"/>
          <dgm:constr type="l" for="ch" forName="text6" refType="w" fact="0.6982"/>
          <dgm:constr type="t" for="ch" forName="text6" refType="h" fact="0.387"/>
          <dgm:constr type="w" for="ch" forName="text6" refType="w" fact="0.1623"/>
          <dgm:constr type="h" for="ch" forName="text6" refType="h" fact="0.2314"/>
          <dgm:constr type="l" for="ch" forName="imageaccent6" refType="w" fact="0.7002"/>
          <dgm:constr type="t" for="ch" forName="imageaccent6" refType="h" fact="0.6152"/>
          <dgm:constr type="w" for="ch" forName="imageaccent6" refType="w" fact="0.0189"/>
          <dgm:constr type="h" for="ch" forName="imageaccent6" refType="h" fact="0.0271"/>
          <dgm:constr type="l" for="ch" forName="textaccent6" refType="w" fact="0.7303"/>
          <dgm:constr type="t" for="ch" forName="textaccent6" refType="h" fact="0.5897"/>
          <dgm:constr type="w" for="ch" forName="textaccent6" refType="w" fact="0.0189"/>
          <dgm:constr type="h" for="ch" forName="textaccent6" refType="h" fact="0.0271"/>
          <dgm:constr type="l" for="ch" forName="text7" refType="w" fact="0.2792"/>
          <dgm:constr type="t" for="ch" forName="text7" refType="h" fact="0.5122"/>
          <dgm:constr type="w" for="ch" forName="text7" refType="w" fact="0.1623"/>
          <dgm:constr type="h" for="ch" forName="text7" refType="h" fact="0.2314"/>
          <dgm:constr type="l" for="ch" forName="image7" refType="w" fact="0.1395"/>
          <dgm:constr type="t" for="ch" forName="image7" refType="h" fact="0.6409"/>
          <dgm:constr type="w" for="ch" forName="image7" refType="w" fact="0.1623"/>
          <dgm:constr type="h" for="ch" forName="image7" refType="h" fact="0.2314"/>
          <dgm:constr type="l" for="ch" forName="imageaccent7" refType="w" fact="0.25"/>
          <dgm:constr type="t" for="ch" forName="imageaccent7" refType="h" fact="0.6441"/>
          <dgm:constr type="w" for="ch" forName="imageaccent7" refType="w" fact="0.0189"/>
          <dgm:constr type="h" for="ch" forName="imageaccent7" refType="h" fact="0.0271"/>
          <dgm:constr type="l" for="ch" forName="textaccent7" refType="w" fact="0.2838"/>
          <dgm:constr type="t" for="ch" forName="textaccent7" refType="h" fact="0.6148"/>
          <dgm:constr type="w" for="ch" forName="textaccent7" refType="w" fact="0.0189"/>
          <dgm:constr type="h" for="ch" forName="textaccent7" refType="h" fact="0.0271"/>
          <dgm:constr type="l" for="ch" forName="image8" refType="w" fact="0.6975"/>
          <dgm:constr type="t" for="ch" forName="image8" refType="h" fact="0.6433"/>
          <dgm:constr type="w" for="ch" forName="image8" refType="w" fact="0.1623"/>
          <dgm:constr type="h" for="ch" forName="image8" refType="h" fact="0.2314"/>
          <dgm:constr type="l" for="ch" forName="text8" refType="w" fact="0.8371"/>
          <dgm:constr type="t" for="ch" forName="text8" refType="h" fact="0.5167"/>
          <dgm:constr type="w" for="ch" forName="text8" refType="w" fact="0.1623"/>
          <dgm:constr type="h" for="ch" forName="text8" refType="h" fact="0.2314"/>
          <dgm:constr type="l" for="ch" forName="imageaccent8" refType="w" fact="0.8392"/>
          <dgm:constr type="t" for="ch" forName="imageaccent8" refType="h" fact="0.7449"/>
          <dgm:constr type="w" for="ch" forName="imageaccent8" refType="w" fact="0.0189"/>
          <dgm:constr type="h" for="ch" forName="imageaccent8" refType="h" fact="0.0271"/>
          <dgm:constr type="l" for="ch" forName="textaccent8" refType="w" fact="0.8693"/>
          <dgm:constr type="t" for="ch" forName="textaccent8" refType="h" fact="0.7194"/>
          <dgm:constr type="w" for="ch" forName="textaccent8" refType="w" fact="0.0189"/>
          <dgm:constr type="h" for="ch" forName="textaccent8" refType="h" fact="0.0271"/>
          <dgm:constr type="l" for="ch" forName="text9" refType="w" fact="0.8377"/>
          <dgm:constr type="t" for="ch" forName="text9" refType="h" fact="0.005"/>
          <dgm:constr type="w" for="ch" forName="text9" refType="w" fact="0.1623"/>
          <dgm:constr type="h" for="ch" forName="text9" refType="h" fact="0.2314"/>
          <dgm:constr type="l" for="ch" forName="textaccent9" refType="w" fact="0.95"/>
          <dgm:constr type="t" for="ch" forName="textaccent9" refType="h" fact="0.2084"/>
          <dgm:constr type="w" for="ch" forName="textaccent9" refType="w" fact="0.0189"/>
          <dgm:constr type="h" for="ch" forName="textaccent9" refType="h" fact="0.0271"/>
          <dgm:constr type="l" for="ch" forName="image9" refType="w" fact="0.8377"/>
          <dgm:constr type="t" for="ch" forName="image9" refType="h" fact="0.2604"/>
          <dgm:constr type="w" for="ch" forName="image9" refType="w" fact="0.1623"/>
          <dgm:constr type="h" for="ch" forName="image9" refType="h" fact="0.2314"/>
          <dgm:constr type="l" for="ch" forName="imageaccent9" refType="w" fact="0.95"/>
          <dgm:constr type="t" for="ch" forName="imageaccent9" refType="h" fact="0.2618"/>
          <dgm:constr type="w" for="ch" forName="imageaccent9" refType="w" fact="0.0189"/>
          <dgm:constr type="h" for="ch" forName="imageaccent9" refType="h" fact="0.0271"/>
          <dgm:constr type="l" for="ch" forName="image10" refType="w" fact="0.2786"/>
          <dgm:constr type="t" for="ch" forName="image10" refType="h" fact="0.7686"/>
          <dgm:constr type="w" for="ch" forName="image10" refType="w" fact="0.1623"/>
          <dgm:constr type="h" for="ch" forName="image10" refType="h" fact="0.2314"/>
          <dgm:constr type="l" for="ch" forName="text10" refType="w" fact="0.4183"/>
          <dgm:constr type="t" for="ch" forName="text10" refType="h" fact="0.6419"/>
          <dgm:constr type="w" for="ch" forName="text10" refType="w" fact="0.1623"/>
          <dgm:constr type="h" for="ch" forName="text10" refType="h" fact="0.2314"/>
          <dgm:constr type="l" for="ch" forName="imageaccent10" refType="w" fact="0.4203"/>
          <dgm:constr type="t" for="ch" forName="imageaccent10" refType="h" fact="0.8701"/>
          <dgm:constr type="w" for="ch" forName="imageaccent10" refType="w" fact="0.0189"/>
          <dgm:constr type="h" for="ch" forName="imageaccent10" refType="h" fact="0.0271"/>
          <dgm:constr type="l" for="ch" forName="textaccent10" refType="w" fact="0.4504"/>
          <dgm:constr type="t" for="ch" forName="textaccent10" refType="h" fact="0.8446"/>
          <dgm:constr type="w" for="ch" forName="textaccent10" refType="w" fact="0.0189"/>
          <dgm:constr type="h" for="ch" forName="textaccent10" refType="h" fact="0.0271"/>
        </dgm:constrLst>
      </dgm:if>
      <dgm:if name="Name12" axis="ch" ptType="node" func="cnt" op="equ" val="11">
        <dgm:alg type="composite">
          <dgm:param type="ar" val="1.4704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287"/>
          <dgm:constr type="w" for="ch" forName="image4" refType="w" fact="0.1623"/>
          <dgm:constr type="h" for="ch" forName="image4" refType="h" fact="0.2049"/>
          <dgm:constr type="l" for="ch" forName="text5" refType="w" fact="0.5585"/>
          <dgm:constr type="t" for="ch" forName="text5" refType="h" fact="0.0022"/>
          <dgm:constr type="w" for="ch" forName="text5" refType="w" fact="0.1623"/>
          <dgm:constr type="h" for="ch" forName="text5" refType="h" fact="0.2049"/>
          <dgm:constr type="l" for="ch" forName="image5" refType="w" fact="0.6982"/>
          <dgm:constr type="t" for="ch" forName="image5" refType="h" fact="0.1165"/>
          <dgm:constr type="w" for="ch" forName="image5" refType="w" fact="0.1623"/>
          <dgm:constr type="h" for="ch" forName="image5" refType="h" fact="0.2049"/>
          <dgm:constr type="l" for="ch" forName="image2" refType="w" fact="0.4189"/>
          <dgm:constr type="t" for="ch" forName="image2" refType="h" fact="0.34"/>
          <dgm:constr type="w" for="ch" forName="image2" refType="w" fact="0.1623"/>
          <dgm:constr type="h" for="ch" forName="image2" refType="h" fact="0.2049"/>
          <dgm:constr type="l" for="ch" forName="text4" refType="w" fact="0.4189"/>
          <dgm:constr type="t" for="ch" forName="text4" refType="h" fact="0.1135"/>
          <dgm:constr type="w" for="ch" forName="text4" refType="w" fact="0.1623"/>
          <dgm:constr type="h" for="ch" forName="text4" refType="h" fact="0.2049"/>
          <dgm:constr type="l" for="ch" forName="text2" refType="w" fact="0.2793"/>
          <dgm:constr type="t" for="ch" forName="text2" refType="h" fact="0.2265"/>
          <dgm:constr type="w" for="ch" forName="text2" refType="w" fact="0.1623"/>
          <dgm:constr type="h" for="ch" forName="text2" refType="h" fact="0.2049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049"/>
          <dgm:constr type="l" for="ch" forName="text1" refType="w" fact="0.1396"/>
          <dgm:constr type="t" for="ch" forName="text1" refType="h" fact="0.3404"/>
          <dgm:constr type="w" for="ch" forName="text1" refType="w" fact="0.1623"/>
          <dgm:constr type="h" for="ch" forName="text1" refType="h" fact="0.2049"/>
          <dgm:constr type="l" for="ch" forName="text3" refType="w" fact="0.1396"/>
          <dgm:constr type="t" for="ch" forName="text3" refType="h" fact="0.1139"/>
          <dgm:constr type="w" for="ch" forName="text3" refType="w" fact="0.1623"/>
          <dgm:constr type="h" for="ch" forName="text3" refType="h" fact="0.2049"/>
          <dgm:constr type="l" for="ch" forName="textaccent1" refType="w" fact="0.1435"/>
          <dgm:constr type="t" for="ch" forName="textaccent1" refType="h" fact="0.432"/>
          <dgm:constr type="w" for="ch" forName="textaccent1" refType="w" fact="0.0189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623"/>
          <dgm:constr type="h" for="ch" forName="image1" refType="h" fact="0.2049"/>
          <dgm:constr type="l" for="ch" forName="imageaccent1" refType="w" fact="0.1111"/>
          <dgm:constr type="t" for="ch" forName="imageaccent1" refType="h" fact="0.4048"/>
          <dgm:constr type="w" for="ch" forName="imageaccent1" refType="w" fact="0.0189"/>
          <dgm:constr type="h" for="ch" forName="imageaccent1" refType="h" fact="0.024"/>
          <dgm:constr type="l" for="ch" forName="textaccent2" refType="w" fact="0.391"/>
          <dgm:constr type="t" for="ch" forName="textaccent2" refType="h" fact="0.4038"/>
          <dgm:constr type="w" for="ch" forName="textaccent2" refType="w" fact="0.0189"/>
          <dgm:constr type="h" for="ch" forName="textaccent2" refType="h" fact="0.024"/>
          <dgm:constr type="l" for="ch" forName="imageaccent2" refType="w" fact="0.4228"/>
          <dgm:constr type="t" for="ch" forName="imageaccent2" refType="h" fact="0.4312"/>
          <dgm:constr type="w" for="ch" forName="imageaccent2" refType="w" fact="0.0189"/>
          <dgm:constr type="h" for="ch" forName="imageaccent2" refType="h" fact="0.024"/>
          <dgm:constr type="l" for="ch" forName="textaccent3" refType="w" fact="0.2501"/>
          <dgm:constr type="t" for="ch" forName="textaccent3" refType="h" fact="0.1167"/>
          <dgm:constr type="w" for="ch" forName="textaccent3" refType="w" fact="0.0189"/>
          <dgm:constr type="h" for="ch" forName="textaccent3" refType="h" fact="0.024"/>
          <dgm:constr type="l" for="ch" forName="imageaccent3" refType="w" fact="0.2839"/>
          <dgm:constr type="t" for="ch" forName="imageaccent3" refType="h" fact="0.0908"/>
          <dgm:constr type="w" for="ch" forName="imageaccent3" refType="w" fact="0.0189"/>
          <dgm:constr type="h" for="ch" forName="imageaccent3" refType="h" fact="0.024"/>
          <dgm:constr type="l" for="ch" forName="textaccent4" refType="w" fact="0.5593"/>
          <dgm:constr type="t" for="ch" forName="textaccent4" refType="h" fact="0.2042"/>
          <dgm:constr type="w" for="ch" forName="textaccent4" refType="w" fact="0.0189"/>
          <dgm:constr type="h" for="ch" forName="textaccent4" refType="h" fact="0.024"/>
          <dgm:constr type="l" for="ch" forName="imageaccent4" refType="w" fact="0.5901"/>
          <dgm:constr type="t" for="ch" forName="imageaccent4" refType="h" fact="0.2323"/>
          <dgm:constr type="w" for="ch" forName="imageaccent4" refType="w" fact="0.0189"/>
          <dgm:constr type="h" for="ch" forName="imageaccent4" refType="h" fact="0.024"/>
          <dgm:constr type="l" for="ch" forName="textaccent5" refType="w" fact="0.6989"/>
          <dgm:constr type="t" for="ch" forName="textaccent5" refType="h" fact="0.094"/>
          <dgm:constr type="w" for="ch" forName="textaccent5" refType="w" fact="0.0189"/>
          <dgm:constr type="h" for="ch" forName="textaccent5" refType="h" fact="0.024"/>
          <dgm:constr type="l" for="ch" forName="imageaccent5" refType="w" fact="0.7305"/>
          <dgm:constr type="t" for="ch" forName="imageaccent5" refType="h" fact="0.121"/>
          <dgm:constr type="w" for="ch" forName="imageaccent5" refType="w" fact="0.0189"/>
          <dgm:constr type="h" for="ch" forName="imageaccent5" refType="h" fact="0.024"/>
          <dgm:constr type="l" for="ch" forName="image6" refType="w" fact="0.5585"/>
          <dgm:constr type="t" for="ch" forName="image6" refType="h" fact="0.4548"/>
          <dgm:constr type="w" for="ch" forName="image6" refType="w" fact="0.1623"/>
          <dgm:constr type="h" for="ch" forName="image6" refType="h" fact="0.2049"/>
          <dgm:constr type="l" for="ch" forName="text6" refType="w" fact="0.6982"/>
          <dgm:constr type="t" for="ch" forName="text6" refType="h" fact="0.3426"/>
          <dgm:constr type="w" for="ch" forName="text6" refType="w" fact="0.1623"/>
          <dgm:constr type="h" for="ch" forName="text6" refType="h" fact="0.2049"/>
          <dgm:constr type="l" for="ch" forName="imageaccent6" refType="w" fact="0.7002"/>
          <dgm:constr type="t" for="ch" forName="imageaccent6" refType="h" fact="0.5447"/>
          <dgm:constr type="w" for="ch" forName="imageaccent6" refType="w" fact="0.0189"/>
          <dgm:constr type="h" for="ch" forName="imageaccent6" refType="h" fact="0.024"/>
          <dgm:constr type="l" for="ch" forName="textaccent6" refType="w" fact="0.7303"/>
          <dgm:constr type="t" for="ch" forName="textaccent6" refType="h" fact="0.5221"/>
          <dgm:constr type="w" for="ch" forName="textaccent6" refType="w" fact="0.0189"/>
          <dgm:constr type="h" for="ch" forName="textaccent6" refType="h" fact="0.024"/>
          <dgm:constr type="l" for="ch" forName="text7" refType="w" fact="0.2792"/>
          <dgm:constr type="t" for="ch" forName="text7" refType="h" fact="0.4535"/>
          <dgm:constr type="w" for="ch" forName="text7" refType="w" fact="0.1623"/>
          <dgm:constr type="h" for="ch" forName="text7" refType="h" fact="0.2049"/>
          <dgm:constr type="l" for="ch" forName="image7" refType="w" fact="0.1395"/>
          <dgm:constr type="t" for="ch" forName="image7" refType="h" fact="0.5674"/>
          <dgm:constr type="w" for="ch" forName="image7" refType="w" fact="0.1623"/>
          <dgm:constr type="h" for="ch" forName="image7" refType="h" fact="0.2049"/>
          <dgm:constr type="l" for="ch" forName="imageaccent7" refType="w" fact="0.25"/>
          <dgm:constr type="t" for="ch" forName="imageaccent7" refType="h" fact="0.5703"/>
          <dgm:constr type="w" for="ch" forName="imageaccent7" refType="w" fact="0.0189"/>
          <dgm:constr type="h" for="ch" forName="imageaccent7" refType="h" fact="0.024"/>
          <dgm:constr type="l" for="ch" forName="textaccent7" refType="w" fact="0.2838"/>
          <dgm:constr type="t" for="ch" forName="textaccent7" refType="h" fact="0.5443"/>
          <dgm:constr type="w" for="ch" forName="textaccent7" refType="w" fact="0.0189"/>
          <dgm:constr type="h" for="ch" forName="textaccent7" refType="h" fact="0.024"/>
          <dgm:constr type="l" for="ch" forName="image8" refType="w" fact="0.6975"/>
          <dgm:constr type="t" for="ch" forName="image8" refType="h" fact="0.5696"/>
          <dgm:constr type="w" for="ch" forName="image8" refType="w" fact="0.1623"/>
          <dgm:constr type="h" for="ch" forName="image8" refType="h" fact="0.2049"/>
          <dgm:constr type="l" for="ch" forName="text8" refType="w" fact="0.8371"/>
          <dgm:constr type="t" for="ch" forName="text8" refType="h" fact="0.4574"/>
          <dgm:constr type="w" for="ch" forName="text8" refType="w" fact="0.1623"/>
          <dgm:constr type="h" for="ch" forName="text8" refType="h" fact="0.2049"/>
          <dgm:constr type="l" for="ch" forName="imageaccent8" refType="w" fact="0.8392"/>
          <dgm:constr type="t" for="ch" forName="imageaccent8" refType="h" fact="0.6595"/>
          <dgm:constr type="w" for="ch" forName="imageaccent8" refType="w" fact="0.0189"/>
          <dgm:constr type="h" for="ch" forName="imageaccent8" refType="h" fact="0.024"/>
          <dgm:constr type="l" for="ch" forName="textaccent8" refType="w" fact="0.8693"/>
          <dgm:constr type="t" for="ch" forName="textaccent8" refType="h" fact="0.6369"/>
          <dgm:constr type="w" for="ch" forName="textaccent8" refType="w" fact="0.0189"/>
          <dgm:constr type="h" for="ch" forName="textaccent8" refType="h" fact="0.024"/>
          <dgm:constr type="l" for="ch" forName="text9" refType="w" fact="0.8377"/>
          <dgm:constr type="t" for="ch" forName="text9" refType="h" fact="0.0044"/>
          <dgm:constr type="w" for="ch" forName="text9" refType="w" fact="0.1623"/>
          <dgm:constr type="h" for="ch" forName="text9" refType="h" fact="0.2049"/>
          <dgm:constr type="l" for="ch" forName="textaccent9" refType="w" fact="0.95"/>
          <dgm:constr type="t" for="ch" forName="textaccent9" refType="h" fact="0.1846"/>
          <dgm:constr type="w" for="ch" forName="textaccent9" refType="w" fact="0.0189"/>
          <dgm:constr type="h" for="ch" forName="textaccent9" refType="h" fact="0.024"/>
          <dgm:constr type="l" for="ch" forName="image9" refType="w" fact="0.8377"/>
          <dgm:constr type="t" for="ch" forName="image9" refType="h" fact="0.2306"/>
          <dgm:constr type="w" for="ch" forName="image9" refType="w" fact="0.1623"/>
          <dgm:constr type="h" for="ch" forName="image9" refType="h" fact="0.2049"/>
          <dgm:constr type="l" for="ch" forName="imageaccent9" refType="w" fact="0.95"/>
          <dgm:constr type="t" for="ch" forName="imageaccent9" refType="h" fact="0.2318"/>
          <dgm:constr type="w" for="ch" forName="imageaccent9" refType="w" fact="0.0189"/>
          <dgm:constr type="h" for="ch" forName="imageaccent9" refType="h" fact="0.024"/>
          <dgm:constr type="l" for="ch" forName="image10" refType="w" fact="0.2786"/>
          <dgm:constr type="t" for="ch" forName="image10" refType="h" fact="0.6805"/>
          <dgm:constr type="w" for="ch" forName="image10" refType="w" fact="0.1623"/>
          <dgm:constr type="h" for="ch" forName="image10" refType="h" fact="0.2049"/>
          <dgm:constr type="l" for="ch" forName="text10" refType="w" fact="0.4183"/>
          <dgm:constr type="t" for="ch" forName="text10" refType="h" fact="0.5683"/>
          <dgm:constr type="w" for="ch" forName="text10" refType="w" fact="0.1623"/>
          <dgm:constr type="h" for="ch" forName="text10" refType="h" fact="0.2049"/>
          <dgm:constr type="l" for="ch" forName="imageaccent10" refType="w" fact="0.4203"/>
          <dgm:constr type="t" for="ch" forName="imageaccent10" refType="h" fact="0.7704"/>
          <dgm:constr type="w" for="ch" forName="imageaccent10" refType="w" fact="0.0189"/>
          <dgm:constr type="h" for="ch" forName="imageaccent10" refType="h" fact="0.024"/>
          <dgm:constr type="l" for="ch" forName="textaccent10" refType="w" fact="0.4504"/>
          <dgm:constr type="t" for="ch" forName="textaccent10" refType="h" fact="0.7478"/>
          <dgm:constr type="w" for="ch" forName="textaccent10" refType="w" fact="0.0189"/>
          <dgm:constr type="h" for="ch" forName="textaccent10" refType="h" fact="0.024"/>
          <dgm:constr type="l" for="ch" forName="text11" refType="w" fact="0.6971"/>
          <dgm:constr type="t" for="ch" forName="text11" refType="h" fact="0.7951"/>
          <dgm:constr type="w" for="ch" forName="text11" refType="w" fact="0.1623"/>
          <dgm:constr type="h" for="ch" forName="text11" refType="h" fact="0.2049"/>
          <dgm:constr type="l" for="ch" forName="image11" refType="w" fact="0.5575"/>
          <dgm:constr type="t" for="ch" forName="image11" refType="h" fact="0.6816"/>
          <dgm:constr type="w" for="ch" forName="image11" refType="w" fact="0.1623"/>
          <dgm:constr type="h" for="ch" forName="image11" refType="h" fact="0.2049"/>
          <dgm:constr type="l" for="ch" forName="imageaccent11" refType="w" fact="0.6692"/>
          <dgm:constr type="t" for="ch" forName="imageaccent11" refType="h" fact="0.8589"/>
          <dgm:constr type="w" for="ch" forName="imageaccent11" refType="w" fact="0.0189"/>
          <dgm:constr type="h" for="ch" forName="imageaccent11" refType="h" fact="0.024"/>
          <dgm:constr type="l" for="ch" forName="textaccent11" refType="w" fact="0.701"/>
          <dgm:constr type="t" for="ch" forName="textaccent11" refType="h" fact="0.8863"/>
          <dgm:constr type="w" for="ch" forName="textaccent11" refType="w" fact="0.0189"/>
          <dgm:constr type="h" for="ch" forName="textaccent11" refType="h" fact="0.024"/>
        </dgm:constrLst>
      </dgm:if>
      <dgm:else name="Name13">
        <dgm:alg type="composite">
          <dgm:param type="ar" val="1.675"/>
        </dgm:alg>
        <dgm:constrLst>
          <dgm:constr type="primFontSz" for="des" ptType="node" op="equ" val="65"/>
          <dgm:constr type="l" for="ch" forName="image4" refType="w" fact="0.4903"/>
          <dgm:constr type="t" for="ch" forName="image4" refType="h" fact="0.2287"/>
          <dgm:constr type="w" for="ch" forName="image4" refType="w" fact="0.1425"/>
          <dgm:constr type="h" for="ch" forName="image4" refType="h" fact="0.2049"/>
          <dgm:constr type="l" for="ch" forName="text5" refType="w" fact="0.4903"/>
          <dgm:constr type="t" for="ch" forName="text5" refType="h" fact="0.0022"/>
          <dgm:constr type="w" for="ch" forName="text5" refType="w" fact="0.1425"/>
          <dgm:constr type="h" for="ch" forName="text5" refType="h" fact="0.2049"/>
          <dgm:constr type="l" for="ch" forName="image5" refType="w" fact="0.6129"/>
          <dgm:constr type="t" for="ch" forName="image5" refType="h" fact="0.1165"/>
          <dgm:constr type="w" for="ch" forName="image5" refType="w" fact="0.1425"/>
          <dgm:constr type="h" for="ch" forName="image5" refType="h" fact="0.2049"/>
          <dgm:constr type="l" for="ch" forName="image2" refType="w" fact="0.3677"/>
          <dgm:constr type="t" for="ch" forName="image2" refType="h" fact="0.34"/>
          <dgm:constr type="w" for="ch" forName="image2" refType="w" fact="0.1425"/>
          <dgm:constr type="h" for="ch" forName="image2" refType="h" fact="0.2049"/>
          <dgm:constr type="l" for="ch" forName="text4" refType="w" fact="0.3677"/>
          <dgm:constr type="t" for="ch" forName="text4" refType="h" fact="0.1135"/>
          <dgm:constr type="w" for="ch" forName="text4" refType="w" fact="0.1425"/>
          <dgm:constr type="h" for="ch" forName="text4" refType="h" fact="0.2049"/>
          <dgm:constr type="l" for="ch" forName="text2" refType="w" fact="0.2452"/>
          <dgm:constr type="t" for="ch" forName="text2" refType="h" fact="0.2265"/>
          <dgm:constr type="w" for="ch" forName="text2" refType="w" fact="0.1425"/>
          <dgm:constr type="h" for="ch" forName="text2" refType="h" fact="0.2049"/>
          <dgm:constr type="l" for="ch" forName="image3" refType="w" fact="0.2452"/>
          <dgm:constr type="t" for="ch" forName="image3" refType="h" fact="0"/>
          <dgm:constr type="w" for="ch" forName="image3" refType="w" fact="0.1425"/>
          <dgm:constr type="h" for="ch" forName="image3" refType="h" fact="0.2049"/>
          <dgm:constr type="l" for="ch" forName="text1" refType="w" fact="0.1226"/>
          <dgm:constr type="t" for="ch" forName="text1" refType="h" fact="0.3404"/>
          <dgm:constr type="w" for="ch" forName="text1" refType="w" fact="0.1425"/>
          <dgm:constr type="h" for="ch" forName="text1" refType="h" fact="0.2049"/>
          <dgm:constr type="l" for="ch" forName="text3" refType="w" fact="0.1226"/>
          <dgm:constr type="t" for="ch" forName="text3" refType="h" fact="0.1139"/>
          <dgm:constr type="w" for="ch" forName="text3" refType="w" fact="0.1425"/>
          <dgm:constr type="h" for="ch" forName="text3" refType="h" fact="0.2049"/>
          <dgm:constr type="l" for="ch" forName="textaccent1" refType="w" fact="0.126"/>
          <dgm:constr type="t" for="ch" forName="textaccent1" refType="h" fact="0.432"/>
          <dgm:constr type="w" for="ch" forName="textaccent1" refType="w" fact="0.0166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425"/>
          <dgm:constr type="h" for="ch" forName="image1" refType="h" fact="0.2049"/>
          <dgm:constr type="l" for="ch" forName="imageaccent1" refType="w" fact="0.0976"/>
          <dgm:constr type="t" for="ch" forName="imageaccent1" refType="h" fact="0.4048"/>
          <dgm:constr type="w" for="ch" forName="imageaccent1" refType="w" fact="0.0166"/>
          <dgm:constr type="h" for="ch" forName="imageaccent1" refType="h" fact="0.024"/>
          <dgm:constr type="l" for="ch" forName="textaccent2" refType="w" fact="0.3432"/>
          <dgm:constr type="t" for="ch" forName="textaccent2" refType="h" fact="0.4038"/>
          <dgm:constr type="w" for="ch" forName="textaccent2" refType="w" fact="0.0166"/>
          <dgm:constr type="h" for="ch" forName="textaccent2" refType="h" fact="0.024"/>
          <dgm:constr type="l" for="ch" forName="imageaccent2" refType="w" fact="0.3712"/>
          <dgm:constr type="t" for="ch" forName="imageaccent2" refType="h" fact="0.4312"/>
          <dgm:constr type="w" for="ch" forName="imageaccent2" refType="w" fact="0.0166"/>
          <dgm:constr type="h" for="ch" forName="imageaccent2" refType="h" fact="0.024"/>
          <dgm:constr type="l" for="ch" forName="textaccent3" refType="w" fact="0.2196"/>
          <dgm:constr type="t" for="ch" forName="textaccent3" refType="h" fact="0.1167"/>
          <dgm:constr type="w" for="ch" forName="textaccent3" refType="w" fact="0.0166"/>
          <dgm:constr type="h" for="ch" forName="textaccent3" refType="h" fact="0.024"/>
          <dgm:constr type="l" for="ch" forName="imageaccent3" refType="w" fact="0.2492"/>
          <dgm:constr type="t" for="ch" forName="imageaccent3" refType="h" fact="0.0908"/>
          <dgm:constr type="w" for="ch" forName="imageaccent3" refType="w" fact="0.0166"/>
          <dgm:constr type="h" for="ch" forName="imageaccent3" refType="h" fact="0.024"/>
          <dgm:constr type="l" for="ch" forName="textaccent4" refType="w" fact="0.491"/>
          <dgm:constr type="t" for="ch" forName="textaccent4" refType="h" fact="0.2042"/>
          <dgm:constr type="w" for="ch" forName="textaccent4" refType="w" fact="0.0166"/>
          <dgm:constr type="h" for="ch" forName="textaccent4" refType="h" fact="0.024"/>
          <dgm:constr type="l" for="ch" forName="imageaccent4" refType="w" fact="0.5181"/>
          <dgm:constr type="t" for="ch" forName="imageaccent4" refType="h" fact="0.2323"/>
          <dgm:constr type="w" for="ch" forName="imageaccent4" refType="w" fact="0.0166"/>
          <dgm:constr type="h" for="ch" forName="imageaccent4" refType="h" fact="0.024"/>
          <dgm:constr type="l" for="ch" forName="textaccent5" refType="w" fact="0.6136"/>
          <dgm:constr type="t" for="ch" forName="textaccent5" refType="h" fact="0.094"/>
          <dgm:constr type="w" for="ch" forName="textaccent5" refType="w" fact="0.0166"/>
          <dgm:constr type="h" for="ch" forName="textaccent5" refType="h" fact="0.024"/>
          <dgm:constr type="l" for="ch" forName="imageaccent5" refType="w" fact="0.6413"/>
          <dgm:constr type="t" for="ch" forName="imageaccent5" refType="h" fact="0.121"/>
          <dgm:constr type="w" for="ch" forName="imageaccent5" refType="w" fact="0.0166"/>
          <dgm:constr type="h" for="ch" forName="imageaccent5" refType="h" fact="0.024"/>
          <dgm:constr type="l" for="ch" forName="image6" refType="w" fact="0.4903"/>
          <dgm:constr type="t" for="ch" forName="image6" refType="h" fact="0.4548"/>
          <dgm:constr type="w" for="ch" forName="image6" refType="w" fact="0.1425"/>
          <dgm:constr type="h" for="ch" forName="image6" refType="h" fact="0.2049"/>
          <dgm:constr type="l" for="ch" forName="text6" refType="w" fact="0.6129"/>
          <dgm:constr type="t" for="ch" forName="text6" refType="h" fact="0.3426"/>
          <dgm:constr type="w" for="ch" forName="text6" refType="w" fact="0.1425"/>
          <dgm:constr type="h" for="ch" forName="text6" refType="h" fact="0.2049"/>
          <dgm:constr type="l" for="ch" forName="imageaccent6" refType="w" fact="0.6147"/>
          <dgm:constr type="t" for="ch" forName="imageaccent6" refType="h" fact="0.5447"/>
          <dgm:constr type="w" for="ch" forName="imageaccent6" refType="w" fact="0.0166"/>
          <dgm:constr type="h" for="ch" forName="imageaccent6" refType="h" fact="0.024"/>
          <dgm:constr type="l" for="ch" forName="textaccent6" refType="w" fact="0.6411"/>
          <dgm:constr type="t" for="ch" forName="textaccent6" refType="h" fact="0.5221"/>
          <dgm:constr type="w" for="ch" forName="textaccent6" refType="w" fact="0.0166"/>
          <dgm:constr type="h" for="ch" forName="textaccent6" refType="h" fact="0.024"/>
          <dgm:constr type="l" for="ch" forName="text7" refType="w" fact="0.2451"/>
          <dgm:constr type="t" for="ch" forName="text7" refType="h" fact="0.4535"/>
          <dgm:constr type="w" for="ch" forName="text7" refType="w" fact="0.1425"/>
          <dgm:constr type="h" for="ch" forName="text7" refType="h" fact="0.2049"/>
          <dgm:constr type="l" for="ch" forName="image7" refType="w" fact="0.1225"/>
          <dgm:constr type="t" for="ch" forName="image7" refType="h" fact="0.5674"/>
          <dgm:constr type="w" for="ch" forName="image7" refType="w" fact="0.1425"/>
          <dgm:constr type="h" for="ch" forName="image7" refType="h" fact="0.2049"/>
          <dgm:constr type="l" for="ch" forName="imageaccent7" refType="w" fact="0.2195"/>
          <dgm:constr type="t" for="ch" forName="imageaccent7" refType="h" fact="0.5703"/>
          <dgm:constr type="w" for="ch" forName="imageaccent7" refType="w" fact="0.0166"/>
          <dgm:constr type="h" for="ch" forName="imageaccent7" refType="h" fact="0.024"/>
          <dgm:constr type="l" for="ch" forName="textaccent7" refType="w" fact="0.2491"/>
          <dgm:constr type="t" for="ch" forName="textaccent7" refType="h" fact="0.5443"/>
          <dgm:constr type="w" for="ch" forName="textaccent7" refType="w" fact="0.0166"/>
          <dgm:constr type="h" for="ch" forName="textaccent7" refType="h" fact="0.024"/>
          <dgm:constr type="l" for="ch" forName="image8" refType="w" fact="0.6123"/>
          <dgm:constr type="t" for="ch" forName="image8" refType="h" fact="0.5696"/>
          <dgm:constr type="w" for="ch" forName="image8" refType="w" fact="0.1425"/>
          <dgm:constr type="h" for="ch" forName="image8" refType="h" fact="0.2049"/>
          <dgm:constr type="l" for="ch" forName="text8" refType="w" fact="0.7349"/>
          <dgm:constr type="t" for="ch" forName="text8" refType="h" fact="0.4574"/>
          <dgm:constr type="w" for="ch" forName="text8" refType="w" fact="0.1425"/>
          <dgm:constr type="h" for="ch" forName="text8" refType="h" fact="0.2049"/>
          <dgm:constr type="l" for="ch" forName="imageaccent8" refType="w" fact="0.7367"/>
          <dgm:constr type="t" for="ch" forName="imageaccent8" refType="h" fact="0.6595"/>
          <dgm:constr type="w" for="ch" forName="imageaccent8" refType="w" fact="0.0166"/>
          <dgm:constr type="h" for="ch" forName="imageaccent8" refType="h" fact="0.024"/>
          <dgm:constr type="l" for="ch" forName="textaccent8" refType="w" fact="0.7631"/>
          <dgm:constr type="t" for="ch" forName="textaccent8" refType="h" fact="0.6369"/>
          <dgm:constr type="w" for="ch" forName="textaccent8" refType="w" fact="0.0166"/>
          <dgm:constr type="h" for="ch" forName="textaccent8" refType="h" fact="0.024"/>
          <dgm:constr type="l" for="ch" forName="text9" refType="w" fact="0.7354"/>
          <dgm:constr type="t" for="ch" forName="text9" refType="h" fact="0.0044"/>
          <dgm:constr type="w" for="ch" forName="text9" refType="w" fact="0.1425"/>
          <dgm:constr type="h" for="ch" forName="text9" refType="h" fact="0.2049"/>
          <dgm:constr type="l" for="ch" forName="textaccent9" refType="w" fact="0.8339"/>
          <dgm:constr type="t" for="ch" forName="textaccent9" refType="h" fact="0.1846"/>
          <dgm:constr type="w" for="ch" forName="textaccent9" refType="w" fact="0.0166"/>
          <dgm:constr type="h" for="ch" forName="textaccent9" refType="h" fact="0.024"/>
          <dgm:constr type="l" for="ch" forName="image9" refType="w" fact="0.7354"/>
          <dgm:constr type="t" for="ch" forName="image9" refType="h" fact="0.2306"/>
          <dgm:constr type="w" for="ch" forName="image9" refType="w" fact="0.1425"/>
          <dgm:constr type="h" for="ch" forName="image9" refType="h" fact="0.2049"/>
          <dgm:constr type="l" for="ch" forName="imageaccent9" refType="w" fact="0.8339"/>
          <dgm:constr type="t" for="ch" forName="imageaccent9" refType="h" fact="0.2318"/>
          <dgm:constr type="w" for="ch" forName="imageaccent9" refType="w" fact="0.0166"/>
          <dgm:constr type="h" for="ch" forName="imageaccent9" refType="h" fact="0.024"/>
          <dgm:constr type="l" for="ch" forName="image10" refType="w" fact="0.2446"/>
          <dgm:constr type="t" for="ch" forName="image10" refType="h" fact="0.6805"/>
          <dgm:constr type="w" for="ch" forName="image10" refType="w" fact="0.1425"/>
          <dgm:constr type="h" for="ch" forName="image10" refType="h" fact="0.2049"/>
          <dgm:constr type="l" for="ch" forName="text10" refType="w" fact="0.3672"/>
          <dgm:constr type="t" for="ch" forName="text10" refType="h" fact="0.5683"/>
          <dgm:constr type="w" for="ch" forName="text10" refType="w" fact="0.1425"/>
          <dgm:constr type="h" for="ch" forName="text10" refType="h" fact="0.2049"/>
          <dgm:constr type="l" for="ch" forName="imageaccent10" refType="w" fact="0.369"/>
          <dgm:constr type="t" for="ch" forName="imageaccent10" refType="h" fact="0.7704"/>
          <dgm:constr type="w" for="ch" forName="imageaccent10" refType="w" fact="0.0166"/>
          <dgm:constr type="h" for="ch" forName="imageaccent10" refType="h" fact="0.024"/>
          <dgm:constr type="l" for="ch" forName="textaccent10" refType="w" fact="0.3954"/>
          <dgm:constr type="t" for="ch" forName="textaccent10" refType="h" fact="0.7478"/>
          <dgm:constr type="w" for="ch" forName="textaccent10" refType="w" fact="0.0166"/>
          <dgm:constr type="h" for="ch" forName="textaccent10" refType="h" fact="0.024"/>
          <dgm:constr type="l" for="ch" forName="text11" refType="w" fact="0.612"/>
          <dgm:constr type="t" for="ch" forName="text11" refType="h" fact="0.7951"/>
          <dgm:constr type="w" for="ch" forName="text11" refType="w" fact="0.1425"/>
          <dgm:constr type="h" for="ch" forName="text11" refType="h" fact="0.2049"/>
          <dgm:constr type="l" for="ch" forName="image11" refType="w" fact="0.4894"/>
          <dgm:constr type="t" for="ch" forName="image11" refType="h" fact="0.6816"/>
          <dgm:constr type="w" for="ch" forName="image11" refType="w" fact="0.1425"/>
          <dgm:constr type="h" for="ch" forName="image11" refType="h" fact="0.2049"/>
          <dgm:constr type="l" for="ch" forName="imageaccent11" refType="w" fact="0.5874"/>
          <dgm:constr type="t" for="ch" forName="imageaccent11" refType="h" fact="0.8589"/>
          <dgm:constr type="w" for="ch" forName="imageaccent11" refType="w" fact="0.0166"/>
          <dgm:constr type="h" for="ch" forName="imageaccent11" refType="h" fact="0.024"/>
          <dgm:constr type="l" for="ch" forName="textaccent11" refType="w" fact="0.6154"/>
          <dgm:constr type="t" for="ch" forName="textaccent11" refType="h" fact="0.8863"/>
          <dgm:constr type="w" for="ch" forName="textaccent11" refType="w" fact="0.0166"/>
          <dgm:constr type="h" for="ch" forName="textaccent11" refType="h" fact="0.024"/>
          <dgm:constr type="l" for="ch" forName="text12" refType="w" fact="0.735"/>
          <dgm:constr type="t" for="ch" forName="text12" refType="h" fact="0.684"/>
          <dgm:constr type="w" for="ch" forName="text12" refType="w" fact="0.1425"/>
          <dgm:constr type="h" for="ch" forName="text12" refType="h" fact="0.2049"/>
          <dgm:constr type="l" for="ch" forName="image12" refType="w" fact="0.8575"/>
          <dgm:constr type="t" for="ch" forName="image12" refType="h" fact="0.5718"/>
          <dgm:constr type="w" for="ch" forName="image12" refType="w" fact="0.1425"/>
          <dgm:constr type="h" for="ch" forName="image12" refType="h" fact="0.2049"/>
          <dgm:constr type="l" for="ch" forName="textaccent12" refType="w" fact="0.8594"/>
          <dgm:constr type="t" for="ch" forName="textaccent12" refType="h" fact="0.7739"/>
          <dgm:constr type="w" for="ch" forName="textaccent12" refType="w" fact="0.0166"/>
          <dgm:constr type="h" for="ch" forName="textaccent12" refType="h" fact="0.024"/>
          <dgm:constr type="l" for="ch" forName="imageaccent12" refType="w" fact="0.8858"/>
          <dgm:constr type="t" for="ch" forName="imageaccent12" refType="h" fact="0.7513"/>
          <dgm:constr type="w" for="ch" forName="imageaccent12" refType="w" fact="0.0166"/>
          <dgm:constr type="h" for="ch" forName="imageaccent12" refType="h" fact="0.024"/>
        </dgm:constrLst>
      </dgm:else>
    </dgm:choose>
    <dgm:forEach name="wrapper" axis="self" ptType="parTrans">
      <dgm:forEach name="wrapper2" axis="self" ptType="sibTrans" st="2">
        <dgm:forEach name="textRepeat" axis="self">
          <dgm:layoutNode name="textRepeatNode" styleLbl="alignNode1">
            <dgm:varLst>
              <dgm:chMax val="0"/>
              <dgm:chPref val="0"/>
              <dgm:bulletEnabled val="1"/>
            </dgm:varLst>
            <dgm:alg type="tx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.1"/>
              <dgm:constr type="bMarg" refType="primFontSz" fact="0.1"/>
            </dgm:constrLst>
            <dgm:ruleLst>
              <dgm:rule type="primFontSz" val="5" fact="NaN" max="NaN"/>
            </dgm:ruleLst>
          </dgm:layoutNode>
        </dgm:forEach>
        <dgm:forEach name="accentRepeat" axis="self">
          <dgm:layoutNode name="accentRepeatNode" styleLbl="solidAlignAcc1">
            <dgm:alg type="sp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/>
          </dgm:layoutNode>
        </dgm:forEach>
        <dgm:forEach name="imageRepeat" axis="self">
          <dgm:layoutNode name="imageRepeatNode" styleLbl="alignAcc1">
            <dgm:alg type="sp"/>
            <dgm:shape xmlns:r="http://schemas.openxmlformats.org/officeDocument/2006/relationships" type="hexagon" r:blip="" blipPhldr="1">
              <dgm:adjLst>
                <dgm:adj idx="1" val="0.25"/>
                <dgm:adj idx="2" val="1.1547"/>
              </dgm:adjLst>
            </dgm:shape>
            <dgm:presOf axis="self"/>
          </dgm:layoutNode>
        </dgm:forEach>
      </dgm:forEach>
    </dgm:forEach>
    <dgm:forEach name="Name14" axis="ch" ptType="node" cnt="1">
      <dgm:layoutNode name="text1">
        <dgm:alg type="sp"/>
        <dgm:shape xmlns:r="http://schemas.openxmlformats.org/officeDocument/2006/relationships" r:blip="">
          <dgm:adjLst/>
        </dgm:shape>
        <dgm:presOf/>
        <dgm:constrLst/>
        <dgm:forEach name="Name15" ref="textRepeat"/>
      </dgm:layoutNode>
      <dgm:layoutNode name="textaccent1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"/>
      </dgm:layoutNode>
    </dgm:forEach>
    <dgm:forEach name="Name17" axis="ch" ptType="sibTrans" hideLastTrans="0" cnt="1">
      <dgm:layoutNode name="image1">
        <dgm:alg type="sp"/>
        <dgm:shape xmlns:r="http://schemas.openxmlformats.org/officeDocument/2006/relationships" r:blip="">
          <dgm:adjLst/>
        </dgm:shape>
        <dgm:presOf/>
        <dgm:constrLst/>
        <dgm:forEach name="Name18" ref="imageRepeat"/>
      </dgm:layoutNode>
      <dgm:layoutNode name="imageaccent1">
        <dgm:alg type="sp"/>
        <dgm:shape xmlns:r="http://schemas.openxmlformats.org/officeDocument/2006/relationships" r:blip="">
          <dgm:adjLst/>
        </dgm:shape>
        <dgm:presOf/>
        <dgm:constrLst/>
        <dgm:forEach name="Name19" ref="accentRepeat"/>
      </dgm:layoutNode>
    </dgm:forEach>
    <dgm:forEach name="Name20" axis="ch" ptType="node" st="2" cnt="1">
      <dgm:layoutNode name="text2">
        <dgm:alg type="sp"/>
        <dgm:shape xmlns:r="http://schemas.openxmlformats.org/officeDocument/2006/relationships" r:blip="">
          <dgm:adjLst/>
        </dgm:shape>
        <dgm:presOf/>
        <dgm:constrLst/>
        <dgm:forEach name="Name21" ref="textRepeat"/>
      </dgm:layoutNode>
      <dgm:layoutNode name="textaccent2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"/>
      </dgm:layoutNode>
    </dgm:forEach>
    <dgm:forEach name="Name23" axis="ch" ptType="sibTrans" hideLastTrans="0" st="2" cnt="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24" ref="imageRepeat"/>
      </dgm:layoutNode>
      <dgm:layoutNode name="imageaccent2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"/>
      </dgm:layoutNode>
    </dgm:forEach>
    <dgm:forEach name="Name26" axis="ch" ptType="node" st="3" cnt="1">
      <dgm:layoutNode name="text3">
        <dgm:alg type="sp"/>
        <dgm:shape xmlns:r="http://schemas.openxmlformats.org/officeDocument/2006/relationships" r:blip="">
          <dgm:adjLst/>
        </dgm:shape>
        <dgm:presOf/>
        <dgm:constrLst/>
        <dgm:forEach name="Name27" ref="textRepeat"/>
      </dgm:layoutNode>
      <dgm:layoutNode name="textaccent3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</dgm:forEach>
    <dgm:forEach name="Name29" axis="ch" ptType="sibTrans" hideLastTrans="0" st="3" cnt="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30" ref="imageRepeat"/>
      </dgm:layoutNode>
      <dgm:layoutNode name="imageaccent3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4" cnt="1">
      <dgm:layoutNode name="text4">
        <dgm:alg type="sp"/>
        <dgm:shape xmlns:r="http://schemas.openxmlformats.org/officeDocument/2006/relationships" r:blip="">
          <dgm:adjLst/>
        </dgm:shape>
        <dgm:presOf/>
        <dgm:constrLst/>
        <dgm:forEach name="Name33" ref="textRepeat"/>
      </dgm:layoutNode>
      <dgm:layoutNode name="textaccent4">
        <dgm:alg type="sp"/>
        <dgm:shape xmlns:r="http://schemas.openxmlformats.org/officeDocument/2006/relationships" r:blip="">
          <dgm:adjLst/>
        </dgm:shape>
        <dgm:presOf/>
        <dgm:constrLst/>
        <dgm:forEach name="Name34" ref="accentRepeat"/>
      </dgm:layoutNode>
    </dgm:forEach>
    <dgm:forEach name="Name35" axis="ch" ptType="sibTrans" hideLastTrans="0" st="4" cnt="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36" ref="imageRepeat"/>
      </dgm:layoutNode>
      <dgm:layoutNode name="imageaccent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text5">
        <dgm:alg type="sp"/>
        <dgm:shape xmlns:r="http://schemas.openxmlformats.org/officeDocument/2006/relationships" r:blip="">
          <dgm:adjLst/>
        </dgm:shape>
        <dgm:presOf/>
        <dgm:constrLst/>
        <dgm:forEach name="Name39" ref="textRepeat"/>
      </dgm:layoutNode>
      <dgm:layoutNode name="textaccent5">
        <dgm:alg type="sp"/>
        <dgm:shape xmlns:r="http://schemas.openxmlformats.org/officeDocument/2006/relationships" r:blip="">
          <dgm:adjLst/>
        </dgm:shape>
        <dgm:presOf/>
        <dgm:constrLst/>
        <dgm:forEach name="Name40" ref="accentRepeat"/>
      </dgm:layoutNode>
    </dgm:forEach>
    <dgm:forEach name="Name41" axis="ch" ptType="sibTrans" hideLastTrans="0" st="5" cnt="1">
      <dgm:layoutNode name="image5">
        <dgm:alg type="sp"/>
        <dgm:shape xmlns:r="http://schemas.openxmlformats.org/officeDocument/2006/relationships" r:blip="">
          <dgm:adjLst/>
        </dgm:shape>
        <dgm:presOf/>
        <dgm:constrLst/>
        <dgm:forEach name="Name42" ref="imageRepeat"/>
      </dgm:layoutNode>
      <dgm:layoutNode name="imageaccent5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  <dgm:forEach name="Name44" axis="ch" ptType="node" st="6" cnt="1">
      <dgm:layoutNode name="text6">
        <dgm:alg type="sp"/>
        <dgm:shape xmlns:r="http://schemas.openxmlformats.org/officeDocument/2006/relationships" r:blip="">
          <dgm:adjLst/>
        </dgm:shape>
        <dgm:presOf/>
        <dgm:constrLst/>
        <dgm:forEach name="Name45" ref="textRepeat"/>
      </dgm:layoutNode>
      <dgm:layoutNode name="textaccent6">
        <dgm:alg type="sp"/>
        <dgm:shape xmlns:r="http://schemas.openxmlformats.org/officeDocument/2006/relationships" r:blip="">
          <dgm:adjLst/>
        </dgm:shape>
        <dgm:presOf/>
        <dgm:constrLst/>
        <dgm:forEach name="Name46" ref="accentRepeat"/>
      </dgm:layoutNode>
    </dgm:forEach>
    <dgm:forEach name="Name47" axis="ch" ptType="sibTrans" hideLastTrans="0" st="6" cnt="1">
      <dgm:layoutNode name="image6">
        <dgm:alg type="sp"/>
        <dgm:shape xmlns:r="http://schemas.openxmlformats.org/officeDocument/2006/relationships" r:blip="">
          <dgm:adjLst/>
        </dgm:shape>
        <dgm:presOf/>
        <dgm:constrLst/>
        <dgm:forEach name="Name48" ref="imageRepeat"/>
      </dgm:layoutNode>
      <dgm:layoutNode name="imageaccent6">
        <dgm:alg type="sp"/>
        <dgm:shape xmlns:r="http://schemas.openxmlformats.org/officeDocument/2006/relationships" r:blip="">
          <dgm:adjLst/>
        </dgm:shape>
        <dgm:presOf/>
        <dgm:constrLst/>
        <dgm:forEach name="Name49" ref="accentRepeat"/>
      </dgm:layoutNode>
    </dgm:forEach>
    <dgm:forEach name="Name50" axis="ch" ptType="node" st="7" cnt="1">
      <dgm:layoutNode name="text7">
        <dgm:alg type="sp"/>
        <dgm:shape xmlns:r="http://schemas.openxmlformats.org/officeDocument/2006/relationships" r:blip="">
          <dgm:adjLst/>
        </dgm:shape>
        <dgm:presOf/>
        <dgm:constrLst/>
        <dgm:forEach name="Name51" ref="textRepeat"/>
      </dgm:layoutNode>
      <dgm:layoutNode name="textaccent7">
        <dgm:alg type="sp"/>
        <dgm:shape xmlns:r="http://schemas.openxmlformats.org/officeDocument/2006/relationships" r:blip="">
          <dgm:adjLst/>
        </dgm:shape>
        <dgm:presOf/>
        <dgm:constrLst/>
        <dgm:forEach name="Name52" ref="accentRepeat"/>
      </dgm:layoutNode>
    </dgm:forEach>
    <dgm:forEach name="Name53" axis="ch" ptType="sibTrans" hideLastTrans="0" st="7" cnt="1">
      <dgm:layoutNode name="image7">
        <dgm:alg type="sp"/>
        <dgm:shape xmlns:r="http://schemas.openxmlformats.org/officeDocument/2006/relationships" r:blip="">
          <dgm:adjLst/>
        </dgm:shape>
        <dgm:presOf/>
        <dgm:constrLst/>
        <dgm:forEach name="Name54" ref="imageRepeat"/>
      </dgm:layoutNode>
      <dgm:layoutNode name="imageaccent7">
        <dgm:alg type="sp"/>
        <dgm:shape xmlns:r="http://schemas.openxmlformats.org/officeDocument/2006/relationships" r:blip="">
          <dgm:adjLst/>
        </dgm:shape>
        <dgm:presOf/>
        <dgm:constrLst/>
        <dgm:forEach name="Name55" ref="accentRepeat"/>
      </dgm:layoutNode>
    </dgm:forEach>
    <dgm:forEach name="Name56" axis="ch" ptType="node" st="8" cnt="1">
      <dgm:layoutNode name="text8">
        <dgm:alg type="sp"/>
        <dgm:shape xmlns:r="http://schemas.openxmlformats.org/officeDocument/2006/relationships" r:blip="">
          <dgm:adjLst/>
        </dgm:shape>
        <dgm:presOf/>
        <dgm:constrLst/>
        <dgm:forEach name="Name57" ref="textRepeat"/>
      </dgm:layoutNode>
      <dgm:layoutNode name="textaccent8">
        <dgm:alg type="sp"/>
        <dgm:shape xmlns:r="http://schemas.openxmlformats.org/officeDocument/2006/relationships" r:blip="">
          <dgm:adjLst/>
        </dgm:shape>
        <dgm:presOf/>
        <dgm:constrLst/>
        <dgm:forEach name="Name58" ref="accentRepeat"/>
      </dgm:layoutNode>
    </dgm:forEach>
    <dgm:forEach name="Name59" axis="ch" ptType="sibTrans" hideLastTrans="0" st="8" cnt="1">
      <dgm:layoutNode name="image8">
        <dgm:alg type="sp"/>
        <dgm:shape xmlns:r="http://schemas.openxmlformats.org/officeDocument/2006/relationships" r:blip="">
          <dgm:adjLst/>
        </dgm:shape>
        <dgm:presOf/>
        <dgm:constrLst/>
        <dgm:forEach name="Name60" ref="imageRepeat"/>
      </dgm:layoutNode>
      <dgm:layoutNode name="imageaccent8">
        <dgm:alg type="sp"/>
        <dgm:shape xmlns:r="http://schemas.openxmlformats.org/officeDocument/2006/relationships" r:blip="">
          <dgm:adjLst/>
        </dgm:shape>
        <dgm:presOf/>
        <dgm:constrLst/>
        <dgm:forEach name="Name61" ref="accentRepeat"/>
      </dgm:layoutNode>
    </dgm:forEach>
    <dgm:forEach name="Name62" axis="ch" ptType="node" st="9" cnt="1">
      <dgm:layoutNode name="text9">
        <dgm:alg type="sp"/>
        <dgm:shape xmlns:r="http://schemas.openxmlformats.org/officeDocument/2006/relationships" r:blip="">
          <dgm:adjLst/>
        </dgm:shape>
        <dgm:presOf/>
        <dgm:constrLst/>
        <dgm:forEach name="Name63" ref="textRepeat"/>
      </dgm:layoutNode>
      <dgm:layoutNode name="textaccent9">
        <dgm:alg type="sp"/>
        <dgm:shape xmlns:r="http://schemas.openxmlformats.org/officeDocument/2006/relationships" r:blip="">
          <dgm:adjLst/>
        </dgm:shape>
        <dgm:presOf/>
        <dgm:constrLst/>
        <dgm:forEach name="Name64" ref="accentRepeat"/>
      </dgm:layoutNode>
    </dgm:forEach>
    <dgm:forEach name="Name65" axis="ch" ptType="sibTrans" hideLastTrans="0" st="9" cnt="1">
      <dgm:layoutNode name="image9">
        <dgm:alg type="sp"/>
        <dgm:shape xmlns:r="http://schemas.openxmlformats.org/officeDocument/2006/relationships" r:blip="">
          <dgm:adjLst/>
        </dgm:shape>
        <dgm:presOf/>
        <dgm:constrLst/>
        <dgm:forEach name="Name66" ref="imageRepeat"/>
      </dgm:layoutNode>
      <dgm:layoutNode name="imageaccent9">
        <dgm:alg type="sp"/>
        <dgm:shape xmlns:r="http://schemas.openxmlformats.org/officeDocument/2006/relationships" r:blip="">
          <dgm:adjLst/>
        </dgm:shape>
        <dgm:presOf/>
        <dgm:constrLst/>
        <dgm:forEach name="Name67" ref="accentRepeat"/>
      </dgm:layoutNode>
    </dgm:forEach>
    <dgm:forEach name="Name68" axis="ch" ptType="node" st="10" cnt="1">
      <dgm:layoutNode name="text10">
        <dgm:alg type="sp"/>
        <dgm:shape xmlns:r="http://schemas.openxmlformats.org/officeDocument/2006/relationships" r:blip="">
          <dgm:adjLst/>
        </dgm:shape>
        <dgm:presOf/>
        <dgm:constrLst/>
        <dgm:forEach name="Name69" ref="textRepeat"/>
      </dgm:layoutNode>
      <dgm:layoutNode name="textaccent10">
        <dgm:alg type="sp"/>
        <dgm:shape xmlns:r="http://schemas.openxmlformats.org/officeDocument/2006/relationships" r:blip="">
          <dgm:adjLst/>
        </dgm:shape>
        <dgm:presOf/>
        <dgm:constrLst/>
        <dgm:forEach name="Name70" ref="accentRepeat"/>
      </dgm:layoutNode>
    </dgm:forEach>
    <dgm:forEach name="Name71" axis="ch" ptType="sibTrans" hideLastTrans="0" st="10" cnt="1">
      <dgm:layoutNode name="image10">
        <dgm:alg type="sp"/>
        <dgm:shape xmlns:r="http://schemas.openxmlformats.org/officeDocument/2006/relationships" r:blip="">
          <dgm:adjLst/>
        </dgm:shape>
        <dgm:presOf/>
        <dgm:constrLst/>
        <dgm:forEach name="Name72" ref="imageRepeat"/>
      </dgm:layoutNode>
      <dgm:layoutNode name="imageaccent10">
        <dgm:alg type="sp"/>
        <dgm:shape xmlns:r="http://schemas.openxmlformats.org/officeDocument/2006/relationships" r:blip="">
          <dgm:adjLst/>
        </dgm:shape>
        <dgm:presOf/>
        <dgm:constrLst/>
        <dgm:forEach name="Name73" ref="accentRepeat"/>
      </dgm:layoutNode>
    </dgm:forEach>
    <dgm:forEach name="Name74" axis="ch" ptType="node" st="11" cnt="1">
      <dgm:layoutNode name="text11">
        <dgm:alg type="sp"/>
        <dgm:shape xmlns:r="http://schemas.openxmlformats.org/officeDocument/2006/relationships" r:blip="">
          <dgm:adjLst/>
        </dgm:shape>
        <dgm:presOf/>
        <dgm:constrLst/>
        <dgm:forEach name="Name75" ref="textRepeat"/>
      </dgm:layoutNode>
      <dgm:layoutNode name="textaccent1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</dgm:forEach>
    <dgm:forEach name="Name77" axis="ch" ptType="sibTrans" hideLastTrans="0" st="11" cnt="1">
      <dgm:layoutNode name="image11">
        <dgm:alg type="sp"/>
        <dgm:shape xmlns:r="http://schemas.openxmlformats.org/officeDocument/2006/relationships" r:blip="">
          <dgm:adjLst/>
        </dgm:shape>
        <dgm:presOf/>
        <dgm:constrLst/>
        <dgm:forEach name="Name78" ref="imageRepeat"/>
      </dgm:layoutNode>
      <dgm:layoutNode name="imageaccent11">
        <dgm:alg type="sp"/>
        <dgm:shape xmlns:r="http://schemas.openxmlformats.org/officeDocument/2006/relationships" r:blip="">
          <dgm:adjLst/>
        </dgm:shape>
        <dgm:presOf/>
        <dgm:constrLst/>
        <dgm:forEach name="Name79" ref="accentRepeat"/>
      </dgm:layoutNode>
    </dgm:forEach>
    <dgm:forEach name="Name80" axis="ch" ptType="node" st="12" cnt="1">
      <dgm:layoutNode name="text12">
        <dgm:alg type="sp"/>
        <dgm:shape xmlns:r="http://schemas.openxmlformats.org/officeDocument/2006/relationships" r:blip="">
          <dgm:adjLst/>
        </dgm:shape>
        <dgm:presOf/>
        <dgm:constrLst/>
        <dgm:forEach name="Name81" ref="textRepeat"/>
      </dgm:layoutNode>
      <dgm:layoutNode name="textaccent12">
        <dgm:alg type="sp"/>
        <dgm:shape xmlns:r="http://schemas.openxmlformats.org/officeDocument/2006/relationships" r:blip="">
          <dgm:adjLst/>
        </dgm:shape>
        <dgm:presOf/>
        <dgm:constrLst/>
        <dgm:forEach name="Name82" ref="accentRepeat"/>
      </dgm:layoutNode>
    </dgm:forEach>
    <dgm:forEach name="Name83" axis="ch" ptType="sibTrans" hideLastTrans="0" st="12" cnt="1">
      <dgm:layoutNode name="image12">
        <dgm:alg type="sp"/>
        <dgm:shape xmlns:r="http://schemas.openxmlformats.org/officeDocument/2006/relationships" r:blip="">
          <dgm:adjLst/>
        </dgm:shape>
        <dgm:presOf/>
        <dgm:constrLst/>
        <dgm:forEach name="Name84" ref="imageRepeat"/>
      </dgm:layoutNode>
      <dgm:layoutNode name="imageaccent12">
        <dgm:alg type="sp"/>
        <dgm:shape xmlns:r="http://schemas.openxmlformats.org/officeDocument/2006/relationships" r:blip="">
          <dgm:adjLst/>
        </dgm:shape>
        <dgm:presOf/>
        <dgm:constrLst/>
        <dgm:forEach name="Name85" ref="accentRepeat"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CircularPictureCallout">
  <dgm:title val=""/>
  <dgm:desc val=""/>
  <dgm:catLst>
    <dgm:cat type="picture" pri="2000"/>
    <dgm:cat type="pictureconvert" pri="2000"/>
  </dgm:catLst>
  <dgm:sampData>
    <dgm:dataModel>
      <dgm:ptLst>
        <dgm:pt modelId="0" type="doc"/>
        <dgm:pt modelId="1"/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2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axis="ch" ptType="node" func="cnt" op="lte" val="1">
          <dgm:constrLst>
            <dgm:constr type="h" for="ch" forName="picture_1" refType="h"/>
            <dgm:constr type="w" for="ch" forName="picture_1" refType="h" refFor="ch" refForName="picture_1" op="equ"/>
            <dgm:constr type="l" for="ch" forName="picture_1"/>
            <dgm:constr type="t" for="ch" forName="picture_1"/>
            <dgm:constr type="w" for="ch" forName="text_1" refType="w" refFor="ch" refForName="picture_1" fact="0.64"/>
            <dgm:constr type="h" for="ch" forName="text_1" refType="h" refFor="ch" refForName="picture_1" fact="0.33"/>
            <dgm:constr type="l" for="ch" forName="text_1" refType="w" refFor="ch" refForName="picture_1" fact="0.18"/>
            <dgm:constr type="t" for="ch" forName="text_1" refType="h" refFor="ch" refForName="picture_1" fact="0.531"/>
          </dgm:constrLst>
        </dgm:if>
        <dgm:if name="Name4" axis="ch" ptType="node" func="cnt" op="lte" val="2">
          <dgm:choose name="Name5">
            <dgm:if name="Name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l" for="ch" forName="picture_2" refType="w" refFor="ch" refForName="picture_1" fact="1.21"/>
                <dgm:constr type="ctrY" for="ch" forName="picture_2" refType="h" refFor="ch" refForName="picture_1" fact="0.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if>
            <dgm:else name="Name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else>
          </dgm:choose>
        </dgm:if>
        <dgm:if name="Name8" axis="ch" ptType="node" func="cnt" op="lte" val="3">
          <dgm:choose name="Name9">
            <dgm:if name="Name10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l" for="ch" forName="picture_2" refType="w" refFor="ch" refForName="picture_1" fact="1.21"/>
                <dgm:constr type="ctrY" for="ch" forName="picture_2" refType="h" refFor="ch" refForName="picture_1" fact="0.18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l" for="ch" forName="picture_3" refType="w" refFor="ch" refForName="picture_1" fact="1.21"/>
                <dgm:constr type="ctrY" for="ch" forName="picture_3" refType="h" refFor="ch" refForName="picture_1" fact="0.812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if>
            <dgm:else name="Name11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18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812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else>
          </dgm:choose>
        </dgm:if>
        <dgm:if name="Name12" axis="ch" ptType="node" func="cnt" op="lte" val="4">
          <dgm:choose name="Name13">
            <dgm:if name="Name14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l" for="ch" forName="picture_2" refType="w" refFor="ch" refForName="picture_1" fact="1.354"/>
                <dgm:constr type="ctrY" for="ch" forName="picture_2" refType="h" refFor="ch" refForName="picture_1" fact="0.1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l" for="ch" forName="picture_3" refType="w" refFor="ch" refForName="picture_1" fact="1.21"/>
                <dgm:constr type="ctrY" for="ch" forName="picture_3" refType="h" refFor="ch" refForName="picture_1" fact="0.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l" for="ch" forName="picture_4" refType="w" refFor="ch" refForName="picture_1" fact="1.354"/>
                <dgm:constr type="ctrY" for="ch" forName="picture_4" refType="h" refFor="ch" refForName="picture_1" fact="0.8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if>
            <dgm:else name="Name15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r" for="ch" forName="picture_2" refType="w"/>
                <dgm:constr type="rOff" for="ch" forName="picture_2" refType="w" refFor="ch" refForName="picture_1" fact="-1.354"/>
                <dgm:constr type="ctrY" for="ch" forName="picture_2" refType="h" refFor="ch" refForName="picture_1" fact="0.1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r" for="ch" forName="picture_4" refType="w"/>
                <dgm:constr type="rOff" for="ch" forName="picture_4" refType="w" refFor="ch" refForName="picture_1" fact="-1.354"/>
                <dgm:constr type="ctrY" for="ch" forName="picture_4" refType="h" refFor="ch" refForName="picture_1" fact="0.8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else>
          </dgm:choose>
        </dgm:if>
        <dgm:if name="Name16" axis="ch" ptType="node" func="cnt" op="lte" val="5">
          <dgm:choose name="Name17">
            <dgm:if name="Name18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l" for="ch" forName="picture_2" refType="w" refFor="ch" refForName="picture_1" fact="1.375"/>
                <dgm:constr type="ctrY" for="ch" forName="picture_2" refType="h" refFor="ch" refForName="picture_1" fact="0.11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l" for="ch" forName="picture_3" refType="w" refFor="ch" refForName="picture_1" fact="1.21"/>
                <dgm:constr type="ctrY" for="ch" forName="picture_3" refType="h" refFor="ch" refForName="picture_1" fact="0.353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l" for="ch" forName="picture_4" refType="w" refFor="ch" refForName="picture_1" fact="1.21"/>
                <dgm:constr type="ctrY" for="ch" forName="picture_4" refType="h" refFor="ch" refForName="picture_1" fact="0.647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l" for="ch" forName="picture_5" refType="w" refFor="ch" refForName="picture_1" fact="1.375"/>
                <dgm:constr type="ctrY" for="ch" forName="picture_5" refType="h" refFor="ch" refForName="picture_1" fact="0.8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if>
            <dgm:else name="Name19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r" for="ch" forName="picture_2" refType="w"/>
                <dgm:constr type="rOff" for="ch" forName="picture_2" refType="w" refFor="ch" refForName="picture_1" fact="-1.375"/>
                <dgm:constr type="ctrY" for="ch" forName="picture_2" refType="h" refFor="ch" refForName="picture_1" fact="0.11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353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647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r" for="ch" forName="picture_5" refType="w"/>
                <dgm:constr type="rOff" for="ch" forName="picture_5" refType="w" refFor="ch" refForName="picture_1" fact="-1.375"/>
                <dgm:constr type="ctrY" for="ch" forName="picture_5" refType="h" refFor="ch" refForName="picture_1" fact="0.8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else>
          </dgm:choose>
        </dgm:if>
        <dgm:if name="Name20" axis="ch" ptType="node" func="cnt" op="lte" val="6">
          <dgm:choose name="Name21">
            <dgm:if name="Name22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l" for="ch" forName="picture_2" refType="w" refFor="ch" refForName="picture_1" fact="1.4238"/>
                <dgm:constr type="ctrY" for="ch" forName="picture_2" refType="h" refFor="ch" refForName="picture_1" fact="0.09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l" for="ch" forName="picture_3" refType="w" refFor="ch" refForName="picture_1" fact="1.2667"/>
                <dgm:constr type="ctrY" for="ch" forName="picture_3" refType="h" refFor="ch" refForName="picture_1" fact="0.261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l" for="ch" forName="picture_4" refType="w" refFor="ch" refForName="picture_1" fact="1.21"/>
                <dgm:constr type="ctrY" for="ch" forName="picture_4" refType="h" refFor="ch" refForName="picture_1" fact="0.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l" for="ch" forName="picture_5" refType="w" refFor="ch" refForName="picture_1" fact="1.2667"/>
                <dgm:constr type="ctrY" for="ch" forName="picture_5" refType="h" refFor="ch" refForName="picture_1" fact="0.73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l" for="ch" forName="picture_6" refType="w" refFor="ch" refForName="picture_1" fact="1.4238"/>
                <dgm:constr type="ctrY" for="ch" forName="picture_6" refType="h" refFor="ch" refForName="picture_1" fact="0.91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if>
            <dgm:else name="Name23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r" for="ch" forName="picture_2" refType="w"/>
                <dgm:constr type="rOff" for="ch" forName="picture_2" refType="w" refFor="ch" refForName="picture_1" fact="-1.4238"/>
                <dgm:constr type="ctrY" for="ch" forName="picture_2" refType="h" refFor="ch" refForName="picture_1" fact="0.09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r" for="ch" forName="picture_3" refType="w"/>
                <dgm:constr type="rOff" for="ch" forName="picture_3" refType="w" refFor="ch" refForName="picture_1" fact="-1.2667"/>
                <dgm:constr type="ctrY" for="ch" forName="picture_3" refType="h" refFor="ch" refForName="picture_1" fact="0.261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r" for="ch" forName="picture_5" refType="w"/>
                <dgm:constr type="rOff" for="ch" forName="picture_5" refType="w" refFor="ch" refForName="picture_1" fact="-1.2667"/>
                <dgm:constr type="ctrY" for="ch" forName="picture_5" refType="h" refFor="ch" refForName="picture_1" fact="0.73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r" for="ch" forName="picture_6" refType="w"/>
                <dgm:constr type="rOff" for="ch" forName="picture_6" refType="w" refFor="ch" refForName="picture_1" fact="-1.4238"/>
                <dgm:constr type="ctrY" for="ch" forName="picture_6" refType="h" refFor="ch" refForName="picture_1" fact="0.91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else>
          </dgm:choose>
        </dgm:if>
        <dgm:else name="Name24">
          <dgm:choose name="Name25">
            <dgm:if name="Name2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l" for="ch" forName="picture_2" refType="w" refFor="ch" refForName="picture_1" fact="1.4363"/>
                <dgm:constr type="ctrY" for="ch" forName="picture_2" refType="h" refFor="ch" refForName="picture_1" fact="0.0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l" for="ch" forName="picture_3" refType="w" refFor="ch" refForName="picture_1" fact="1.2898"/>
                <dgm:constr type="ctrY" for="ch" forName="picture_3" refType="h" refFor="ch" refForName="picture_1" fact="0.227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l" for="ch" forName="picture_4" refType="w" refFor="ch" refForName="picture_1" fact="1.21"/>
                <dgm:constr type="ctrY" for="ch" forName="picture_4" refType="h" refFor="ch" refForName="picture_1" fact="0.40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l" for="ch" forName="picture_5" refType="w" refFor="ch" refForName="picture_1" fact="1.21"/>
                <dgm:constr type="ctrY" for="ch" forName="picture_5" refType="h" refFor="ch" refForName="picture_1" fact="0.595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l" for="ch" forName="picture_6" refType="w" refFor="ch" refForName="picture_1" fact="1.2898"/>
                <dgm:constr type="ctrY" for="ch" forName="picture_6" refType="h" refFor="ch" refForName="picture_1" fact="0.773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l" for="ch" forName="picture_7" refType="w" refFor="ch" refForName="picture_1" fact="1.4363"/>
                <dgm:constr type="ctrY" for="ch" forName="picture_7" refType="h" refFor="ch" refForName="picture_1" fact="0.925"/>
                <dgm:constr type="l" for="ch" forName="line_7" refType="ctrX" refFor="ch" refForName="picture_1"/>
                <dgm:constr type="h" for="ch" forName="line_7"/>
                <dgm:constr type="r" for="ch" forName="line_7" refType="ctrX" refFor="ch" refForName="picture_7"/>
                <dgm:constr type="ctrY" for="ch" forName="line_7" refType="ctrY" refFor="ch" refForName="picture_7"/>
                <dgm:constr type="r" for="ch" forName="textparent_7" refType="w"/>
                <dgm:constr type="h" for="ch" forName="textparent_7" refType="h" refFor="ch" refForName="picture_7"/>
                <dgm:constr type="l" for="ch" forName="textparent_7" refType="r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if>
            <dgm:else name="Name2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r" for="ch" forName="picture_2" refType="w"/>
                <dgm:constr type="rOff" for="ch" forName="picture_2" refType="w" refFor="ch" refForName="picture_1" fact="-1.4363"/>
                <dgm:constr type="ctrY" for="ch" forName="picture_2" refType="h" refFor="ch" refForName="picture_1" fact="0.0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r" for="ch" forName="picture_3" refType="w"/>
                <dgm:constr type="rOff" for="ch" forName="picture_3" refType="w" refFor="ch" refForName="picture_1" fact="-1.2898"/>
                <dgm:constr type="ctrY" for="ch" forName="picture_3" refType="h" refFor="ch" refForName="picture_1" fact="0.227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40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r" for="ch" forName="picture_5" refType="w"/>
                <dgm:constr type="rOff" for="ch" forName="picture_5" refType="w" refFor="ch" refForName="picture_1" fact="-1.21"/>
                <dgm:constr type="ctrY" for="ch" forName="picture_5" refType="h" refFor="ch" refForName="picture_1" fact="0.595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r" for="ch" forName="picture_6" refType="w"/>
                <dgm:constr type="rOff" for="ch" forName="picture_6" refType="w" refFor="ch" refForName="picture_1" fact="-1.2898"/>
                <dgm:constr type="ctrY" for="ch" forName="picture_6" refType="h" refFor="ch" refForName="picture_1" fact="0.773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r" for="ch" forName="picture_7" refType="w"/>
                <dgm:constr type="rOff" for="ch" forName="picture_7" refType="w" refFor="ch" refForName="picture_1" fact="-1.4363"/>
                <dgm:constr type="ctrY" for="ch" forName="picture_7" refType="h" refFor="ch" refForName="picture_1" fact="0.925"/>
                <dgm:constr type="r" for="ch" forName="line_7" refType="ctrX" refFor="ch" refForName="picture_1"/>
                <dgm:constr type="h" for="ch" forName="line_7"/>
                <dgm:constr type="l" for="ch" forName="line_7" refType="ctrX" refFor="ch" refForName="picture_7"/>
                <dgm:constr type="ctrY" for="ch" forName="line_7" refType="ctrY" refFor="ch" refForName="picture_7"/>
                <dgm:constr type="l" for="ch" forName="textparent_7"/>
                <dgm:constr type="h" for="ch" forName="textparent_7" refType="h" refFor="ch" refForName="picture_7"/>
                <dgm:constr type="r" for="ch" forName="textparent_7" refType="l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else>
          </dgm:choose>
        </dgm:else>
      </dgm:choose>
      <dgm:forEach name="wrapper" axis="self" ptType="parTrans">
        <dgm:forEach name="wrapper2" axis="self" ptType="sibTrans" st="2">
          <dgm:forEach name="pictureRepeat" axis="self">
            <dgm:layoutNode name="pictureRepeatNode" styleLbl="alignImgPlace1">
              <dgm:alg type="sp"/>
              <dgm:shape xmlns:r="http://schemas.openxmlformats.org/officeDocument/2006/relationships" type="ellipse" r:blip="" blipPhldr="1">
                <dgm:adjLst/>
              </dgm:shape>
              <dgm:presOf axis="self"/>
            </dgm:layoutNode>
          </dgm:forEach>
        </dgm:forEach>
      </dgm:forEach>
      <dgm:forEach name="Name28" axis="ch" ptType="sibTrans" hideLastTrans="0" cnt="1">
        <dgm:layoutNode name="picture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9" ref="pictureRepeat"/>
        </dgm:layoutNode>
      </dgm:forEach>
      <dgm:forEach name="Name30" axis="ch" ptType="node" cnt="1">
        <dgm:layoutNode name="text_1" styleLbl="node1">
          <dgm:varLst>
            <dgm:bulletEnabled val="1"/>
          </dgm:varLst>
          <dgm:alg type="tx">
            <dgm:param type="txAnchorVert" val="b"/>
            <dgm:param type="txAnchorVertCh" val="b"/>
            <dgm:param type="parTxRTLAlign" val="r"/>
            <dgm:param type="shpTxRTLAlignCh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primFontSz" val="65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</dgm:forEach>
      <dgm:forEach name="Name31" axis="ch" ptType="sibTrans" hideLastTrans="0" st="2" cnt="1">
        <dgm:layoutNode name="picture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2" ref="pictureRepeat"/>
        </dgm:layoutNode>
      </dgm:forEach>
      <dgm:forEach name="Name33" axis="ch" ptType="node" st="2" cnt="1">
        <dgm:layoutNode name="line_2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2">
          <dgm:choose name="Name34">
            <dgm:if name="Name35" func="var" arg="dir" op="equ" val="norm">
              <dgm:alg type="lin">
                <dgm:param type="horzAlign" val="l"/>
              </dgm:alg>
            </dgm:if>
            <dgm:else name="Name36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2" refType="w"/>
            <dgm:constr type="h" for="ch" forName="text_2" refType="h"/>
          </dgm:constrLst>
          <dgm:presOf/>
          <dgm:layoutNode name="text_2" styleLbl="revTx">
            <dgm:varLst>
              <dgm:bulletEnabled val="1"/>
            </dgm:varLst>
            <dgm:choose name="Name37">
              <dgm:if name="Name38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39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0" axis="ch" ptType="sibTrans" hideLastTrans="0" st="3" cnt="1">
        <dgm:layoutNode name="picture_3">
          <dgm:alg type="sp"/>
          <dgm:shape xmlns:r="http://schemas.openxmlformats.org/officeDocument/2006/relationships" r:blip="">
            <dgm:adjLst/>
          </dgm:shape>
          <dgm:presOf/>
          <dgm:constrLst/>
          <dgm:forEach name="Name41" ref="pictureRepeat"/>
        </dgm:layoutNode>
      </dgm:forEach>
      <dgm:forEach name="Name42" axis="ch" ptType="node" st="3" cnt="1">
        <dgm:layoutNode name="line_3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3">
          <dgm:choose name="Name43">
            <dgm:if name="Name44" func="var" arg="dir" op="equ" val="norm">
              <dgm:alg type="lin">
                <dgm:param type="horzAlign" val="l"/>
              </dgm:alg>
            </dgm:if>
            <dgm:else name="Name45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3" refType="w"/>
            <dgm:constr type="h" for="ch" forName="text_3" refType="h"/>
          </dgm:constrLst>
          <dgm:presOf/>
          <dgm:layoutNode name="text_3" styleLbl="revTx">
            <dgm:varLst>
              <dgm:bulletEnabled val="1"/>
            </dgm:varLst>
            <dgm:choose name="Name46">
              <dgm:if name="Name47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48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9" axis="ch" ptType="sibTrans" hideLastTrans="0" st="4" cnt="1">
        <dgm:layoutNode name="picture_4">
          <dgm:alg type="sp"/>
          <dgm:shape xmlns:r="http://schemas.openxmlformats.org/officeDocument/2006/relationships" r:blip="">
            <dgm:adjLst/>
          </dgm:shape>
          <dgm:presOf/>
          <dgm:constrLst/>
          <dgm:forEach name="Name50" ref="pictureRepeat"/>
        </dgm:layoutNode>
      </dgm:forEach>
      <dgm:forEach name="Name51" axis="ch" ptType="node" st="4" cnt="1">
        <dgm:layoutNode name="line_4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4">
          <dgm:choose name="Name52">
            <dgm:if name="Name53" func="var" arg="dir" op="equ" val="norm">
              <dgm:alg type="lin">
                <dgm:param type="horzAlign" val="l"/>
              </dgm:alg>
            </dgm:if>
            <dgm:else name="Name54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4" refType="w"/>
            <dgm:constr type="h" for="ch" forName="text_4" refType="h"/>
          </dgm:constrLst>
          <dgm:presOf/>
          <dgm:layoutNode name="text_4" styleLbl="revTx">
            <dgm:varLst>
              <dgm:bulletEnabled val="1"/>
            </dgm:varLst>
            <dgm:choose name="Name55">
              <dgm:if name="Name56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57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58" axis="ch" ptType="sibTrans" hideLastTrans="0" st="5" cnt="1">
        <dgm:layoutNode name="picture_5">
          <dgm:alg type="sp"/>
          <dgm:shape xmlns:r="http://schemas.openxmlformats.org/officeDocument/2006/relationships" r:blip="">
            <dgm:adjLst/>
          </dgm:shape>
          <dgm:presOf/>
          <dgm:constrLst/>
          <dgm:forEach name="Name59" ref="pictureRepeat"/>
        </dgm:layoutNode>
      </dgm:forEach>
      <dgm:forEach name="Name60" axis="ch" ptType="node" st="5" cnt="1">
        <dgm:layoutNode name="line_5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5">
          <dgm:choose name="Name61">
            <dgm:if name="Name62" func="var" arg="dir" op="equ" val="norm">
              <dgm:alg type="lin">
                <dgm:param type="horzAlign" val="l"/>
              </dgm:alg>
            </dgm:if>
            <dgm:else name="Name63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5" refType="w"/>
            <dgm:constr type="h" for="ch" forName="text_5" refType="h"/>
          </dgm:constrLst>
          <dgm:presOf/>
          <dgm:layoutNode name="text_5" styleLbl="revTx">
            <dgm:varLst>
              <dgm:bulletEnabled val="1"/>
            </dgm:varLst>
            <dgm:choose name="Name64">
              <dgm:if name="Name65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66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67" axis="ch" ptType="sibTrans" hideLastTrans="0" st="6" cnt="1">
        <dgm:layoutNode name="picture_6">
          <dgm:alg type="sp"/>
          <dgm:shape xmlns:r="http://schemas.openxmlformats.org/officeDocument/2006/relationships" r:blip="">
            <dgm:adjLst/>
          </dgm:shape>
          <dgm:presOf/>
          <dgm:constrLst/>
          <dgm:forEach name="Name68" ref="pictureRepeat"/>
        </dgm:layoutNode>
      </dgm:forEach>
      <dgm:forEach name="Name69" axis="ch" ptType="node" st="6" cnt="1">
        <dgm:layoutNode name="line_6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6">
          <dgm:choose name="Name70">
            <dgm:if name="Name71" func="var" arg="dir" op="equ" val="norm">
              <dgm:alg type="lin">
                <dgm:param type="horzAlign" val="l"/>
              </dgm:alg>
            </dgm:if>
            <dgm:else name="Name72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6" refType="w"/>
            <dgm:constr type="h" for="ch" forName="text_6" refType="h"/>
          </dgm:constrLst>
          <dgm:presOf/>
          <dgm:layoutNode name="text_6" styleLbl="revTx">
            <dgm:varLst>
              <dgm:bulletEnabled val="1"/>
            </dgm:varLst>
            <dgm:choose name="Name73">
              <dgm:if name="Name74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75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76" axis="ch" ptType="sibTrans" hideLastTrans="0" st="7" cnt="1">
        <dgm:layoutNode name="picture_7">
          <dgm:alg type="sp"/>
          <dgm:shape xmlns:r="http://schemas.openxmlformats.org/officeDocument/2006/relationships" r:blip="">
            <dgm:adjLst/>
          </dgm:shape>
          <dgm:presOf/>
          <dgm:constrLst/>
          <dgm:forEach name="Name77" ref="pictureRepeat"/>
        </dgm:layoutNode>
      </dgm:forEach>
      <dgm:forEach name="Name78" axis="ch" ptType="node" st="7" cnt="1">
        <dgm:layoutNode name="line_7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7">
          <dgm:choose name="Name79">
            <dgm:if name="Name80" func="var" arg="dir" op="equ" val="norm">
              <dgm:alg type="lin">
                <dgm:param type="horzAlign" val="l"/>
              </dgm:alg>
            </dgm:if>
            <dgm:else name="Name81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7" refType="w"/>
            <dgm:constr type="h" for="ch" forName="text_7" refType="h"/>
          </dgm:constrLst>
          <dgm:presOf/>
          <dgm:layoutNode name="text_7" styleLbl="revTx">
            <dgm:varLst>
              <dgm:bulletEnabled val="1"/>
            </dgm:varLst>
            <dgm:choose name="Name82">
              <dgm:if name="Name83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84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4EA253-955D-4C57-B618-2454D7C03E88}" type="datetimeFigureOut">
              <a:rPr lang="en-US" smtClean="0"/>
              <a:t>4/7/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8467B0-626D-4863-8D19-F939506291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526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5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245F1E-8344-9B42-A451-E0DA5A91D88B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443467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9218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9E96468-1DFB-D243-BA3D-ACD1B7363B18}" type="slidenum">
              <a:rPr lang="en-US" smtClean="0"/>
              <a:pPr>
                <a:defRPr/>
              </a:pPr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17680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65F8A2-3FF8-4461-9FC1-DFB0B3542DCF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19875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09575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635597-5783-6A41-8D77-9B47F9A9DA6E}" type="slidenum">
              <a:rPr lang="en-US" smtClean="0"/>
              <a:pPr>
                <a:defRPr/>
              </a:pPr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66326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38914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z="1100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fld id="{9A4090B2-BAC4-1245-8641-A0839EE0D55B}" type="slidenum">
              <a:rPr lang="en-US" sz="1200"/>
              <a:pPr/>
              <a:t>5</a:t>
            </a:fld>
            <a:endParaRPr lang="en-US" sz="1200"/>
          </a:p>
        </p:txBody>
      </p:sp>
      <p:sp>
        <p:nvSpPr>
          <p:cNvPr id="122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12291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97917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5B8467B0-626D-4863-8D19-F9395062919C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83151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  <a:defRPr/>
            </a:pPr>
            <a:endParaRPr lang="en-US" sz="1200" b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8467B0-626D-4863-8D19-F9395062919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4725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8467B0-626D-4863-8D19-F9395062919C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6147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84150" y="706438"/>
            <a:ext cx="6284913" cy="35353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04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87413" y="4478338"/>
            <a:ext cx="4876800" cy="42433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numCol="1" anchor="ctr" anchorCtr="0" compatLnSpc="1">
            <a:prstTxWarp prst="textNoShape">
              <a:avLst/>
            </a:prstTxWarp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77609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6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1" tIns="45711" rIns="91421" bIns="45711" anchor="b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C363AFF8-BE9A-46D6-997A-BDACFF74C6E6}" type="slidenum">
              <a:rPr lang="en-US" sz="1200"/>
              <a:pPr algn="r" eaLnBrk="1" hangingPunct="1"/>
              <a:t>20</a:t>
            </a:fld>
            <a:endParaRPr lang="en-US" sz="1200" dirty="0"/>
          </a:p>
        </p:txBody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68936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D683823-F501-454F-BD8B-90942597F1D3}" type="slidenum">
              <a:rPr lang="en-PH" smtClean="0"/>
              <a:pPr>
                <a:defRPr/>
              </a:pPr>
              <a:t>21</a:t>
            </a:fld>
            <a:endParaRPr lang="en-PH" dirty="0"/>
          </a:p>
        </p:txBody>
      </p:sp>
    </p:spTree>
    <p:extLst>
      <p:ext uri="{BB962C8B-B14F-4D97-AF65-F5344CB8AC3E}">
        <p14:creationId xmlns:p14="http://schemas.microsoft.com/office/powerpoint/2010/main" val="1283404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8467B0-626D-4863-8D19-F9395062919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4208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png"/><Relationship Id="rId5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png"/><Relationship Id="rId3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Relationship Id="rId3" Type="http://schemas.openxmlformats.org/officeDocument/2006/relationships/image" Target="../media/image1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47905" y="3527500"/>
            <a:ext cx="5943600" cy="336440"/>
          </a:xfr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lang="en-US" sz="2300" b="1" i="0" dirty="0">
                <a:solidFill>
                  <a:srgbClr val="6D6F71"/>
                </a:solidFill>
                <a:latin typeface="HelvNeue for IBM"/>
                <a:cs typeface="HelvNeue for IBM"/>
              </a:defRPr>
            </a:lvl1pPr>
          </a:lstStyle>
          <a:p>
            <a:pPr lvl="0"/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47905" y="1967460"/>
            <a:ext cx="5943600" cy="1603795"/>
          </a:xfrm>
        </p:spPr>
        <p:txBody>
          <a:bodyPr/>
          <a:lstStyle>
            <a:lvl1pPr>
              <a:lnSpc>
                <a:spcPct val="100000"/>
              </a:lnSpc>
              <a:defRPr sz="5000">
                <a:solidFill>
                  <a:srgbClr val="339C9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385"/>
            <a:ext cx="2133600" cy="274553"/>
          </a:xfrm>
          <a:prstGeom prst="rect">
            <a:avLst/>
          </a:prstGeom>
        </p:spPr>
        <p:txBody>
          <a:bodyPr/>
          <a:lstStyle>
            <a:lvl1pPr defTabSz="457200">
              <a:defRPr smtClean="0"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fld id="{4D02E87C-FEA2-394A-A8CC-F064244E3104}" type="datetime1">
              <a:rPr lang="en-US">
                <a:latin typeface="Calibri"/>
              </a:rPr>
              <a:pPr>
                <a:defRPr/>
              </a:pPr>
              <a:t>4/7/16</a:t>
            </a:fld>
            <a:endParaRPr lang="en-US">
              <a:latin typeface="Calibri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226441" y="4626137"/>
            <a:ext cx="455613" cy="272966"/>
          </a:xfrm>
          <a:prstGeom prst="rect">
            <a:avLst/>
          </a:prstGeom>
        </p:spPr>
        <p:txBody>
          <a:bodyPr/>
          <a:lstStyle>
            <a:lvl1pPr defTabSz="457200">
              <a:defRPr smtClean="0"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fld id="{ADC57D55-D524-8747-A2AD-5E291EDF4B4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4257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26441" y="4626137"/>
            <a:ext cx="455613" cy="272966"/>
          </a:xfrm>
          <a:prstGeom prst="rect">
            <a:avLst/>
          </a:prstGeom>
        </p:spPr>
        <p:txBody>
          <a:bodyPr/>
          <a:lstStyle>
            <a:lvl1pPr>
              <a:defRPr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7432907E-AB16-2E44-893B-23A4E12BF18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54500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119" y="250338"/>
            <a:ext cx="8771867" cy="62916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329613" y="4621378"/>
            <a:ext cx="455612" cy="271379"/>
          </a:xfrm>
          <a:prstGeom prst="rect">
            <a:avLst/>
          </a:prstGeom>
        </p:spPr>
        <p:txBody>
          <a:bodyPr/>
          <a:lstStyle>
            <a:lvl1pPr defTabSz="457200">
              <a:defRPr smtClean="0"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fld id="{FF388EBC-9AD7-A446-8E81-4B6DA44FD28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19018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25133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hoto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7985125" y="0"/>
            <a:ext cx="125413" cy="1246188"/>
          </a:xfrm>
          <a:prstGeom prst="rect">
            <a:avLst/>
          </a:prstGeom>
          <a:solidFill>
            <a:srgbClr val="1B39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5248275" y="4883150"/>
            <a:ext cx="125413" cy="27146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4" name="Picture 6" descr="lines_yllw.png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r="-2" b="42509"/>
          <a:stretch>
            <a:fillRect/>
          </a:stretch>
        </p:blipFill>
        <p:spPr bwMode="auto">
          <a:xfrm>
            <a:off x="6122988" y="147638"/>
            <a:ext cx="136525" cy="833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2" descr="lines_red.png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842"/>
          <a:stretch>
            <a:fillRect/>
          </a:stretch>
        </p:blipFill>
        <p:spPr bwMode="auto">
          <a:xfrm>
            <a:off x="2416175" y="4125913"/>
            <a:ext cx="136525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9" descr="Untitled-1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5725" y="4740275"/>
            <a:ext cx="822325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0"/>
          <p:cNvSpPr txBox="1">
            <a:spLocks noChangeArrowheads="1"/>
          </p:cNvSpPr>
          <p:nvPr userDrawn="1"/>
        </p:nvSpPr>
        <p:spPr bwMode="auto">
          <a:xfrm>
            <a:off x="8355013" y="4732338"/>
            <a:ext cx="339725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>
            <a:lvl1pPr defTabSz="13065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13065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13065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13065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13065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DF6870E5-4A49-A245-86CC-CB92205C9C52}" type="slidenum">
              <a:rPr lang="en-US" sz="700" smtClean="0">
                <a:solidFill>
                  <a:srgbClr val="000000"/>
                </a:solidFill>
                <a:cs typeface="Arial" charset="0"/>
              </a:rPr>
              <a:pPr algn="r" eaLnBrk="1" hangingPunct="1">
                <a:spcBef>
                  <a:spcPct val="50000"/>
                </a:spcBef>
                <a:defRPr/>
              </a:pPr>
              <a:t>‹#›</a:t>
            </a:fld>
            <a:endParaRPr lang="en-US" sz="700" smtClean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8" name="Picture 21"/>
          <p:cNvPicPr preferRelativeResize="0"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675" y="4676775"/>
            <a:ext cx="360363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8818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WHIT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025" y="4641850"/>
            <a:ext cx="450850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738" y="403225"/>
            <a:ext cx="1671637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0327" y="1737693"/>
            <a:ext cx="5992225" cy="844571"/>
          </a:xfrm>
          <a:ln>
            <a:noFill/>
          </a:ln>
        </p:spPr>
        <p:txBody>
          <a:bodyPr>
            <a:noAutofit/>
          </a:bodyPr>
          <a:lstStyle>
            <a:lvl1pPr algn="l">
              <a:defRPr sz="3200" cap="none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1901" y="2944167"/>
            <a:ext cx="3312887" cy="1055476"/>
          </a:xfrm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130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90205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Untitled-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5725" y="4740275"/>
            <a:ext cx="822325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40"/>
          <p:cNvSpPr txBox="1">
            <a:spLocks noChangeArrowheads="1"/>
          </p:cNvSpPr>
          <p:nvPr userDrawn="1"/>
        </p:nvSpPr>
        <p:spPr bwMode="auto">
          <a:xfrm>
            <a:off x="8355013" y="4732338"/>
            <a:ext cx="339725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>
            <a:lvl1pPr defTabSz="1306513" eaLnBrk="0" hangingPunct="0">
              <a:defRPr sz="26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4538" indent="-285750" defTabSz="1306513" eaLnBrk="0" hangingPunct="0">
              <a:defRPr sz="2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1306513" eaLnBrk="0" hangingPunct="0">
              <a:defRPr sz="2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1788" indent="-230188" defTabSz="1306513" eaLnBrk="0" hangingPunct="0">
              <a:defRPr sz="2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30188" defTabSz="1306513" eaLnBrk="0" hangingPunct="0">
              <a:defRPr sz="2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30188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30188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30188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30188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925906A9-B419-BC4C-A57D-7D64BC38085E}" type="slidenum">
              <a:rPr lang="en-US" sz="700" smtClean="0">
                <a:solidFill>
                  <a:srgbClr val="000000"/>
                </a:solidFill>
              </a:rPr>
              <a:pPr algn="r" eaLnBrk="1" hangingPunct="1">
                <a:spcBef>
                  <a:spcPct val="50000"/>
                </a:spcBef>
                <a:defRPr/>
              </a:pPr>
              <a:t>‹#›</a:t>
            </a:fld>
            <a:endParaRPr lang="en-US" sz="700" dirty="0" smtClean="0">
              <a:solidFill>
                <a:srgbClr val="000000"/>
              </a:solidFill>
            </a:endParaRPr>
          </a:p>
        </p:txBody>
      </p:sp>
      <p:pic>
        <p:nvPicPr>
          <p:cNvPr id="6" name="Picture 5"/>
          <p:cNvPicPr preferRelativeResize="0"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675" y="4676775"/>
            <a:ext cx="360363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Content Placeholder 2"/>
          <p:cNvSpPr>
            <a:spLocks noGrp="1"/>
          </p:cNvSpPr>
          <p:nvPr>
            <p:ph idx="10"/>
          </p:nvPr>
        </p:nvSpPr>
        <p:spPr>
          <a:xfrm>
            <a:off x="458778" y="1048748"/>
            <a:ext cx="8244899" cy="324941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>
                <a:solidFill>
                  <a:schemeClr val="bg2"/>
                </a:solidFill>
              </a:defRPr>
            </a:lvl1pPr>
            <a:lvl2pPr marL="457200" marR="0" indent="-13716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80000"/>
              <a:buFont typeface="Arial"/>
              <a:buChar char="•"/>
              <a:tabLst/>
              <a:defRPr>
                <a:solidFill>
                  <a:schemeClr val="bg2"/>
                </a:solidFill>
              </a:defRPr>
            </a:lvl2pPr>
            <a:lvl3pPr marL="685800" marR="0" indent="-13716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–"/>
              <a:tabLst/>
              <a:defRPr>
                <a:solidFill>
                  <a:schemeClr val="bg2"/>
                </a:solidFill>
              </a:defRPr>
            </a:lvl3pPr>
            <a:lvl4pPr marL="914400" marR="0" indent="-13716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 typeface="Arial"/>
              <a:buChar char="•"/>
              <a:tabLst/>
              <a:defRPr>
                <a:solidFill>
                  <a:schemeClr val="bg2"/>
                </a:solidFill>
              </a:defRPr>
            </a:lvl4pPr>
            <a:lvl5pPr marL="1143000" marR="0" indent="-13716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69178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2346961"/>
            <a:ext cx="6279378" cy="430887"/>
          </a:xfrm>
        </p:spPr>
        <p:txBody>
          <a:bodyPr anchor="ctr"/>
          <a:lstStyle>
            <a:lvl1pPr>
              <a:defRPr sz="2800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98639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</p:spPr>
        <p:txBody>
          <a:bodyPr rtlCol="0">
            <a:normAutofit/>
          </a:bodyPr>
          <a:lstStyle/>
          <a:p>
            <a:pPr lvl="0"/>
            <a:endParaRPr lang="en-US" noProof="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2346961"/>
            <a:ext cx="6279378" cy="430887"/>
          </a:xfrm>
        </p:spPr>
        <p:txBody>
          <a:bodyPr anchor="ctr"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88364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,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40"/>
          <p:cNvSpPr txBox="1">
            <a:spLocks noChangeArrowheads="1"/>
          </p:cNvSpPr>
          <p:nvPr userDrawn="1"/>
        </p:nvSpPr>
        <p:spPr bwMode="auto">
          <a:xfrm>
            <a:off x="8355013" y="4732338"/>
            <a:ext cx="339725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>
            <a:lvl1pPr defTabSz="1306513" eaLnBrk="0" hangingPunct="0">
              <a:defRPr sz="26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4538" indent="-285750" defTabSz="1306513" eaLnBrk="0" hangingPunct="0">
              <a:defRPr sz="2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1306513" eaLnBrk="0" hangingPunct="0">
              <a:defRPr sz="2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1788" indent="-230188" defTabSz="1306513" eaLnBrk="0" hangingPunct="0">
              <a:defRPr sz="2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30188" defTabSz="1306513" eaLnBrk="0" hangingPunct="0">
              <a:defRPr sz="2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30188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30188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30188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30188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4B09CDA7-0236-4B4F-BE12-05B842458637}" type="slidenum">
              <a:rPr lang="en-US" sz="700" smtClean="0">
                <a:solidFill>
                  <a:srgbClr val="000000"/>
                </a:solidFill>
              </a:rPr>
              <a:pPr algn="r" eaLnBrk="1" hangingPunct="1">
                <a:spcBef>
                  <a:spcPct val="50000"/>
                </a:spcBef>
                <a:defRPr/>
              </a:pPr>
              <a:t>‹#›</a:t>
            </a:fld>
            <a:endParaRPr lang="en-US" sz="700" dirty="0" smtClean="0">
              <a:solidFill>
                <a:srgbClr val="000000"/>
              </a:solidFill>
            </a:endParaRPr>
          </a:p>
        </p:txBody>
      </p:sp>
      <p:pic>
        <p:nvPicPr>
          <p:cNvPr id="6" name="Picture 4"/>
          <p:cNvPicPr preferRelativeResize="0"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675" y="4676775"/>
            <a:ext cx="360363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 descr="Untitled-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5725" y="4740275"/>
            <a:ext cx="822325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457200" y="1936540"/>
            <a:ext cx="4675717" cy="1654325"/>
          </a:xfrm>
        </p:spPr>
        <p:txBody>
          <a:bodyPr>
            <a:normAutofit/>
          </a:bodyPr>
          <a:lstStyle>
            <a:lvl1pPr marL="0" indent="0">
              <a:lnSpc>
                <a:spcPts val="3600"/>
              </a:lnSpc>
              <a:spcAft>
                <a:spcPts val="1200"/>
              </a:spcAft>
              <a:defRPr sz="3000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6523" y="1051561"/>
            <a:ext cx="7129611" cy="851111"/>
          </a:xfrm>
        </p:spPr>
        <p:txBody>
          <a:bodyPr>
            <a:normAutofit/>
          </a:bodyPr>
          <a:lstStyle>
            <a:lvl1pPr>
              <a:defRPr sz="2000">
                <a:solidFill>
                  <a:srgbClr val="000000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28841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8713" y="2211388"/>
            <a:ext cx="1803400" cy="722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766446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62000" y="1015473"/>
            <a:ext cx="6172200" cy="1183167"/>
          </a:xfrm>
        </p:spPr>
        <p:txBody>
          <a:bodyPr/>
          <a:lstStyle>
            <a:lvl1pPr>
              <a:defRPr>
                <a:solidFill>
                  <a:srgbClr val="339C9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62000" y="2266950"/>
            <a:ext cx="7461504" cy="2358794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762000" y="666752"/>
            <a:ext cx="4645816" cy="370124"/>
          </a:xfrm>
        </p:spPr>
        <p:txBody>
          <a:bodyPr>
            <a:spAutoFit/>
          </a:bodyPr>
          <a:lstStyle>
            <a:lvl1pPr>
              <a:defRPr sz="1400" b="1" i="0" spc="-20">
                <a:latin typeface="HelvNeue for IBM"/>
                <a:cs typeface="HelvNeue for IBM"/>
              </a:defRPr>
            </a:lvl1pPr>
            <a:lvl2pPr>
              <a:defRPr b="1" i="0">
                <a:latin typeface="HelvNeue for IBM"/>
                <a:cs typeface="HelvNeue for IBM"/>
              </a:defRPr>
            </a:lvl2pPr>
            <a:lvl3pPr>
              <a:defRPr b="1" i="0">
                <a:latin typeface="HelvNeue for IBM"/>
                <a:cs typeface="HelvNeue for IBM"/>
              </a:defRPr>
            </a:lvl3pPr>
            <a:lvl4pPr>
              <a:defRPr b="1" i="0">
                <a:latin typeface="HelvNeue for IBM"/>
                <a:cs typeface="HelvNeue for IBM"/>
              </a:defRPr>
            </a:lvl4pPr>
            <a:lvl5pPr>
              <a:defRPr b="0" i="0">
                <a:latin typeface="HelvNeue for IBM Medium"/>
                <a:cs typeface="HelvNeue for IBM Medium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5"/>
          </p:nvPr>
        </p:nvSpPr>
        <p:spPr>
          <a:xfrm>
            <a:off x="457200" y="4767385"/>
            <a:ext cx="2133600" cy="274553"/>
          </a:xfrm>
          <a:prstGeom prst="rect">
            <a:avLst/>
          </a:prstGeom>
        </p:spPr>
        <p:txBody>
          <a:bodyPr/>
          <a:lstStyle>
            <a:lvl1pPr defTabSz="457200">
              <a:defRPr smtClean="0"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fld id="{039387DA-9B70-D84E-A3EA-385FEEDFB387}" type="datetime1">
              <a:rPr lang="en-US">
                <a:latin typeface="Calibri"/>
              </a:rPr>
              <a:pPr>
                <a:defRPr/>
              </a:pPr>
              <a:t>4/7/16</a:t>
            </a:fld>
            <a:endParaRPr lang="en-US">
              <a:latin typeface="Calibri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329613" y="4621378"/>
            <a:ext cx="455612" cy="271379"/>
          </a:xfrm>
          <a:prstGeom prst="rect">
            <a:avLst/>
          </a:prstGeom>
        </p:spPr>
        <p:txBody>
          <a:bodyPr/>
          <a:lstStyle>
            <a:lvl1pPr defTabSz="457200">
              <a:defRPr smtClean="0"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fld id="{FF388EBC-9AD7-A446-8E81-4B6DA44FD28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30326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61999" y="1015473"/>
            <a:ext cx="4434840" cy="1183167"/>
          </a:xfrm>
        </p:spPr>
        <p:txBody>
          <a:bodyPr/>
          <a:lstStyle>
            <a:lvl1pPr>
              <a:defRPr>
                <a:solidFill>
                  <a:srgbClr val="339C9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61999" y="2266950"/>
            <a:ext cx="4434840" cy="2358794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/>
            </a:lvl1pPr>
            <a:lvl2pPr>
              <a:lnSpc>
                <a:spcPct val="140000"/>
              </a:lnSpc>
              <a:spcBef>
                <a:spcPts val="0"/>
              </a:spcBef>
              <a:defRPr/>
            </a:lvl2pPr>
            <a:lvl3pPr>
              <a:lnSpc>
                <a:spcPct val="140000"/>
              </a:lnSpc>
              <a:spcBef>
                <a:spcPts val="0"/>
              </a:spcBef>
              <a:defRPr/>
            </a:lvl3pPr>
            <a:lvl4pPr>
              <a:lnSpc>
                <a:spcPct val="140000"/>
              </a:lnSpc>
              <a:spcBef>
                <a:spcPts val="0"/>
              </a:spcBef>
              <a:defRPr/>
            </a:lvl4pPr>
            <a:lvl5pPr>
              <a:lnSpc>
                <a:spcPct val="14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762000" y="666752"/>
            <a:ext cx="4434840" cy="370124"/>
          </a:xfrm>
        </p:spPr>
        <p:txBody>
          <a:bodyPr>
            <a:spAutoFit/>
          </a:bodyPr>
          <a:lstStyle>
            <a:lvl1pPr>
              <a:defRPr sz="1400" b="1" i="0" spc="-20">
                <a:latin typeface="HelvNeue for IBM"/>
                <a:cs typeface="HelvNeue for IBM"/>
              </a:defRPr>
            </a:lvl1pPr>
            <a:lvl2pPr>
              <a:defRPr b="1" i="0">
                <a:latin typeface="HelvNeue for IBM"/>
                <a:cs typeface="HelvNeue for IBM"/>
              </a:defRPr>
            </a:lvl2pPr>
            <a:lvl3pPr>
              <a:defRPr b="1" i="0">
                <a:latin typeface="HelvNeue for IBM"/>
                <a:cs typeface="HelvNeue for IBM"/>
              </a:defRPr>
            </a:lvl3pPr>
            <a:lvl4pPr>
              <a:defRPr b="1" i="0">
                <a:latin typeface="HelvNeue for IBM"/>
                <a:cs typeface="HelvNeue for IBM"/>
              </a:defRPr>
            </a:lvl4pPr>
            <a:lvl5pPr>
              <a:defRPr b="0" i="0">
                <a:latin typeface="HelvNeue for IBM Medium"/>
                <a:cs typeface="HelvNeue for IBM Medium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5"/>
          </p:nvPr>
        </p:nvSpPr>
        <p:spPr>
          <a:xfrm>
            <a:off x="457200" y="4767385"/>
            <a:ext cx="2133600" cy="274553"/>
          </a:xfrm>
          <a:prstGeom prst="rect">
            <a:avLst/>
          </a:prstGeom>
        </p:spPr>
        <p:txBody>
          <a:bodyPr/>
          <a:lstStyle>
            <a:lvl1pPr defTabSz="457200">
              <a:defRPr smtClean="0"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fld id="{AC1800EA-983D-384F-BFD7-077F5947DA3F}" type="datetime1">
              <a:rPr lang="en-US">
                <a:latin typeface="Calibri"/>
              </a:rPr>
              <a:pPr>
                <a:defRPr/>
              </a:pPr>
              <a:t>4/7/16</a:t>
            </a:fld>
            <a:endParaRPr lang="en-US"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26441" y="4626137"/>
            <a:ext cx="455613" cy="272966"/>
          </a:xfrm>
          <a:prstGeom prst="rect">
            <a:avLst/>
          </a:prstGeom>
        </p:spPr>
        <p:txBody>
          <a:bodyPr/>
          <a:lstStyle>
            <a:lvl1pPr defTabSz="457200">
              <a:defRPr smtClean="0"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fld id="{513A3EE2-9205-484B-AD9C-3D61982A5F8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46095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62000" y="1015473"/>
            <a:ext cx="6172200" cy="1183167"/>
          </a:xfrm>
        </p:spPr>
        <p:txBody>
          <a:bodyPr/>
          <a:lstStyle>
            <a:lvl1pPr>
              <a:defRPr>
                <a:solidFill>
                  <a:srgbClr val="339C9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62000" y="4383046"/>
            <a:ext cx="7461504" cy="242699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700" b="1" i="1">
                <a:latin typeface="HelvNeue for IBM"/>
                <a:cs typeface="HelvNeue for IBM"/>
              </a:defRPr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762000" y="666752"/>
            <a:ext cx="4434840" cy="370124"/>
          </a:xfrm>
        </p:spPr>
        <p:txBody>
          <a:bodyPr>
            <a:spAutoFit/>
          </a:bodyPr>
          <a:lstStyle>
            <a:lvl1pPr>
              <a:defRPr sz="1400" b="1" i="0" spc="-20">
                <a:latin typeface="HelvNeue for IBM"/>
                <a:cs typeface="HelvNeue for IBM"/>
              </a:defRPr>
            </a:lvl1pPr>
            <a:lvl2pPr>
              <a:defRPr b="1" i="0">
                <a:latin typeface="HelvNeue for IBM"/>
                <a:cs typeface="HelvNeue for IBM"/>
              </a:defRPr>
            </a:lvl2pPr>
            <a:lvl3pPr>
              <a:defRPr b="1" i="0">
                <a:latin typeface="HelvNeue for IBM"/>
                <a:cs typeface="HelvNeue for IBM"/>
              </a:defRPr>
            </a:lvl3pPr>
            <a:lvl4pPr>
              <a:defRPr b="1" i="0">
                <a:latin typeface="HelvNeue for IBM"/>
                <a:cs typeface="HelvNeue for IBM"/>
              </a:defRPr>
            </a:lvl4pPr>
            <a:lvl5pPr>
              <a:defRPr b="0" i="0">
                <a:latin typeface="HelvNeue for IBM Medium"/>
                <a:cs typeface="HelvNeue for IBM Medium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762000" y="2266952"/>
            <a:ext cx="7461504" cy="20574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6"/>
          </p:nvPr>
        </p:nvSpPr>
        <p:spPr>
          <a:xfrm>
            <a:off x="457200" y="4767385"/>
            <a:ext cx="2133600" cy="274553"/>
          </a:xfrm>
          <a:prstGeom prst="rect">
            <a:avLst/>
          </a:prstGeom>
        </p:spPr>
        <p:txBody>
          <a:bodyPr/>
          <a:lstStyle>
            <a:lvl1pPr defTabSz="457200">
              <a:defRPr smtClean="0"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fld id="{9E6269CA-E1ED-D347-9DCE-AA827A9FBDC2}" type="datetime1">
              <a:rPr lang="en-US">
                <a:latin typeface="Calibri"/>
              </a:rPr>
              <a:pPr>
                <a:defRPr/>
              </a:pPr>
              <a:t>4/7/16</a:t>
            </a:fld>
            <a:endParaRPr lang="en-US">
              <a:latin typeface="Calibri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8226441" y="4626137"/>
            <a:ext cx="455613" cy="272966"/>
          </a:xfrm>
          <a:prstGeom prst="rect">
            <a:avLst/>
          </a:prstGeom>
        </p:spPr>
        <p:txBody>
          <a:bodyPr/>
          <a:lstStyle>
            <a:lvl1pPr defTabSz="457200">
              <a:defRPr smtClean="0"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fld id="{C12D9151-885A-3247-9AF0-969438E367B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2842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39C9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762000" y="666752"/>
            <a:ext cx="4434840" cy="370124"/>
          </a:xfrm>
        </p:spPr>
        <p:txBody>
          <a:bodyPr>
            <a:spAutoFit/>
          </a:bodyPr>
          <a:lstStyle>
            <a:lvl1pPr>
              <a:defRPr sz="1400" b="1" i="0" spc="-20">
                <a:latin typeface="HelvNeue for IBM"/>
                <a:cs typeface="HelvNeue for IBM"/>
              </a:defRPr>
            </a:lvl1pPr>
            <a:lvl2pPr>
              <a:defRPr b="1" i="0">
                <a:latin typeface="HelvNeue for IBM"/>
                <a:cs typeface="HelvNeue for IBM"/>
              </a:defRPr>
            </a:lvl2pPr>
            <a:lvl3pPr>
              <a:defRPr b="1" i="0">
                <a:latin typeface="HelvNeue for IBM"/>
                <a:cs typeface="HelvNeue for IBM"/>
              </a:defRPr>
            </a:lvl3pPr>
            <a:lvl4pPr>
              <a:defRPr b="1" i="0">
                <a:latin typeface="HelvNeue for IBM"/>
                <a:cs typeface="HelvNeue for IBM"/>
              </a:defRPr>
            </a:lvl4pPr>
            <a:lvl5pPr>
              <a:defRPr b="0" i="0">
                <a:latin typeface="HelvNeue for IBM Medium"/>
                <a:cs typeface="HelvNeue for IBM Medium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>
          <a:xfrm>
            <a:off x="457200" y="4767385"/>
            <a:ext cx="2133600" cy="274553"/>
          </a:xfrm>
          <a:prstGeom prst="rect">
            <a:avLst/>
          </a:prstGeom>
        </p:spPr>
        <p:txBody>
          <a:bodyPr/>
          <a:lstStyle>
            <a:lvl1pPr defTabSz="457200">
              <a:defRPr smtClean="0"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fld id="{189A899B-9967-E349-9379-5B87EBE5833A}" type="datetime1">
              <a:rPr lang="en-US">
                <a:latin typeface="Calibri"/>
              </a:rPr>
              <a:pPr>
                <a:defRPr/>
              </a:pPr>
              <a:t>4/7/16</a:t>
            </a:fld>
            <a:endParaRPr lang="en-US">
              <a:latin typeface="Calibri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329613" y="4621378"/>
            <a:ext cx="455612" cy="271379"/>
          </a:xfrm>
          <a:prstGeom prst="rect">
            <a:avLst/>
          </a:prstGeom>
        </p:spPr>
        <p:txBody>
          <a:bodyPr/>
          <a:lstStyle>
            <a:lvl1pPr defTabSz="457200">
              <a:defRPr smtClean="0"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fld id="{42B8380A-F8A2-EE49-9833-CD52D361862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0944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ing no Text condens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28600" y="134104"/>
            <a:ext cx="7543800" cy="459892"/>
          </a:xfrm>
        </p:spPr>
        <p:txBody>
          <a:bodyPr/>
          <a:lstStyle>
            <a:lvl1pPr>
              <a:defRPr sz="2800">
                <a:solidFill>
                  <a:srgbClr val="339C9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385"/>
            <a:ext cx="2133600" cy="274553"/>
          </a:xfrm>
          <a:prstGeom prst="rect">
            <a:avLst/>
          </a:prstGeom>
        </p:spPr>
        <p:txBody>
          <a:bodyPr/>
          <a:lstStyle>
            <a:lvl1pPr defTabSz="457200">
              <a:defRPr smtClean="0"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fld id="{DA66A749-C808-A049-B8C7-82E36F4463D4}" type="datetime1">
              <a:rPr lang="en-US">
                <a:latin typeface="Calibri"/>
              </a:rPr>
              <a:pPr>
                <a:defRPr/>
              </a:pPr>
              <a:t>4/7/16</a:t>
            </a:fld>
            <a:endParaRPr lang="en-US">
              <a:latin typeface="Calibri"/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329613" y="4621378"/>
            <a:ext cx="455612" cy="271379"/>
          </a:xfrm>
          <a:prstGeom prst="rect">
            <a:avLst/>
          </a:prstGeom>
        </p:spPr>
        <p:txBody>
          <a:bodyPr/>
          <a:lstStyle>
            <a:lvl1pPr defTabSz="457200">
              <a:defRPr smtClean="0"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fld id="{EC7930A3-C655-9643-8F56-97E44D8CA29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5238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16" y="4618199"/>
            <a:ext cx="7967663" cy="28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342802"/>
            <a:ext cx="8229600" cy="4180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6366" y="1639597"/>
            <a:ext cx="5943600" cy="336440"/>
          </a:xfrm>
          <a:noFill/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lang="en-US" sz="2300" b="1" i="0" dirty="0">
                <a:solidFill>
                  <a:srgbClr val="FFD91B"/>
                </a:solidFill>
                <a:latin typeface="HelvNeue for IBM"/>
                <a:cs typeface="HelvNeue for IBM"/>
              </a:defRPr>
            </a:lvl1pPr>
          </a:lstStyle>
          <a:p>
            <a:pPr lvl="0"/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47905" y="2053511"/>
            <a:ext cx="5943600" cy="1603795"/>
          </a:xfrm>
        </p:spPr>
        <p:txBody>
          <a:bodyPr/>
          <a:lstStyle>
            <a:lvl1pPr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208963" y="4626137"/>
            <a:ext cx="455612" cy="272966"/>
          </a:xfrm>
          <a:prstGeom prst="rect">
            <a:avLst/>
          </a:prstGeom>
        </p:spPr>
        <p:txBody>
          <a:bodyPr/>
          <a:lstStyle>
            <a:lvl1pPr defTabSz="457200">
              <a:defRPr smtClean="0"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fld id="{CA153072-123E-9141-B4DD-9B60C2170F3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88861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ing no text _condens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30146" y="5602"/>
            <a:ext cx="7466924" cy="459892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385"/>
            <a:ext cx="2133600" cy="274553"/>
          </a:xfrm>
          <a:prstGeom prst="rect">
            <a:avLst/>
          </a:prstGeom>
        </p:spPr>
        <p:txBody>
          <a:bodyPr/>
          <a:lstStyle>
            <a:lvl1pPr defTabSz="457200">
              <a:defRPr smtClean="0"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fld id="{D73A4C68-405A-0648-BDB7-F808FD97AEA1}" type="datetime1">
              <a:rPr lang="en-US">
                <a:latin typeface="Calibri"/>
              </a:rPr>
              <a:pPr>
                <a:defRPr/>
              </a:pPr>
              <a:t>4/7/16</a:t>
            </a:fld>
            <a:endParaRPr lang="en-US">
              <a:latin typeface="Calibri"/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329613" y="4621378"/>
            <a:ext cx="455612" cy="271379"/>
          </a:xfrm>
          <a:prstGeom prst="rect">
            <a:avLst/>
          </a:prstGeom>
        </p:spPr>
        <p:txBody>
          <a:bodyPr/>
          <a:lstStyle>
            <a:lvl1pPr defTabSz="457200">
              <a:defRPr smtClean="0"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fld id="{FF388EBC-9AD7-A446-8E81-4B6DA44FD28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2220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1928813" y="485626"/>
            <a:ext cx="0" cy="4275405"/>
          </a:xfrm>
          <a:prstGeom prst="line">
            <a:avLst/>
          </a:prstGeom>
          <a:ln w="3175" cmpd="sng">
            <a:solidFill>
              <a:srgbClr val="B8B8B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6826" y="460866"/>
            <a:ext cx="6851136" cy="665477"/>
          </a:xfrm>
        </p:spPr>
        <p:txBody>
          <a:bodyPr>
            <a:normAutofit/>
          </a:bodyPr>
          <a:lstStyle>
            <a:lvl1pPr>
              <a:defRPr sz="1600" b="1" i="0" spc="-90" normalizeH="0" baseline="0">
                <a:solidFill>
                  <a:schemeClr val="tx1"/>
                </a:solidFill>
                <a:latin typeface="Helvetica Neue"/>
                <a:cs typeface="Helvetica Neue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11161" y="494702"/>
            <a:ext cx="1584325" cy="4174808"/>
          </a:xfrm>
        </p:spPr>
        <p:txBody>
          <a:bodyPr/>
          <a:lstStyle>
            <a:lvl1pPr marL="171450" indent="-171450">
              <a:buFont typeface="Arial"/>
              <a:buChar char="•"/>
              <a:defRPr sz="1200" b="1">
                <a:latin typeface="Helvetica Neue"/>
                <a:cs typeface="Helvetica Neue"/>
              </a:defRPr>
            </a:lvl1pPr>
            <a:lvl2pPr marL="171450" indent="-171450">
              <a:buFont typeface="Arial"/>
              <a:buChar char="•"/>
              <a:defRPr sz="1100" i="1"/>
            </a:lvl2pPr>
            <a:lvl3pPr marL="168275" indent="-168275">
              <a:buFont typeface="Lucida Grande"/>
              <a:buChar char="+"/>
              <a:defRPr sz="1100" i="1"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2078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5" Type="http://schemas.openxmlformats.org/officeDocument/2006/relationships/image" Target="../media/image1.png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9.xml"/><Relationship Id="rId7" Type="http://schemas.openxmlformats.org/officeDocument/2006/relationships/theme" Target="../theme/theme2.xml"/><Relationship Id="rId1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762000" y="1015694"/>
            <a:ext cx="6172200" cy="1183167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64283" tIns="32142" rIns="64283" bIns="32142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837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62016" y="2266258"/>
            <a:ext cx="7464425" cy="2351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64283" tIns="32142" rIns="64283" bIns="321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Untitled-1.pn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5725" y="4740275"/>
            <a:ext cx="822325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40"/>
          <p:cNvSpPr txBox="1">
            <a:spLocks noChangeArrowheads="1"/>
          </p:cNvSpPr>
          <p:nvPr userDrawn="1"/>
        </p:nvSpPr>
        <p:spPr bwMode="auto">
          <a:xfrm>
            <a:off x="8355013" y="4732338"/>
            <a:ext cx="339725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>
            <a:lvl1pPr defTabSz="1306513" eaLnBrk="0" hangingPunct="0">
              <a:defRPr sz="26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4538" indent="-285750" defTabSz="1306513" eaLnBrk="0" hangingPunct="0">
              <a:defRPr sz="2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1306513" eaLnBrk="0" hangingPunct="0">
              <a:defRPr sz="2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1788" indent="-230188" defTabSz="1306513" eaLnBrk="0" hangingPunct="0">
              <a:defRPr sz="2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30188" defTabSz="1306513" eaLnBrk="0" hangingPunct="0">
              <a:defRPr sz="2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30188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30188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30188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30188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fld id="{925906A9-B419-BC4C-A57D-7D64BC38085E}" type="slidenum">
              <a:rPr lang="en-US" sz="700" smtClean="0">
                <a:solidFill>
                  <a:srgbClr val="000000"/>
                </a:solidFill>
              </a:rPr>
              <a:pPr algn="r" eaLnBrk="1" fontAlgn="auto" hangingPunct="1">
                <a:spcBef>
                  <a:spcPct val="50000"/>
                </a:spcBef>
                <a:spcAft>
                  <a:spcPts val="0"/>
                </a:spcAft>
                <a:defRPr/>
              </a:pPr>
              <a:t>‹#›</a:t>
            </a:fld>
            <a:endParaRPr lang="en-US" sz="700" dirty="0" smtClean="0">
              <a:solidFill>
                <a:srgbClr val="000000"/>
              </a:solidFill>
            </a:endParaRPr>
          </a:p>
        </p:txBody>
      </p:sp>
      <p:pic>
        <p:nvPicPr>
          <p:cNvPr id="10" name="Picture 9"/>
          <p:cNvPicPr preferRelativeResize="0">
            <a:picLocks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675" y="4676775"/>
            <a:ext cx="360363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3418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5" r:id="rId12"/>
    <p:sldLayoutId id="2147483763" r:id="rId13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31908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kern="1200" spc="-50">
          <a:solidFill>
            <a:srgbClr val="339C96"/>
          </a:solidFill>
          <a:latin typeface="HelvNeue for IBM Light"/>
          <a:ea typeface="MS PGothic" pitchFamily="34" charset="-128"/>
          <a:cs typeface="HelvNeue for IBM Light"/>
        </a:defRPr>
      </a:lvl1pPr>
      <a:lvl2pPr algn="l" defTabSz="31908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>
          <a:solidFill>
            <a:srgbClr val="4FD9E7"/>
          </a:solidFill>
          <a:latin typeface="HelvNeue for IBM Light" charset="0"/>
          <a:ea typeface="MS PGothic" pitchFamily="34" charset="-128"/>
          <a:cs typeface="HelvNeue for IBM Light" charset="0"/>
        </a:defRPr>
      </a:lvl2pPr>
      <a:lvl3pPr algn="l" defTabSz="31908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>
          <a:solidFill>
            <a:srgbClr val="4FD9E7"/>
          </a:solidFill>
          <a:latin typeface="HelvNeue for IBM Light" charset="0"/>
          <a:ea typeface="MS PGothic" pitchFamily="34" charset="-128"/>
          <a:cs typeface="HelvNeue for IBM Light" charset="0"/>
        </a:defRPr>
      </a:lvl3pPr>
      <a:lvl4pPr algn="l" defTabSz="31908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>
          <a:solidFill>
            <a:srgbClr val="4FD9E7"/>
          </a:solidFill>
          <a:latin typeface="HelvNeue for IBM Light" charset="0"/>
          <a:ea typeface="MS PGothic" pitchFamily="34" charset="-128"/>
          <a:cs typeface="HelvNeue for IBM Light" charset="0"/>
        </a:defRPr>
      </a:lvl4pPr>
      <a:lvl5pPr algn="l" defTabSz="31908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>
          <a:solidFill>
            <a:srgbClr val="4FD9E7"/>
          </a:solidFill>
          <a:latin typeface="HelvNeue for IBM Light" charset="0"/>
          <a:ea typeface="MS PGothic" pitchFamily="34" charset="-128"/>
          <a:cs typeface="HelvNeue for IBM Light" charset="0"/>
        </a:defRPr>
      </a:lvl5pPr>
      <a:lvl6pPr marL="321419" algn="ctr" defTabSz="321419" rtl="0" fontAlgn="base">
        <a:lnSpc>
          <a:spcPct val="90000"/>
        </a:lnSpc>
        <a:spcBef>
          <a:spcPct val="0"/>
        </a:spcBef>
        <a:spcAft>
          <a:spcPct val="0"/>
        </a:spcAft>
        <a:defRPr sz="3900">
          <a:solidFill>
            <a:srgbClr val="4FFAFF"/>
          </a:solidFill>
          <a:latin typeface="Lubalin for IBM Extra Light" charset="0"/>
          <a:ea typeface="ＭＳ Ｐゴシック" charset="0"/>
        </a:defRPr>
      </a:lvl6pPr>
      <a:lvl7pPr marL="642840" algn="ctr" defTabSz="321419" rtl="0" fontAlgn="base">
        <a:lnSpc>
          <a:spcPct val="90000"/>
        </a:lnSpc>
        <a:spcBef>
          <a:spcPct val="0"/>
        </a:spcBef>
        <a:spcAft>
          <a:spcPct val="0"/>
        </a:spcAft>
        <a:defRPr sz="3900">
          <a:solidFill>
            <a:srgbClr val="4FFAFF"/>
          </a:solidFill>
          <a:latin typeface="Lubalin for IBM Extra Light" charset="0"/>
          <a:ea typeface="ＭＳ Ｐゴシック" charset="0"/>
        </a:defRPr>
      </a:lvl7pPr>
      <a:lvl8pPr marL="964259" algn="ctr" defTabSz="321419" rtl="0" fontAlgn="base">
        <a:lnSpc>
          <a:spcPct val="90000"/>
        </a:lnSpc>
        <a:spcBef>
          <a:spcPct val="0"/>
        </a:spcBef>
        <a:spcAft>
          <a:spcPct val="0"/>
        </a:spcAft>
        <a:defRPr sz="3900">
          <a:solidFill>
            <a:srgbClr val="4FFAFF"/>
          </a:solidFill>
          <a:latin typeface="Lubalin for IBM Extra Light" charset="0"/>
          <a:ea typeface="ＭＳ Ｐゴシック" charset="0"/>
        </a:defRPr>
      </a:lvl8pPr>
      <a:lvl9pPr marL="1285679" algn="ctr" defTabSz="321419" rtl="0" fontAlgn="base">
        <a:lnSpc>
          <a:spcPct val="90000"/>
        </a:lnSpc>
        <a:spcBef>
          <a:spcPct val="0"/>
        </a:spcBef>
        <a:spcAft>
          <a:spcPct val="0"/>
        </a:spcAft>
        <a:defRPr sz="3900">
          <a:solidFill>
            <a:srgbClr val="4FFAFF"/>
          </a:solidFill>
          <a:latin typeface="Lubalin for IBM Extra Light" charset="0"/>
          <a:ea typeface="ＭＳ Ｐゴシック" charset="0"/>
        </a:defRPr>
      </a:lvl9pPr>
    </p:titleStyle>
    <p:bodyStyle>
      <a:lvl1pPr marL="342900" indent="-342900" algn="l" defTabSz="319088" rtl="0" eaLnBrk="0" fontAlgn="base" hangingPunct="0">
        <a:lnSpc>
          <a:spcPct val="150000"/>
        </a:lnSpc>
        <a:spcBef>
          <a:spcPts val="538"/>
        </a:spcBef>
        <a:spcAft>
          <a:spcPct val="0"/>
        </a:spcAft>
        <a:buFont typeface="Arial" charset="0"/>
        <a:defRPr sz="1200" kern="1200">
          <a:solidFill>
            <a:srgbClr val="6D6F71"/>
          </a:solidFill>
          <a:latin typeface="HelvNeue for IBM Light"/>
          <a:ea typeface="MS PGothic" pitchFamily="34" charset="-128"/>
          <a:cs typeface="HelvNeue for IBM Light"/>
        </a:defRPr>
      </a:lvl1pPr>
      <a:lvl2pPr marL="285750" indent="-285750" algn="l" defTabSz="319088" rtl="0" eaLnBrk="0" fontAlgn="base" hangingPunct="0">
        <a:lnSpc>
          <a:spcPct val="150000"/>
        </a:lnSpc>
        <a:spcBef>
          <a:spcPts val="1075"/>
        </a:spcBef>
        <a:spcAft>
          <a:spcPct val="0"/>
        </a:spcAft>
        <a:buClr>
          <a:srgbClr val="4FFAFF"/>
        </a:buClr>
        <a:buFont typeface="Arial" charset="0"/>
        <a:buChar char="•"/>
        <a:defRPr sz="1200" kern="1200">
          <a:solidFill>
            <a:srgbClr val="6D6F71"/>
          </a:solidFill>
          <a:latin typeface="HelvNeue for IBM Light"/>
          <a:ea typeface="MS PGothic" pitchFamily="34" charset="-128"/>
          <a:cs typeface="HelvNeue for IBM Light"/>
        </a:defRPr>
      </a:lvl2pPr>
      <a:lvl3pPr marL="1143000" indent="-228600" algn="l" defTabSz="319088" rtl="0" eaLnBrk="0" fontAlgn="base" hangingPunct="0">
        <a:lnSpc>
          <a:spcPct val="150000"/>
        </a:lnSpc>
        <a:spcBef>
          <a:spcPts val="900"/>
        </a:spcBef>
        <a:spcAft>
          <a:spcPct val="0"/>
        </a:spcAft>
        <a:buClr>
          <a:srgbClr val="4FFAFF"/>
        </a:buClr>
        <a:defRPr lang="en-US" sz="1200" kern="1200" dirty="0">
          <a:solidFill>
            <a:srgbClr val="6D6F71"/>
          </a:solidFill>
          <a:latin typeface="HelvNeue for IBM Light"/>
          <a:ea typeface="MS PGothic" pitchFamily="34" charset="-128"/>
          <a:cs typeface="HelvNeue for IBM Light"/>
        </a:defRPr>
      </a:lvl3pPr>
      <a:lvl4pPr marL="74613" indent="-74613" algn="l" defTabSz="319088" rtl="0" eaLnBrk="0" fontAlgn="base" hangingPunct="0">
        <a:lnSpc>
          <a:spcPct val="150000"/>
        </a:lnSpc>
        <a:spcBef>
          <a:spcPct val="20000"/>
        </a:spcBef>
        <a:spcAft>
          <a:spcPct val="0"/>
        </a:spcAft>
        <a:buClr>
          <a:srgbClr val="39B2E7"/>
        </a:buClr>
        <a:buSzPct val="125000"/>
        <a:buFont typeface="Arial" charset="0"/>
        <a:buChar char="•"/>
        <a:defRPr sz="1200" kern="1200">
          <a:solidFill>
            <a:srgbClr val="6D6F71"/>
          </a:solidFill>
          <a:latin typeface="HelvNeue for IBM Light"/>
          <a:ea typeface="HelvNeue for IBM" charset="0"/>
          <a:cs typeface="HelvNeue for IBM Light"/>
        </a:defRPr>
      </a:lvl4pPr>
      <a:lvl5pPr marL="307975" indent="-144463" algn="l" defTabSz="319088" rtl="0" eaLnBrk="0" fontAlgn="base" hangingPunct="0">
        <a:lnSpc>
          <a:spcPct val="150000"/>
        </a:lnSpc>
        <a:spcBef>
          <a:spcPct val="20000"/>
        </a:spcBef>
        <a:spcAft>
          <a:spcPct val="0"/>
        </a:spcAft>
        <a:buClr>
          <a:srgbClr val="39B2E7"/>
        </a:buClr>
        <a:buFont typeface="Arial" charset="0"/>
        <a:buChar char="–"/>
        <a:defRPr sz="1200" kern="1200">
          <a:solidFill>
            <a:srgbClr val="6D6F71"/>
          </a:solidFill>
          <a:latin typeface="HelvNeue for IBM Light"/>
          <a:ea typeface="MS PGothic" pitchFamily="34" charset="-128"/>
          <a:cs typeface="HelvNeue for IBM Light"/>
        </a:defRPr>
      </a:lvl5pPr>
      <a:lvl6pPr marL="1767808" indent="-160710" algn="l" defTabSz="321419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89229" indent="-160710" algn="l" defTabSz="321419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10648" indent="-160710" algn="l" defTabSz="321419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32068" indent="-160710" algn="l" defTabSz="321419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2141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1419" algn="l" defTabSz="32141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42840" algn="l" defTabSz="32141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64259" algn="l" defTabSz="32141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85679" algn="l" defTabSz="32141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07099" algn="l" defTabSz="32141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28519" algn="l" defTabSz="32141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49938" algn="l" defTabSz="32141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571358" algn="l" defTabSz="32141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393700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049338"/>
            <a:ext cx="8229600" cy="3249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979148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rgbClr val="00B4A0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B4A0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B4A0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B4A0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B4A0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charset="0"/>
          <a:ea typeface="ＭＳ Ｐゴシック" charset="0"/>
          <a:cs typeface="ＭＳ Ｐゴシック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charset="0"/>
          <a:ea typeface="ＭＳ Ｐゴシック" charset="0"/>
          <a:cs typeface="ＭＳ Ｐゴシック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charset="0"/>
          <a:ea typeface="ＭＳ Ｐゴシック" charset="0"/>
          <a:cs typeface="ＭＳ Ｐゴシック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defRPr sz="2000" kern="1200">
          <a:solidFill>
            <a:schemeClr val="bg2"/>
          </a:solidFill>
          <a:latin typeface="+mn-lt"/>
          <a:ea typeface="ＭＳ Ｐゴシック" charset="0"/>
          <a:cs typeface="ＭＳ Ｐゴシック" charset="0"/>
        </a:defRPr>
      </a:lvl1pPr>
      <a:lvl2pPr marL="457200" indent="-136525" algn="l" rtl="0" eaLnBrk="0" fontAlgn="base" hangingPunct="0">
        <a:spcBef>
          <a:spcPts val="300"/>
        </a:spcBef>
        <a:spcAft>
          <a:spcPct val="0"/>
        </a:spcAft>
        <a:buSzPct val="80000"/>
        <a:buFont typeface="Arial" charset="0"/>
        <a:buChar char="•"/>
        <a:defRPr kern="1200">
          <a:solidFill>
            <a:schemeClr val="bg2"/>
          </a:solidFill>
          <a:latin typeface="+mn-lt"/>
          <a:ea typeface="ＭＳ Ｐゴシック" charset="0"/>
          <a:cs typeface="+mn-cs"/>
        </a:defRPr>
      </a:lvl2pPr>
      <a:lvl3pPr marL="685800" indent="-136525" algn="l" rtl="0" eaLnBrk="0" fontAlgn="base" hangingPunct="0">
        <a:spcBef>
          <a:spcPct val="20000"/>
        </a:spcBef>
        <a:spcAft>
          <a:spcPct val="0"/>
        </a:spcAft>
        <a:buFont typeface="Lucida Grande" charset="0"/>
        <a:buChar char="–"/>
        <a:defRPr sz="1600" kern="1200">
          <a:solidFill>
            <a:schemeClr val="bg2"/>
          </a:solidFill>
          <a:latin typeface="+mn-lt"/>
          <a:ea typeface="ＭＳ Ｐゴシック" charset="0"/>
          <a:cs typeface="+mn-cs"/>
        </a:defRPr>
      </a:lvl3pPr>
      <a:lvl4pPr marL="914400" indent="-136525" algn="l" rtl="0" eaLnBrk="0" fontAlgn="base" hangingPunct="0">
        <a:spcBef>
          <a:spcPct val="20000"/>
        </a:spcBef>
        <a:spcAft>
          <a:spcPct val="0"/>
        </a:spcAft>
        <a:buSzPct val="80000"/>
        <a:buFont typeface="Arial" charset="0"/>
        <a:buChar char="•"/>
        <a:defRPr sz="1400" kern="1200">
          <a:solidFill>
            <a:schemeClr val="bg2"/>
          </a:solidFill>
          <a:latin typeface="+mn-lt"/>
          <a:ea typeface="ＭＳ Ｐゴシック" charset="0"/>
          <a:cs typeface="+mn-cs"/>
        </a:defRPr>
      </a:lvl4pPr>
      <a:lvl5pPr marL="1143000" indent="-13652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bg2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75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75.png"/><Relationship Id="rId3" Type="http://schemas.openxmlformats.org/officeDocument/2006/relationships/image" Target="../media/image7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4" Type="http://schemas.openxmlformats.org/officeDocument/2006/relationships/image" Target="../media/image78.png"/><Relationship Id="rId5" Type="http://schemas.openxmlformats.org/officeDocument/2006/relationships/image" Target="../media/image79.png"/><Relationship Id="rId6" Type="http://schemas.openxmlformats.org/officeDocument/2006/relationships/image" Target="../media/image80.png"/><Relationship Id="rId7" Type="http://schemas.openxmlformats.org/officeDocument/2006/relationships/image" Target="../media/image75.pn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7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4" Type="http://schemas.openxmlformats.org/officeDocument/2006/relationships/image" Target="../media/image75.pn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76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1" Type="http://schemas.openxmlformats.org/officeDocument/2006/relationships/image" Target="../media/image74.png"/><Relationship Id="rId12" Type="http://schemas.openxmlformats.org/officeDocument/2006/relationships/image" Target="../media/image86.png"/><Relationship Id="rId13" Type="http://schemas.openxmlformats.org/officeDocument/2006/relationships/image" Target="../media/image87.png"/><Relationship Id="rId14" Type="http://schemas.openxmlformats.org/officeDocument/2006/relationships/image" Target="../media/image88.png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70.png"/><Relationship Id="rId4" Type="http://schemas.openxmlformats.org/officeDocument/2006/relationships/image" Target="../media/image82.png"/><Relationship Id="rId5" Type="http://schemas.openxmlformats.org/officeDocument/2006/relationships/image" Target="../media/image83.png"/><Relationship Id="rId6" Type="http://schemas.openxmlformats.org/officeDocument/2006/relationships/image" Target="../media/image71.png"/><Relationship Id="rId7" Type="http://schemas.openxmlformats.org/officeDocument/2006/relationships/image" Target="../media/image72.png"/><Relationship Id="rId8" Type="http://schemas.openxmlformats.org/officeDocument/2006/relationships/image" Target="../media/image73.png"/><Relationship Id="rId9" Type="http://schemas.openxmlformats.org/officeDocument/2006/relationships/image" Target="../media/image84.png"/><Relationship Id="rId10" Type="http://schemas.openxmlformats.org/officeDocument/2006/relationships/image" Target="../media/image85.png"/></Relationships>
</file>

<file path=ppt/slides/_rels/slide17.xml.rels><?xml version="1.0" encoding="UTF-8" standalone="yes"?>
<Relationships xmlns="http://schemas.openxmlformats.org/package/2006/relationships"><Relationship Id="rId11" Type="http://schemas.openxmlformats.org/officeDocument/2006/relationships/image" Target="../media/image97.png"/><Relationship Id="rId12" Type="http://schemas.openxmlformats.org/officeDocument/2006/relationships/image" Target="../media/image98.png"/><Relationship Id="rId13" Type="http://schemas.openxmlformats.org/officeDocument/2006/relationships/image" Target="../media/image99.png"/><Relationship Id="rId14" Type="http://schemas.openxmlformats.org/officeDocument/2006/relationships/image" Target="../media/image100.png"/><Relationship Id="rId15" Type="http://schemas.openxmlformats.org/officeDocument/2006/relationships/image" Target="../media/image101.png"/><Relationship Id="rId16" Type="http://schemas.openxmlformats.org/officeDocument/2006/relationships/image" Target="../media/image102.png"/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89.png"/><Relationship Id="rId4" Type="http://schemas.openxmlformats.org/officeDocument/2006/relationships/image" Target="../media/image90.png"/><Relationship Id="rId5" Type="http://schemas.openxmlformats.org/officeDocument/2006/relationships/image" Target="../media/image91.png"/><Relationship Id="rId6" Type="http://schemas.openxmlformats.org/officeDocument/2006/relationships/image" Target="../media/image92.png"/><Relationship Id="rId7" Type="http://schemas.openxmlformats.org/officeDocument/2006/relationships/image" Target="../media/image93.png"/><Relationship Id="rId8" Type="http://schemas.openxmlformats.org/officeDocument/2006/relationships/image" Target="../media/image94.png"/><Relationship Id="rId9" Type="http://schemas.openxmlformats.org/officeDocument/2006/relationships/image" Target="../media/image95.png"/><Relationship Id="rId10" Type="http://schemas.openxmlformats.org/officeDocument/2006/relationships/image" Target="../media/image96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103.jpe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6.png"/><Relationship Id="rId12" Type="http://schemas.openxmlformats.org/officeDocument/2006/relationships/image" Target="../media/image17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Relationship Id="rId3" Type="http://schemas.openxmlformats.org/officeDocument/2006/relationships/slideLayout" Target="../slideLayouts/slideLayout8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12.emf"/><Relationship Id="rId7" Type="http://schemas.openxmlformats.org/officeDocument/2006/relationships/image" Target="../media/image13.png"/><Relationship Id="rId8" Type="http://schemas.microsoft.com/office/2007/relationships/hdphoto" Target="../media/hdphoto1.wdp"/><Relationship Id="rId9" Type="http://schemas.openxmlformats.org/officeDocument/2006/relationships/image" Target="../media/image14.png"/><Relationship Id="rId10" Type="http://schemas.openxmlformats.org/officeDocument/2006/relationships/image" Target="../media/image15.png"/></Relationships>
</file>

<file path=ppt/slides/_rels/slide20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12.png"/><Relationship Id="rId12" Type="http://schemas.openxmlformats.org/officeDocument/2006/relationships/image" Target="../media/image113.png"/><Relationship Id="rId13" Type="http://schemas.openxmlformats.org/officeDocument/2006/relationships/image" Target="../media/image114.png"/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104.png"/><Relationship Id="rId4" Type="http://schemas.openxmlformats.org/officeDocument/2006/relationships/image" Target="../media/image105.png"/><Relationship Id="rId5" Type="http://schemas.openxmlformats.org/officeDocument/2006/relationships/image" Target="../media/image106.png"/><Relationship Id="rId6" Type="http://schemas.openxmlformats.org/officeDocument/2006/relationships/image" Target="../media/image107.png"/><Relationship Id="rId7" Type="http://schemas.openxmlformats.org/officeDocument/2006/relationships/image" Target="../media/image108.png"/><Relationship Id="rId8" Type="http://schemas.openxmlformats.org/officeDocument/2006/relationships/image" Target="../media/image109.png"/><Relationship Id="rId9" Type="http://schemas.openxmlformats.org/officeDocument/2006/relationships/image" Target="../media/image110.png"/><Relationship Id="rId10" Type="http://schemas.openxmlformats.org/officeDocument/2006/relationships/image" Target="../media/image11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4" Type="http://schemas.openxmlformats.org/officeDocument/2006/relationships/image" Target="../media/image116.png"/><Relationship Id="rId5" Type="http://schemas.openxmlformats.org/officeDocument/2006/relationships/image" Target="../media/image117.png"/><Relationship Id="rId6" Type="http://schemas.openxmlformats.org/officeDocument/2006/relationships/image" Target="../media/image118.png"/><Relationship Id="rId7" Type="http://schemas.openxmlformats.org/officeDocument/2006/relationships/image" Target="../media/image119.png"/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4" Type="http://schemas.openxmlformats.org/officeDocument/2006/relationships/image" Target="../media/image121.pn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4" Type="http://schemas.openxmlformats.org/officeDocument/2006/relationships/image" Target="../media/image123.jpg"/><Relationship Id="rId5" Type="http://schemas.openxmlformats.org/officeDocument/2006/relationships/image" Target="../media/image124.pn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25.png"/></Relationships>
</file>

<file path=ppt/slides/_rels/slide26.xml.rels><?xml version="1.0" encoding="UTF-8" standalone="yes"?>
<Relationships xmlns="http://schemas.openxmlformats.org/package/2006/relationships"><Relationship Id="rId9" Type="http://schemas.openxmlformats.org/officeDocument/2006/relationships/image" Target="../media/image131.emf"/><Relationship Id="rId20" Type="http://schemas.openxmlformats.org/officeDocument/2006/relationships/image" Target="../media/image139.jpeg"/><Relationship Id="rId21" Type="http://schemas.openxmlformats.org/officeDocument/2006/relationships/image" Target="../media/image140.jpeg"/><Relationship Id="rId10" Type="http://schemas.openxmlformats.org/officeDocument/2006/relationships/image" Target="../media/image59.emf"/><Relationship Id="rId11" Type="http://schemas.openxmlformats.org/officeDocument/2006/relationships/image" Target="../media/image132.emf"/><Relationship Id="rId12" Type="http://schemas.openxmlformats.org/officeDocument/2006/relationships/image" Target="../media/image133.emf"/><Relationship Id="rId13" Type="http://schemas.openxmlformats.org/officeDocument/2006/relationships/image" Target="../media/image60.emf"/><Relationship Id="rId14" Type="http://schemas.openxmlformats.org/officeDocument/2006/relationships/image" Target="../media/image134.emf"/><Relationship Id="rId15" Type="http://schemas.openxmlformats.org/officeDocument/2006/relationships/image" Target="../media/image135.emf"/><Relationship Id="rId16" Type="http://schemas.openxmlformats.org/officeDocument/2006/relationships/image" Target="../media/image62.emf"/><Relationship Id="rId17" Type="http://schemas.openxmlformats.org/officeDocument/2006/relationships/image" Target="../media/image136.emf"/><Relationship Id="rId18" Type="http://schemas.openxmlformats.org/officeDocument/2006/relationships/image" Target="../media/image137.emf"/><Relationship Id="rId19" Type="http://schemas.openxmlformats.org/officeDocument/2006/relationships/image" Target="../media/image138.jpe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26.jpeg"/><Relationship Id="rId3" Type="http://schemas.openxmlformats.org/officeDocument/2006/relationships/image" Target="../media/image127.png"/><Relationship Id="rId4" Type="http://schemas.openxmlformats.org/officeDocument/2006/relationships/image" Target="../media/image128.wmf"/><Relationship Id="rId5" Type="http://schemas.openxmlformats.org/officeDocument/2006/relationships/image" Target="../media/image129.emf"/><Relationship Id="rId6" Type="http://schemas.openxmlformats.org/officeDocument/2006/relationships/image" Target="../media/image57.emf"/><Relationship Id="rId7" Type="http://schemas.openxmlformats.org/officeDocument/2006/relationships/image" Target="../media/image58.emf"/><Relationship Id="rId8" Type="http://schemas.openxmlformats.org/officeDocument/2006/relationships/image" Target="../media/image130.emf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6.xml"/><Relationship Id="rId2" Type="http://schemas.openxmlformats.org/officeDocument/2006/relationships/diagramData" Target="../diagrams/data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51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5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3.png"/><Relationship Id="rId4" Type="http://schemas.openxmlformats.org/officeDocument/2006/relationships/image" Target="../media/image154.png"/><Relationship Id="rId5" Type="http://schemas.openxmlformats.org/officeDocument/2006/relationships/image" Target="../media/image155.png"/><Relationship Id="rId6" Type="http://schemas.openxmlformats.org/officeDocument/2006/relationships/image" Target="../media/image156.png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0.xml"/></Relationships>
</file>

<file path=ppt/slides/_rels/slide32.xml.rels><?xml version="1.0" encoding="UTF-8" standalone="yes"?>
<Relationships xmlns="http://schemas.openxmlformats.org/package/2006/relationships"><Relationship Id="rId9" Type="http://schemas.openxmlformats.org/officeDocument/2006/relationships/image" Target="../media/image159.png"/><Relationship Id="rId20" Type="http://schemas.openxmlformats.org/officeDocument/2006/relationships/image" Target="../media/image170.jpeg"/><Relationship Id="rId21" Type="http://schemas.openxmlformats.org/officeDocument/2006/relationships/image" Target="../media/image171.png"/><Relationship Id="rId22" Type="http://schemas.openxmlformats.org/officeDocument/2006/relationships/image" Target="../media/image172.png"/><Relationship Id="rId23" Type="http://schemas.openxmlformats.org/officeDocument/2006/relationships/image" Target="../media/image173.png"/><Relationship Id="rId24" Type="http://schemas.openxmlformats.org/officeDocument/2006/relationships/image" Target="../media/image174.png"/><Relationship Id="rId25" Type="http://schemas.openxmlformats.org/officeDocument/2006/relationships/image" Target="../media/image175.png"/><Relationship Id="rId26" Type="http://schemas.openxmlformats.org/officeDocument/2006/relationships/image" Target="../media/image176.png"/><Relationship Id="rId27" Type="http://schemas.openxmlformats.org/officeDocument/2006/relationships/image" Target="../media/image177.png"/><Relationship Id="rId28" Type="http://schemas.openxmlformats.org/officeDocument/2006/relationships/image" Target="../media/image178.png"/><Relationship Id="rId29" Type="http://schemas.openxmlformats.org/officeDocument/2006/relationships/image" Target="../media/image179.png"/><Relationship Id="rId30" Type="http://schemas.openxmlformats.org/officeDocument/2006/relationships/image" Target="../media/image180.png"/><Relationship Id="rId31" Type="http://schemas.openxmlformats.org/officeDocument/2006/relationships/image" Target="../media/image181.png"/><Relationship Id="rId10" Type="http://schemas.openxmlformats.org/officeDocument/2006/relationships/image" Target="../media/image160.png"/><Relationship Id="rId11" Type="http://schemas.openxmlformats.org/officeDocument/2006/relationships/image" Target="../media/image161.png"/><Relationship Id="rId12" Type="http://schemas.openxmlformats.org/officeDocument/2006/relationships/image" Target="../media/image162.png"/><Relationship Id="rId13" Type="http://schemas.openxmlformats.org/officeDocument/2006/relationships/image" Target="../media/image163.png"/><Relationship Id="rId14" Type="http://schemas.openxmlformats.org/officeDocument/2006/relationships/image" Target="../media/image164.png"/><Relationship Id="rId15" Type="http://schemas.openxmlformats.org/officeDocument/2006/relationships/image" Target="../media/image165.png"/><Relationship Id="rId16" Type="http://schemas.openxmlformats.org/officeDocument/2006/relationships/image" Target="../media/image166.png"/><Relationship Id="rId17" Type="http://schemas.openxmlformats.org/officeDocument/2006/relationships/image" Target="../media/image167.png"/><Relationship Id="rId18" Type="http://schemas.openxmlformats.org/officeDocument/2006/relationships/image" Target="../media/image168.png"/><Relationship Id="rId19" Type="http://schemas.openxmlformats.org/officeDocument/2006/relationships/image" Target="../media/image169.png"/><Relationship Id="rId1" Type="http://schemas.openxmlformats.org/officeDocument/2006/relationships/slideLayout" Target="../slideLayouts/slideLayout11.xml"/><Relationship Id="rId2" Type="http://schemas.openxmlformats.org/officeDocument/2006/relationships/diagramData" Target="../diagrams/data2.xml"/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7" Type="http://schemas.openxmlformats.org/officeDocument/2006/relationships/image" Target="../media/image157.png"/><Relationship Id="rId8" Type="http://schemas.openxmlformats.org/officeDocument/2006/relationships/image" Target="../media/image158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18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4.png"/><Relationship Id="rId4" Type="http://schemas.openxmlformats.org/officeDocument/2006/relationships/image" Target="../media/image185.png"/><Relationship Id="rId5" Type="http://schemas.openxmlformats.org/officeDocument/2006/relationships/image" Target="../media/image186.png"/><Relationship Id="rId6" Type="http://schemas.openxmlformats.org/officeDocument/2006/relationships/image" Target="../media/image187.png"/><Relationship Id="rId7" Type="http://schemas.openxmlformats.org/officeDocument/2006/relationships/image" Target="../media/image188.png"/><Relationship Id="rId8" Type="http://schemas.openxmlformats.org/officeDocument/2006/relationships/image" Target="../media/image189.png"/><Relationship Id="rId9" Type="http://schemas.openxmlformats.org/officeDocument/2006/relationships/image" Target="../media/image190.png"/><Relationship Id="rId1" Type="http://schemas.openxmlformats.org/officeDocument/2006/relationships/slideLayout" Target="../slideLayouts/slideLayout10.xml"/><Relationship Id="rId2" Type="http://schemas.openxmlformats.org/officeDocument/2006/relationships/image" Target="../media/image18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4" Type="http://schemas.openxmlformats.org/officeDocument/2006/relationships/diagramLayout" Target="../diagrams/layout3.xml"/><Relationship Id="rId5" Type="http://schemas.openxmlformats.org/officeDocument/2006/relationships/diagramQuickStyle" Target="../diagrams/quickStyle3.xml"/><Relationship Id="rId6" Type="http://schemas.openxmlformats.org/officeDocument/2006/relationships/diagramColors" Target="../diagrams/colors3.xml"/><Relationship Id="rId7" Type="http://schemas.microsoft.com/office/2007/relationships/diagramDrawing" Target="../diagrams/drawing3.xm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://ibm.com/iot" TargetMode="External"/><Relationship Id="rId4" Type="http://schemas.openxmlformats.org/officeDocument/2006/relationships/image" Target="../media/image5.png"/><Relationship Id="rId5" Type="http://schemas.openxmlformats.org/officeDocument/2006/relationships/image" Target="../media/image6.png"/><Relationship Id="rId6" Type="http://schemas.openxmlformats.org/officeDocument/2006/relationships/image" Target="../media/image8.png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3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image" Target="../media/image25.png"/><Relationship Id="rId20" Type="http://schemas.openxmlformats.org/officeDocument/2006/relationships/image" Target="../media/image36.png"/><Relationship Id="rId21" Type="http://schemas.openxmlformats.org/officeDocument/2006/relationships/image" Target="../media/image37.png"/><Relationship Id="rId22" Type="http://schemas.openxmlformats.org/officeDocument/2006/relationships/image" Target="../media/image38.png"/><Relationship Id="rId23" Type="http://schemas.openxmlformats.org/officeDocument/2006/relationships/image" Target="../media/image39.png"/><Relationship Id="rId24" Type="http://schemas.openxmlformats.org/officeDocument/2006/relationships/image" Target="../media/image40.png"/><Relationship Id="rId25" Type="http://schemas.openxmlformats.org/officeDocument/2006/relationships/image" Target="../media/image41.png"/><Relationship Id="rId26" Type="http://schemas.openxmlformats.org/officeDocument/2006/relationships/image" Target="../media/image42.png"/><Relationship Id="rId27" Type="http://schemas.openxmlformats.org/officeDocument/2006/relationships/image" Target="../media/image43.png"/><Relationship Id="rId28" Type="http://schemas.openxmlformats.org/officeDocument/2006/relationships/image" Target="../media/image44.png"/><Relationship Id="rId29" Type="http://schemas.openxmlformats.org/officeDocument/2006/relationships/image" Target="../media/image45.png"/><Relationship Id="rId30" Type="http://schemas.openxmlformats.org/officeDocument/2006/relationships/image" Target="../media/image46.png"/><Relationship Id="rId10" Type="http://schemas.openxmlformats.org/officeDocument/2006/relationships/image" Target="../media/image26.png"/><Relationship Id="rId11" Type="http://schemas.openxmlformats.org/officeDocument/2006/relationships/image" Target="../media/image27.png"/><Relationship Id="rId12" Type="http://schemas.openxmlformats.org/officeDocument/2006/relationships/image" Target="../media/image28.png"/><Relationship Id="rId13" Type="http://schemas.openxmlformats.org/officeDocument/2006/relationships/image" Target="../media/image29.png"/><Relationship Id="rId14" Type="http://schemas.openxmlformats.org/officeDocument/2006/relationships/image" Target="../media/image30.png"/><Relationship Id="rId15" Type="http://schemas.openxmlformats.org/officeDocument/2006/relationships/image" Target="../media/image31.png"/><Relationship Id="rId16" Type="http://schemas.openxmlformats.org/officeDocument/2006/relationships/image" Target="../media/image32.png"/><Relationship Id="rId17" Type="http://schemas.openxmlformats.org/officeDocument/2006/relationships/image" Target="../media/image33.png"/><Relationship Id="rId18" Type="http://schemas.openxmlformats.org/officeDocument/2006/relationships/image" Target="../media/image34.png"/><Relationship Id="rId19" Type="http://schemas.openxmlformats.org/officeDocument/2006/relationships/image" Target="../media/image35.png"/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18.png"/><Relationship Id="rId3" Type="http://schemas.openxmlformats.org/officeDocument/2006/relationships/image" Target="../media/image19.png"/><Relationship Id="rId4" Type="http://schemas.openxmlformats.org/officeDocument/2006/relationships/image" Target="../media/image20.png"/><Relationship Id="rId5" Type="http://schemas.openxmlformats.org/officeDocument/2006/relationships/image" Target="../media/image21.png"/><Relationship Id="rId6" Type="http://schemas.openxmlformats.org/officeDocument/2006/relationships/image" Target="../media/image22.png"/><Relationship Id="rId7" Type="http://schemas.openxmlformats.org/officeDocument/2006/relationships/image" Target="../media/image23.png"/><Relationship Id="rId8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image" Target="../media/image54.png"/><Relationship Id="rId20" Type="http://schemas.openxmlformats.org/officeDocument/2006/relationships/image" Target="../media/image64.png"/><Relationship Id="rId21" Type="http://schemas.openxmlformats.org/officeDocument/2006/relationships/image" Target="../media/image65.png"/><Relationship Id="rId10" Type="http://schemas.microsoft.com/office/2007/relationships/hdphoto" Target="../media/hdphoto2.wdp"/><Relationship Id="rId11" Type="http://schemas.openxmlformats.org/officeDocument/2006/relationships/image" Target="../media/image55.png"/><Relationship Id="rId12" Type="http://schemas.openxmlformats.org/officeDocument/2006/relationships/image" Target="../media/image56.png"/><Relationship Id="rId13" Type="http://schemas.openxmlformats.org/officeDocument/2006/relationships/image" Target="../media/image57.emf"/><Relationship Id="rId14" Type="http://schemas.openxmlformats.org/officeDocument/2006/relationships/image" Target="../media/image58.emf"/><Relationship Id="rId15" Type="http://schemas.openxmlformats.org/officeDocument/2006/relationships/image" Target="../media/image59.emf"/><Relationship Id="rId16" Type="http://schemas.openxmlformats.org/officeDocument/2006/relationships/image" Target="../media/image60.emf"/><Relationship Id="rId17" Type="http://schemas.openxmlformats.org/officeDocument/2006/relationships/image" Target="../media/image61.emf"/><Relationship Id="rId18" Type="http://schemas.openxmlformats.org/officeDocument/2006/relationships/image" Target="../media/image62.emf"/><Relationship Id="rId19" Type="http://schemas.openxmlformats.org/officeDocument/2006/relationships/image" Target="../media/image63.emf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47.png"/><Relationship Id="rId3" Type="http://schemas.openxmlformats.org/officeDocument/2006/relationships/image" Target="../media/image48.png"/><Relationship Id="rId4" Type="http://schemas.openxmlformats.org/officeDocument/2006/relationships/image" Target="../media/image49.png"/><Relationship Id="rId5" Type="http://schemas.openxmlformats.org/officeDocument/2006/relationships/image" Target="../media/image50.png"/><Relationship Id="rId6" Type="http://schemas.openxmlformats.org/officeDocument/2006/relationships/image" Target="../media/image51.png"/><Relationship Id="rId7" Type="http://schemas.openxmlformats.org/officeDocument/2006/relationships/image" Target="../media/image52.png"/><Relationship Id="rId8" Type="http://schemas.openxmlformats.org/officeDocument/2006/relationships/image" Target="../media/image5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4" Type="http://schemas.openxmlformats.org/officeDocument/2006/relationships/image" Target="../media/image67.png"/><Relationship Id="rId5" Type="http://schemas.openxmlformats.org/officeDocument/2006/relationships/image" Target="../media/image68.png"/><Relationship Id="rId6" Type="http://schemas.openxmlformats.org/officeDocument/2006/relationships/image" Target="../media/image69.png"/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11" Type="http://schemas.openxmlformats.org/officeDocument/2006/relationships/image" Target="../media/image55.png"/><Relationship Id="rId12" Type="http://schemas.openxmlformats.org/officeDocument/2006/relationships/image" Target="../media/image56.pn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47.png"/><Relationship Id="rId3" Type="http://schemas.openxmlformats.org/officeDocument/2006/relationships/image" Target="../media/image48.png"/><Relationship Id="rId4" Type="http://schemas.openxmlformats.org/officeDocument/2006/relationships/image" Target="../media/image49.png"/><Relationship Id="rId5" Type="http://schemas.openxmlformats.org/officeDocument/2006/relationships/image" Target="../media/image50.png"/><Relationship Id="rId6" Type="http://schemas.openxmlformats.org/officeDocument/2006/relationships/image" Target="../media/image51.png"/><Relationship Id="rId7" Type="http://schemas.openxmlformats.org/officeDocument/2006/relationships/image" Target="../media/image52.png"/><Relationship Id="rId8" Type="http://schemas.openxmlformats.org/officeDocument/2006/relationships/image" Target="../media/image53.png"/><Relationship Id="rId9" Type="http://schemas.openxmlformats.org/officeDocument/2006/relationships/image" Target="../media/image54.png"/><Relationship Id="rId10" Type="http://schemas.microsoft.com/office/2007/relationships/hdphoto" Target="../media/hdphoto2.wdp"/></Relationships>
</file>

<file path=ppt/slides/_rels/slide8.xml.rels><?xml version="1.0" encoding="UTF-8" standalone="yes"?>
<Relationships xmlns="http://schemas.openxmlformats.org/package/2006/relationships"><Relationship Id="rId11" Type="http://schemas.openxmlformats.org/officeDocument/2006/relationships/image" Target="../media/image51.png"/><Relationship Id="rId12" Type="http://schemas.openxmlformats.org/officeDocument/2006/relationships/image" Target="../media/image52.png"/><Relationship Id="rId13" Type="http://schemas.openxmlformats.org/officeDocument/2006/relationships/image" Target="../media/image53.png"/><Relationship Id="rId14" Type="http://schemas.openxmlformats.org/officeDocument/2006/relationships/image" Target="../media/image54.png"/><Relationship Id="rId15" Type="http://schemas.microsoft.com/office/2007/relationships/hdphoto" Target="../media/hdphoto2.wdp"/><Relationship Id="rId16" Type="http://schemas.openxmlformats.org/officeDocument/2006/relationships/image" Target="../media/image55.png"/><Relationship Id="rId17" Type="http://schemas.openxmlformats.org/officeDocument/2006/relationships/image" Target="../media/image56.png"/><Relationship Id="rId18" Type="http://schemas.openxmlformats.org/officeDocument/2006/relationships/image" Target="../media/image65.pn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70.png"/><Relationship Id="rId3" Type="http://schemas.openxmlformats.org/officeDocument/2006/relationships/image" Target="../media/image71.png"/><Relationship Id="rId4" Type="http://schemas.openxmlformats.org/officeDocument/2006/relationships/image" Target="../media/image72.png"/><Relationship Id="rId5" Type="http://schemas.openxmlformats.org/officeDocument/2006/relationships/image" Target="../media/image73.png"/><Relationship Id="rId6" Type="http://schemas.openxmlformats.org/officeDocument/2006/relationships/image" Target="../media/image74.png"/><Relationship Id="rId7" Type="http://schemas.openxmlformats.org/officeDocument/2006/relationships/image" Target="../media/image47.png"/><Relationship Id="rId8" Type="http://schemas.openxmlformats.org/officeDocument/2006/relationships/image" Target="../media/image48.png"/><Relationship Id="rId9" Type="http://schemas.openxmlformats.org/officeDocument/2006/relationships/image" Target="../media/image49.png"/><Relationship Id="rId10" Type="http://schemas.openxmlformats.org/officeDocument/2006/relationships/image" Target="../media/image50.png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image" Target="../media/image54.png"/><Relationship Id="rId20" Type="http://schemas.openxmlformats.org/officeDocument/2006/relationships/image" Target="../media/image64.png"/><Relationship Id="rId21" Type="http://schemas.openxmlformats.org/officeDocument/2006/relationships/image" Target="../media/image65.png"/><Relationship Id="rId10" Type="http://schemas.microsoft.com/office/2007/relationships/hdphoto" Target="../media/hdphoto2.wdp"/><Relationship Id="rId11" Type="http://schemas.openxmlformats.org/officeDocument/2006/relationships/image" Target="../media/image55.png"/><Relationship Id="rId12" Type="http://schemas.openxmlformats.org/officeDocument/2006/relationships/image" Target="../media/image56.png"/><Relationship Id="rId13" Type="http://schemas.openxmlformats.org/officeDocument/2006/relationships/image" Target="../media/image57.emf"/><Relationship Id="rId14" Type="http://schemas.openxmlformats.org/officeDocument/2006/relationships/image" Target="../media/image58.emf"/><Relationship Id="rId15" Type="http://schemas.openxmlformats.org/officeDocument/2006/relationships/image" Target="../media/image59.emf"/><Relationship Id="rId16" Type="http://schemas.openxmlformats.org/officeDocument/2006/relationships/image" Target="../media/image60.emf"/><Relationship Id="rId17" Type="http://schemas.openxmlformats.org/officeDocument/2006/relationships/image" Target="../media/image61.emf"/><Relationship Id="rId18" Type="http://schemas.openxmlformats.org/officeDocument/2006/relationships/image" Target="../media/image62.emf"/><Relationship Id="rId19" Type="http://schemas.openxmlformats.org/officeDocument/2006/relationships/image" Target="../media/image63.emf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47.png"/><Relationship Id="rId3" Type="http://schemas.openxmlformats.org/officeDocument/2006/relationships/image" Target="../media/image48.png"/><Relationship Id="rId4" Type="http://schemas.openxmlformats.org/officeDocument/2006/relationships/image" Target="../media/image49.png"/><Relationship Id="rId5" Type="http://schemas.openxmlformats.org/officeDocument/2006/relationships/image" Target="../media/image50.png"/><Relationship Id="rId6" Type="http://schemas.openxmlformats.org/officeDocument/2006/relationships/image" Target="../media/image51.png"/><Relationship Id="rId7" Type="http://schemas.openxmlformats.org/officeDocument/2006/relationships/image" Target="../media/image52.png"/><Relationship Id="rId8" Type="http://schemas.openxmlformats.org/officeDocument/2006/relationships/image" Target="../media/image5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9738" y="1573213"/>
            <a:ext cx="4775200" cy="1066800"/>
          </a:xfrm>
        </p:spPr>
        <p:txBody>
          <a:bodyPr rtlCol="0"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2800" dirty="0" smtClean="0">
                <a:latin typeface="Helvetica Neue Medium"/>
                <a:ea typeface="+mj-ea"/>
                <a:cs typeface="+mj-cs"/>
              </a:rPr>
              <a:t>Internet of Things</a:t>
            </a:r>
            <a:r>
              <a:rPr lang="en-US" dirty="0" smtClean="0">
                <a:latin typeface="Helvetica Neue Medium"/>
                <a:ea typeface="+mj-ea"/>
                <a:cs typeface="+mj-cs"/>
              </a:rPr>
              <a:t/>
            </a:r>
            <a:br>
              <a:rPr lang="en-US" dirty="0" smtClean="0">
                <a:latin typeface="Helvetica Neue Medium"/>
                <a:ea typeface="+mj-ea"/>
                <a:cs typeface="+mj-cs"/>
              </a:rPr>
            </a:br>
            <a:r>
              <a:rPr lang="en-US" sz="4800" dirty="0" smtClean="0">
                <a:latin typeface="Helvetica Neue Medium"/>
                <a:ea typeface="+mj-ea"/>
                <a:cs typeface="+mj-cs"/>
              </a:rPr>
              <a:t>Offerings</a:t>
            </a:r>
            <a:endParaRPr lang="en-US" sz="4800" dirty="0">
              <a:latin typeface="Helvetica Neue Medium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7416509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828800" y="1657350"/>
            <a:ext cx="5520929" cy="618910"/>
          </a:xfrm>
        </p:spPr>
        <p:txBody>
          <a:bodyPr/>
          <a:lstStyle/>
          <a:p>
            <a:pPr>
              <a:defRPr/>
            </a:pPr>
            <a:r>
              <a:rPr lang="en-US" sz="3600" dirty="0" smtClean="0">
                <a:latin typeface="HelvNeue for IBM Medium"/>
              </a:rPr>
              <a:t>IBM Watson IoT Platform</a:t>
            </a:r>
            <a:endParaRPr sz="3600" dirty="0">
              <a:latin typeface="HelvNeue for IBM Medium"/>
            </a:endParaRPr>
          </a:p>
        </p:txBody>
      </p:sp>
    </p:spTree>
    <p:extLst>
      <p:ext uri="{BB962C8B-B14F-4D97-AF65-F5344CB8AC3E}">
        <p14:creationId xmlns:p14="http://schemas.microsoft.com/office/powerpoint/2010/main" val="17275377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TextBox 152"/>
          <p:cNvSpPr txBox="1"/>
          <p:nvPr/>
        </p:nvSpPr>
        <p:spPr>
          <a:xfrm>
            <a:off x="4416949" y="1086040"/>
            <a:ext cx="18052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>
                <a:solidFill>
                  <a:srgbClr val="FFFFFF"/>
                </a:solidFill>
                <a:latin typeface="HelvNeue for IBM Medium"/>
                <a:cs typeface="Abadi MT Condensed Extra Bold"/>
              </a:rPr>
              <a:t>Third Party App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70636" y="1277251"/>
            <a:ext cx="5244364" cy="276998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600" b="1" kern="0" dirty="0" smtClean="0">
                <a:solidFill>
                  <a:srgbClr val="2C9DCA"/>
                </a:solidFill>
                <a:latin typeface="HelvNeue for IBM Medium"/>
                <a:cs typeface="Arial"/>
              </a:rPr>
              <a:t>IBM Watson IoT Platform Connect</a:t>
            </a:r>
          </a:p>
          <a:p>
            <a:r>
              <a:rPr lang="en-US" sz="1100" kern="0" dirty="0" smtClean="0">
                <a:solidFill>
                  <a:prstClr val="black"/>
                </a:solidFill>
                <a:latin typeface="HelvNeue for IBM Medium"/>
                <a:cs typeface="Arial"/>
              </a:rPr>
              <a:t>Attach, Collect, &amp; Organize, Device Management, Secure Connectivity, Visualization</a:t>
            </a:r>
          </a:p>
          <a:p>
            <a:endParaRPr lang="en-US" sz="1600" kern="0" dirty="0">
              <a:solidFill>
                <a:srgbClr val="12A7F5"/>
              </a:solidFill>
              <a:latin typeface="HelvNeue for IBM Medium"/>
              <a:cs typeface="Arial"/>
            </a:endParaRPr>
          </a:p>
          <a:p>
            <a:r>
              <a:rPr lang="en-US" sz="1600" b="1" kern="0" dirty="0" smtClean="0">
                <a:solidFill>
                  <a:srgbClr val="2C9DCA"/>
                </a:solidFill>
                <a:latin typeface="HelvNeue for IBM Medium"/>
                <a:cs typeface="Arial"/>
              </a:rPr>
              <a:t>IBM Watson IoT Platform Information Management</a:t>
            </a:r>
          </a:p>
          <a:p>
            <a:r>
              <a:rPr lang="en-US" sz="1100" kern="0" dirty="0">
                <a:solidFill>
                  <a:prstClr val="black"/>
                </a:solidFill>
                <a:latin typeface="HelvNeue for IBM Medium"/>
                <a:cs typeface="Arial"/>
              </a:rPr>
              <a:t>Storage &amp; Archive, Metadata Management, Reporting, Streaming data, Parsing and Transformation, Manage unstructured </a:t>
            </a:r>
            <a:r>
              <a:rPr lang="en-US" sz="1100" kern="0" dirty="0" smtClean="0">
                <a:solidFill>
                  <a:prstClr val="black"/>
                </a:solidFill>
                <a:latin typeface="HelvNeue for IBM Medium"/>
                <a:cs typeface="Arial"/>
              </a:rPr>
              <a:t>data</a:t>
            </a:r>
          </a:p>
          <a:p>
            <a:r>
              <a:rPr lang="en-US" sz="1100" kern="0" dirty="0" smtClean="0">
                <a:solidFill>
                  <a:prstClr val="black"/>
                </a:solidFill>
                <a:latin typeface="HelvNeue for IBM Medium"/>
                <a:cs typeface="Arial"/>
              </a:rPr>
              <a:t>Weather APIs</a:t>
            </a:r>
            <a:endParaRPr lang="en-US" sz="1100" kern="0" dirty="0">
              <a:solidFill>
                <a:prstClr val="black"/>
              </a:solidFill>
              <a:latin typeface="HelvNeue for IBM Medium"/>
              <a:cs typeface="Arial"/>
            </a:endParaRPr>
          </a:p>
          <a:p>
            <a:endParaRPr lang="en-US" sz="1600" kern="0" dirty="0" smtClean="0">
              <a:solidFill>
                <a:srgbClr val="2C9DCA"/>
              </a:solidFill>
              <a:latin typeface="HelvNeue for IBM Medium"/>
              <a:cs typeface="Arial"/>
            </a:endParaRPr>
          </a:p>
          <a:p>
            <a:r>
              <a:rPr lang="en-US" sz="1600" b="1" kern="0" dirty="0" smtClean="0">
                <a:solidFill>
                  <a:srgbClr val="2C9DCA"/>
                </a:solidFill>
                <a:latin typeface="HelvNeue for IBM Medium"/>
                <a:cs typeface="Arial"/>
              </a:rPr>
              <a:t>IBM Watson </a:t>
            </a:r>
            <a:r>
              <a:rPr lang="en-US" sz="1600" b="1" kern="0" dirty="0" err="1" smtClean="0">
                <a:solidFill>
                  <a:srgbClr val="2C9DCA"/>
                </a:solidFill>
                <a:latin typeface="HelvNeue for IBM Medium"/>
                <a:cs typeface="Arial"/>
              </a:rPr>
              <a:t>IoT</a:t>
            </a:r>
            <a:r>
              <a:rPr lang="en-US" sz="1600" b="1" kern="0" dirty="0" smtClean="0">
                <a:solidFill>
                  <a:srgbClr val="2C9DCA"/>
                </a:solidFill>
                <a:latin typeface="HelvNeue for IBM Medium"/>
                <a:cs typeface="Arial"/>
              </a:rPr>
              <a:t> Platform Analytics</a:t>
            </a:r>
          </a:p>
          <a:p>
            <a:r>
              <a:rPr lang="en-US" sz="1100" kern="0" dirty="0">
                <a:solidFill>
                  <a:prstClr val="black"/>
                </a:solidFill>
                <a:latin typeface="HelvNeue for IBM Medium"/>
                <a:cs typeface="Arial"/>
              </a:rPr>
              <a:t>Predictive, Cognitive, Real-time, and Contextual</a:t>
            </a:r>
          </a:p>
          <a:p>
            <a:endParaRPr lang="en-US" sz="1600" kern="0" dirty="0" smtClean="0">
              <a:solidFill>
                <a:srgbClr val="2C9DCA"/>
              </a:solidFill>
              <a:latin typeface="HelvNeue for IBM Medium"/>
              <a:cs typeface="Arial"/>
            </a:endParaRPr>
          </a:p>
          <a:p>
            <a:r>
              <a:rPr lang="en-US" sz="1600" b="1" kern="0" dirty="0" smtClean="0">
                <a:solidFill>
                  <a:srgbClr val="2C9DCA"/>
                </a:solidFill>
                <a:latin typeface="HelvNeue for IBM Medium"/>
                <a:cs typeface="Arial"/>
              </a:rPr>
              <a:t>IBM Watson </a:t>
            </a:r>
            <a:r>
              <a:rPr lang="en-US" sz="1600" b="1" kern="0" dirty="0" err="1" smtClean="0">
                <a:solidFill>
                  <a:srgbClr val="2C9DCA"/>
                </a:solidFill>
                <a:latin typeface="HelvNeue for IBM Medium"/>
                <a:cs typeface="Arial"/>
              </a:rPr>
              <a:t>IoT</a:t>
            </a:r>
            <a:r>
              <a:rPr lang="en-US" sz="1600" b="1" kern="0" dirty="0" smtClean="0">
                <a:solidFill>
                  <a:srgbClr val="2C9DCA"/>
                </a:solidFill>
                <a:latin typeface="HelvNeue for IBM Medium"/>
                <a:cs typeface="Arial"/>
              </a:rPr>
              <a:t> Platform Risk Management</a:t>
            </a:r>
          </a:p>
          <a:p>
            <a:r>
              <a:rPr lang="en-US" sz="1100" kern="0" dirty="0">
                <a:solidFill>
                  <a:prstClr val="black"/>
                </a:solidFill>
                <a:latin typeface="HelvNeue for IBM Medium"/>
                <a:cs typeface="Arial"/>
              </a:rPr>
              <a:t>Security Analytics, Data Protection, Auditing/Logging, Firmware Updates, Key/Certificate </a:t>
            </a:r>
            <a:r>
              <a:rPr lang="en-US" sz="1100" kern="0" dirty="0" err="1">
                <a:solidFill>
                  <a:prstClr val="black"/>
                </a:solidFill>
                <a:latin typeface="HelvNeue for IBM Medium"/>
                <a:cs typeface="Arial"/>
              </a:rPr>
              <a:t>Mgmt</a:t>
            </a:r>
            <a:r>
              <a:rPr lang="en-US" sz="1100" kern="0" dirty="0">
                <a:solidFill>
                  <a:prstClr val="black"/>
                </a:solidFill>
                <a:latin typeface="HelvNeue for IBM Medium"/>
                <a:cs typeface="Arial"/>
              </a:rPr>
              <a:t>, Org Specific </a:t>
            </a:r>
            <a:r>
              <a:rPr lang="en-US" sz="1100" kern="0" dirty="0" smtClean="0">
                <a:solidFill>
                  <a:prstClr val="black"/>
                </a:solidFill>
                <a:latin typeface="HelvNeue for IBM Medium"/>
                <a:cs typeface="Arial"/>
              </a:rPr>
              <a:t>Security.</a:t>
            </a:r>
          </a:p>
          <a:p>
            <a:r>
              <a:rPr lang="en-US" sz="1100" kern="0" dirty="0" err="1" smtClean="0">
                <a:solidFill>
                  <a:prstClr val="black"/>
                </a:solidFill>
                <a:latin typeface="HelvNeue for IBM Medium"/>
                <a:cs typeface="Arial"/>
              </a:rPr>
              <a:t>Blockchain</a:t>
            </a:r>
            <a:r>
              <a:rPr lang="en-US" sz="1100" kern="0" dirty="0" smtClean="0">
                <a:solidFill>
                  <a:prstClr val="black"/>
                </a:solidFill>
                <a:latin typeface="HelvNeue for IBM Medium"/>
                <a:cs typeface="Arial"/>
              </a:rPr>
              <a:t> (Beta)</a:t>
            </a:r>
            <a:endParaRPr lang="en-US" sz="1100" kern="0" dirty="0">
              <a:solidFill>
                <a:prstClr val="black"/>
              </a:solidFill>
              <a:latin typeface="HelvNeue for IBM Medium"/>
              <a:cs typeface="Arial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4072973" y="1023335"/>
            <a:ext cx="174111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>
                <a:solidFill>
                  <a:srgbClr val="FFFFFF"/>
                </a:solidFill>
                <a:latin typeface="HelvNeue for IBM Medium"/>
                <a:cs typeface="Abadi MT Condensed Extra Bold"/>
              </a:rPr>
              <a:t>Third Party App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600" y="134109"/>
            <a:ext cx="7543799" cy="618910"/>
          </a:xfrm>
        </p:spPr>
        <p:txBody>
          <a:bodyPr/>
          <a:lstStyle/>
          <a:p>
            <a:r>
              <a:rPr lang="en-GB" sz="2400" dirty="0">
                <a:latin typeface="HelvNeue for IBM Medium"/>
              </a:rPr>
              <a:t>The IBM </a:t>
            </a:r>
            <a:r>
              <a:rPr lang="en-GB" sz="2400" dirty="0" smtClean="0">
                <a:latin typeface="HelvNeue for IBM Medium"/>
              </a:rPr>
              <a:t>Watson </a:t>
            </a:r>
            <a:r>
              <a:rPr lang="en-GB" sz="2400" dirty="0" err="1" smtClean="0">
                <a:latin typeface="HelvNeue for IBM Medium"/>
              </a:rPr>
              <a:t>IoT</a:t>
            </a:r>
            <a:r>
              <a:rPr lang="en-GB" sz="2400" dirty="0" smtClean="0">
                <a:latin typeface="HelvNeue for IBM Medium"/>
              </a:rPr>
              <a:t> Platform</a:t>
            </a:r>
            <a:r>
              <a:rPr lang="en-GB" dirty="0">
                <a:latin typeface="HelvNeue for IBM Medium"/>
              </a:rPr>
              <a:t/>
            </a:r>
            <a:br>
              <a:rPr lang="en-GB" dirty="0">
                <a:latin typeface="HelvNeue for IBM Medium"/>
              </a:rPr>
            </a:br>
            <a:r>
              <a:rPr lang="en-GB" sz="1600" b="1" dirty="0">
                <a:solidFill>
                  <a:schemeClr val="bg1">
                    <a:lumMod val="50000"/>
                  </a:schemeClr>
                </a:solidFill>
                <a:latin typeface="HelvNeue for IBM Medium"/>
              </a:rPr>
              <a:t>Everything you need to Innovate with </a:t>
            </a:r>
            <a:r>
              <a:rPr lang="en-GB" sz="1600" b="1" dirty="0" err="1">
                <a:solidFill>
                  <a:schemeClr val="bg1">
                    <a:lumMod val="50000"/>
                  </a:schemeClr>
                </a:solidFill>
                <a:latin typeface="HelvNeue for IBM Medium"/>
              </a:rPr>
              <a:t>IoT</a:t>
            </a:r>
            <a:r>
              <a:rPr lang="en-GB" sz="1600" b="1" dirty="0">
                <a:solidFill>
                  <a:schemeClr val="bg1">
                    <a:lumMod val="50000"/>
                  </a:schemeClr>
                </a:solidFill>
                <a:latin typeface="HelvNeue for IBM Medium"/>
              </a:rPr>
              <a:t>  </a:t>
            </a:r>
            <a:endParaRPr lang="en-US" sz="1600" dirty="0">
              <a:latin typeface="HelvNeue for IBM Medium"/>
            </a:endParaRPr>
          </a:p>
        </p:txBody>
      </p:sp>
      <p:pic>
        <p:nvPicPr>
          <p:cNvPr id="12" name="Picture 11" descr="Screen Shot 2016-01-05 at 10.14.34 P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7007" y="1086040"/>
            <a:ext cx="2887167" cy="3448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014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Screen Shot 2016-01-05 at 10.14.34 P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5565" y="1086040"/>
            <a:ext cx="2887167" cy="34480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34104"/>
            <a:ext cx="7543800" cy="729709"/>
          </a:xfrm>
          <a:noFill/>
          <a:ln>
            <a:noFill/>
          </a:ln>
        </p:spPr>
        <p:txBody>
          <a:bodyPr vert="horz" wrap="square" lIns="64283" tIns="32142" rIns="64283" bIns="32142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 smtClean="0">
                <a:latin typeface="HelvNeue for IBM Medium"/>
              </a:rPr>
              <a:t>Risk </a:t>
            </a:r>
            <a:r>
              <a:rPr lang="en-US" sz="2400" dirty="0">
                <a:latin typeface="HelvNeue for IBM Medium"/>
              </a:rPr>
              <a:t>Management and </a:t>
            </a:r>
            <a:r>
              <a:rPr lang="en-US" sz="2400" dirty="0" err="1">
                <a:latin typeface="HelvNeue for IBM Medium"/>
              </a:rPr>
              <a:t>Blockchain</a:t>
            </a:r>
            <a:r>
              <a:rPr lang="en-US" sz="2400" dirty="0">
                <a:latin typeface="HelvNeue for IBM Medium"/>
              </a:rPr>
              <a:t> capabilities for better security and privacy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5020729" y="1344274"/>
            <a:ext cx="304800" cy="3124200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dirty="0" err="1" smtClean="0">
                <a:latin typeface="HelvNeue for IBM Medium"/>
                <a:cs typeface="Helvetica Neue Medium"/>
              </a:rPr>
              <a:t>Blockchain</a:t>
            </a:r>
            <a:endParaRPr lang="en-US" sz="1600" dirty="0">
              <a:latin typeface="HelvNeue for IBM Medium"/>
              <a:cs typeface="Helvetica Neue Medium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16200000">
            <a:off x="5325532" y="1696344"/>
            <a:ext cx="304800" cy="3048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16200000">
            <a:off x="5334000" y="2191644"/>
            <a:ext cx="304800" cy="3048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16200000">
            <a:off x="5334000" y="2686944"/>
            <a:ext cx="304800" cy="3048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16200000">
            <a:off x="5334000" y="3182244"/>
            <a:ext cx="304800" cy="3048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16200000">
            <a:off x="5325532" y="3677544"/>
            <a:ext cx="304800" cy="304800"/>
          </a:xfrm>
          <a:prstGeom prst="rect">
            <a:avLst/>
          </a:prstGeom>
        </p:spPr>
      </p:pic>
      <p:sp>
        <p:nvSpPr>
          <p:cNvPr id="11" name="Content Placeholder 2"/>
          <p:cNvSpPr txBox="1">
            <a:spLocks/>
          </p:cNvSpPr>
          <p:nvPr/>
        </p:nvSpPr>
        <p:spPr bwMode="auto">
          <a:xfrm>
            <a:off x="457201" y="1246716"/>
            <a:ext cx="4114799" cy="3271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64283" tIns="32142" rIns="64283" bIns="32142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319088" rtl="0" eaLnBrk="0" fontAlgn="base" hangingPunct="0">
              <a:lnSpc>
                <a:spcPct val="150000"/>
              </a:lnSpc>
              <a:spcBef>
                <a:spcPts val="538"/>
              </a:spcBef>
              <a:spcAft>
                <a:spcPct val="0"/>
              </a:spcAft>
              <a:buFont typeface="Arial" charset="0"/>
              <a:defRPr sz="1200" kern="1200">
                <a:solidFill>
                  <a:srgbClr val="6D6F71"/>
                </a:solidFill>
                <a:latin typeface="HelvNeue for IBM Light"/>
                <a:ea typeface="MS PGothic" pitchFamily="34" charset="-128"/>
                <a:cs typeface="HelvNeue for IBM Light"/>
              </a:defRPr>
            </a:lvl1pPr>
            <a:lvl2pPr marL="285750" indent="-285750" algn="l" defTabSz="319088" rtl="0" eaLnBrk="0" fontAlgn="base" hangingPunct="0">
              <a:lnSpc>
                <a:spcPct val="150000"/>
              </a:lnSpc>
              <a:spcBef>
                <a:spcPts val="1075"/>
              </a:spcBef>
              <a:spcAft>
                <a:spcPct val="0"/>
              </a:spcAft>
              <a:buClr>
                <a:srgbClr val="4FFAFF"/>
              </a:buClr>
              <a:buFont typeface="Arial" charset="0"/>
              <a:buChar char="•"/>
              <a:defRPr sz="1200" kern="1200">
                <a:solidFill>
                  <a:srgbClr val="6D6F71"/>
                </a:solidFill>
                <a:latin typeface="HelvNeue for IBM Light"/>
                <a:ea typeface="MS PGothic" pitchFamily="34" charset="-128"/>
                <a:cs typeface="HelvNeue for IBM Light"/>
              </a:defRPr>
            </a:lvl2pPr>
            <a:lvl3pPr marL="1143000" indent="-228600" algn="l" defTabSz="319088" rtl="0" eaLnBrk="0" fontAlgn="base" hangingPunct="0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rgbClr val="4FFAFF"/>
              </a:buClr>
              <a:defRPr lang="en-US" sz="1200" kern="1200" dirty="0">
                <a:solidFill>
                  <a:srgbClr val="6D6F71"/>
                </a:solidFill>
                <a:latin typeface="HelvNeue for IBM Light"/>
                <a:ea typeface="MS PGothic" pitchFamily="34" charset="-128"/>
                <a:cs typeface="HelvNeue for IBM Light"/>
              </a:defRPr>
            </a:lvl3pPr>
            <a:lvl4pPr marL="74613" indent="-74613" algn="l" defTabSz="319088" rtl="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39B2E7"/>
              </a:buClr>
              <a:buSzPct val="125000"/>
              <a:buFont typeface="Arial" charset="0"/>
              <a:buChar char="•"/>
              <a:defRPr sz="1200" kern="1200">
                <a:solidFill>
                  <a:srgbClr val="6D6F71"/>
                </a:solidFill>
                <a:latin typeface="HelvNeue for IBM Light"/>
                <a:ea typeface="HelvNeue for IBM" charset="0"/>
                <a:cs typeface="HelvNeue for IBM Light"/>
              </a:defRPr>
            </a:lvl4pPr>
            <a:lvl5pPr marL="307975" indent="-144463" algn="l" defTabSz="319088" rtl="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39B2E7"/>
              </a:buClr>
              <a:buFont typeface="Arial" charset="0"/>
              <a:buChar char="–"/>
              <a:defRPr sz="1200" kern="1200">
                <a:solidFill>
                  <a:srgbClr val="6D6F71"/>
                </a:solidFill>
                <a:latin typeface="HelvNeue for IBM Light"/>
                <a:ea typeface="MS PGothic" pitchFamily="34" charset="-128"/>
                <a:cs typeface="HelvNeue for IBM Light"/>
              </a:defRPr>
            </a:lvl5pPr>
            <a:lvl6pPr marL="1767808" indent="-160710" algn="l" defTabSz="321419" rtl="0" eaLnBrk="1" latinLnBrk="0" hangingPunct="1">
              <a:spcBef>
                <a:spcPct val="200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89229" indent="-160710" algn="l" defTabSz="321419" rtl="0" eaLnBrk="1" latinLnBrk="0" hangingPunct="1">
              <a:spcBef>
                <a:spcPct val="200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10648" indent="-160710" algn="l" defTabSz="321419" rtl="0" eaLnBrk="1" latinLnBrk="0" hangingPunct="1">
              <a:spcBef>
                <a:spcPct val="200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32068" indent="-160710" algn="l" defTabSz="321419" rtl="0" eaLnBrk="1" latinLnBrk="0" hangingPunct="1">
              <a:spcBef>
                <a:spcPct val="200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</a:pPr>
            <a:r>
              <a:rPr lang="en-US" sz="1400" dirty="0" smtClean="0">
                <a:latin typeface="HelvNeue for IBM Medium"/>
              </a:rPr>
              <a:t>Providing </a:t>
            </a:r>
            <a:r>
              <a:rPr lang="en-US" sz="1400" dirty="0">
                <a:latin typeface="HelvNeue for IBM Medium"/>
              </a:rPr>
              <a:t>the ability to enforce the appropriate level of security and privacy </a:t>
            </a:r>
            <a:r>
              <a:rPr lang="en-US" sz="1400" dirty="0" smtClean="0">
                <a:latin typeface="HelvNeue for IBM Medium"/>
              </a:rPr>
              <a:t>to your </a:t>
            </a:r>
            <a:r>
              <a:rPr lang="en-US" sz="1400" dirty="0" err="1">
                <a:latin typeface="HelvNeue for IBM Medium"/>
              </a:rPr>
              <a:t>IoT</a:t>
            </a:r>
            <a:r>
              <a:rPr lang="en-US" sz="1400" dirty="0">
                <a:latin typeface="HelvNeue for IBM Medium"/>
              </a:rPr>
              <a:t> solution from the device through the network to the cloud and beyond </a:t>
            </a:r>
            <a:endParaRPr lang="en-US" sz="1400" dirty="0" smtClean="0">
              <a:latin typeface="HelvNeue for IBM Medium"/>
            </a:endParaRPr>
          </a:p>
          <a:p>
            <a:pPr marL="231775" indent="-231775">
              <a:lnSpc>
                <a:spcPct val="100000"/>
              </a:lnSpc>
              <a:buFont typeface="Wingdings" charset="2"/>
              <a:buChar char="²"/>
            </a:pPr>
            <a:endParaRPr lang="en-US" sz="1400" dirty="0" smtClean="0">
              <a:solidFill>
                <a:schemeClr val="bg1">
                  <a:lumMod val="50000"/>
                </a:schemeClr>
              </a:solidFill>
              <a:latin typeface="HelvNeue for IBM Medium"/>
              <a:ea typeface="MS PGothic" charset="0"/>
              <a:cs typeface="Helvetica Neue"/>
            </a:endParaRPr>
          </a:p>
          <a:p>
            <a:pPr marL="460375" indent="-230188">
              <a:lnSpc>
                <a:spcPct val="100000"/>
              </a:lnSpc>
              <a:buFont typeface="Wingdings" charset="2"/>
              <a:buChar char="²"/>
            </a:pPr>
            <a:r>
              <a:rPr lang="en-US" dirty="0">
                <a:latin typeface="HelvNeue for IBM Medium"/>
              </a:rPr>
              <a:t>End to end core security features</a:t>
            </a:r>
          </a:p>
          <a:p>
            <a:pPr marL="460375" indent="-230188">
              <a:lnSpc>
                <a:spcPct val="100000"/>
              </a:lnSpc>
              <a:buFont typeface="Wingdings" charset="2"/>
              <a:buChar char="²"/>
            </a:pPr>
            <a:endParaRPr lang="en-US" dirty="0" smtClean="0">
              <a:solidFill>
                <a:schemeClr val="bg1">
                  <a:lumMod val="50000"/>
                </a:schemeClr>
              </a:solidFill>
              <a:latin typeface="HelvNeue for IBM Medium"/>
              <a:ea typeface="MS PGothic" charset="0"/>
              <a:cs typeface="Helvetica Neue"/>
            </a:endParaRPr>
          </a:p>
          <a:p>
            <a:pPr marL="460375" indent="-230188">
              <a:lnSpc>
                <a:spcPct val="100000"/>
              </a:lnSpc>
              <a:buFont typeface="Wingdings" charset="2"/>
              <a:buChar char="²"/>
            </a:pPr>
            <a:r>
              <a:rPr lang="en-US" dirty="0">
                <a:latin typeface="HelvNeue for IBM Medium"/>
              </a:rPr>
              <a:t>System wide confidence via Security Analytics and Device </a:t>
            </a:r>
            <a:r>
              <a:rPr lang="en-US" dirty="0" smtClean="0">
                <a:latin typeface="HelvNeue for IBM Medium"/>
              </a:rPr>
              <a:t>Management</a:t>
            </a:r>
          </a:p>
          <a:p>
            <a:pPr marL="460375" indent="-230188">
              <a:lnSpc>
                <a:spcPct val="100000"/>
              </a:lnSpc>
              <a:buFont typeface="Wingdings" charset="2"/>
              <a:buChar char="²"/>
            </a:pPr>
            <a:endParaRPr lang="en-US" dirty="0" smtClean="0">
              <a:latin typeface="HelvNeue for IBM Medium"/>
              <a:ea typeface="MS PGothic" charset="0"/>
              <a:cs typeface="Helvetica Neue"/>
            </a:endParaRPr>
          </a:p>
          <a:p>
            <a:pPr marL="460375" indent="-230188">
              <a:lnSpc>
                <a:spcPct val="100000"/>
              </a:lnSpc>
              <a:buFont typeface="Wingdings" charset="2"/>
              <a:buChar char="²"/>
            </a:pPr>
            <a:r>
              <a:rPr lang="en-US" dirty="0">
                <a:latin typeface="HelvNeue for IBM Medium"/>
              </a:rPr>
              <a:t>Support for secure decentralized systems with </a:t>
            </a:r>
            <a:r>
              <a:rPr lang="en-US" dirty="0" err="1" smtClean="0">
                <a:latin typeface="HelvNeue for IBM Medium"/>
              </a:rPr>
              <a:t>Blockchain</a:t>
            </a:r>
            <a:endParaRPr lang="en-US" dirty="0">
              <a:latin typeface="HelvNeue for IBM Medium"/>
            </a:endParaRPr>
          </a:p>
          <a:p>
            <a:pPr marL="231775" indent="-231775">
              <a:lnSpc>
                <a:spcPct val="100000"/>
              </a:lnSpc>
              <a:buFont typeface="Wingdings" charset="2"/>
              <a:buChar char="²"/>
            </a:pPr>
            <a:endParaRPr lang="en-US" sz="1400" b="1" dirty="0">
              <a:latin typeface="HelvNeue for IBM Medium"/>
            </a:endParaRPr>
          </a:p>
        </p:txBody>
      </p:sp>
      <p:pic>
        <p:nvPicPr>
          <p:cNvPr id="15" name="Picture 14" descr="Screen Shot 2016-01-05 at 10.14.34 P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802" y="1086040"/>
            <a:ext cx="2887167" cy="344805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6934200" y="1123950"/>
            <a:ext cx="1263312" cy="1220677"/>
          </a:xfrm>
          <a:prstGeom prst="rect">
            <a:avLst/>
          </a:prstGeom>
          <a:noFill/>
          <a:ln w="57150" cmpd="sng">
            <a:solidFill>
              <a:schemeClr val="accent2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Neue for IBM Medium"/>
            </a:endParaRPr>
          </a:p>
        </p:txBody>
      </p:sp>
    </p:spTree>
    <p:extLst>
      <p:ext uri="{BB962C8B-B14F-4D97-AF65-F5344CB8AC3E}">
        <p14:creationId xmlns:p14="http://schemas.microsoft.com/office/powerpoint/2010/main" val="22447267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926" y="134104"/>
            <a:ext cx="7653874" cy="729709"/>
          </a:xfrm>
          <a:noFill/>
          <a:ln>
            <a:noFill/>
          </a:ln>
        </p:spPr>
        <p:txBody>
          <a:bodyPr vert="horz" wrap="square" lIns="64283" tIns="32142" rIns="64283" bIns="32142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2400" dirty="0" smtClean="0">
                <a:latin typeface="HelvNeue for IBM Medium"/>
              </a:rPr>
              <a:t>Combining </a:t>
            </a:r>
            <a:r>
              <a:rPr lang="en-GB" sz="2400" dirty="0">
                <a:latin typeface="HelvNeue for IBM Medium"/>
              </a:rPr>
              <a:t>weather, </a:t>
            </a:r>
            <a:r>
              <a:rPr lang="en-GB" sz="2400" dirty="0" smtClean="0">
                <a:latin typeface="HelvNeue for IBM Medium"/>
              </a:rPr>
              <a:t>analytics, </a:t>
            </a:r>
            <a:r>
              <a:rPr lang="en-GB" sz="2400" dirty="0">
                <a:latin typeface="HelvNeue for IBM Medium"/>
              </a:rPr>
              <a:t>and internet of things to deliver better outcom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4294967295"/>
          </p:nvPr>
        </p:nvSpPr>
        <p:spPr>
          <a:xfrm>
            <a:off x="2680274" y="1246716"/>
            <a:ext cx="2649169" cy="3271660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</a:pP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HelvNeue for IBM Medium"/>
                <a:ea typeface="MS PGothic" charset="0"/>
                <a:cs typeface="Helvetica Neue"/>
              </a:rPr>
              <a:t>Weather assets fuel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HelvNeue for IBM Medium"/>
                <a:ea typeface="MS PGothic" charset="0"/>
                <a:cs typeface="Helvetica Neue"/>
              </a:rPr>
              <a:t>Io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HelvNeue for IBM Medium"/>
                <a:ea typeface="MS PGothic" charset="0"/>
                <a:cs typeface="Helvetica Neue"/>
              </a:rPr>
              <a:t> transformation across industries</a:t>
            </a:r>
          </a:p>
          <a:p>
            <a:pPr marL="231775" indent="-231775">
              <a:lnSpc>
                <a:spcPct val="100000"/>
              </a:lnSpc>
              <a:buFont typeface="Wingdings" charset="2"/>
              <a:buChar char="²"/>
            </a:pPr>
            <a:endParaRPr lang="en-US" dirty="0" smtClean="0">
              <a:solidFill>
                <a:schemeClr val="bg1">
                  <a:lumMod val="50000"/>
                </a:schemeClr>
              </a:solidFill>
              <a:latin typeface="HelvNeue for IBM Medium"/>
              <a:ea typeface="MS PGothic" charset="0"/>
              <a:cs typeface="Helvetica Neue"/>
            </a:endParaRPr>
          </a:p>
          <a:p>
            <a:pPr marL="460375" indent="-230188">
              <a:lnSpc>
                <a:spcPct val="100000"/>
              </a:lnSpc>
              <a:buFont typeface="Wingdings" charset="2"/>
              <a:buChar char="²"/>
            </a:pPr>
            <a:r>
              <a:rPr lang="en-US" dirty="0" smtClean="0">
                <a:solidFill>
                  <a:schemeClr val="bg1">
                    <a:lumMod val="50000"/>
                  </a:schemeClr>
                </a:solidFill>
                <a:latin typeface="HelvNeue for IBM Medium"/>
                <a:ea typeface="MS PGothic" charset="0"/>
                <a:cs typeface="Helvetica Neue"/>
              </a:rPr>
              <a:t>Incorporate weather data into your </a:t>
            </a:r>
            <a:r>
              <a:rPr lang="en-US" dirty="0" err="1" smtClean="0">
                <a:solidFill>
                  <a:schemeClr val="bg1">
                    <a:lumMod val="50000"/>
                  </a:schemeClr>
                </a:solidFill>
                <a:latin typeface="HelvNeue for IBM Medium"/>
                <a:ea typeface="MS PGothic" charset="0"/>
                <a:cs typeface="Helvetica Neue"/>
              </a:rPr>
              <a:t>IoT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  <a:latin typeface="HelvNeue for IBM Medium"/>
                <a:ea typeface="MS PGothic" charset="0"/>
                <a:cs typeface="Helvetica Neue"/>
              </a:rPr>
              <a:t> applications</a:t>
            </a:r>
          </a:p>
          <a:p>
            <a:pPr marL="460375" indent="-230188">
              <a:lnSpc>
                <a:spcPct val="100000"/>
              </a:lnSpc>
              <a:buFont typeface="Wingdings" charset="2"/>
              <a:buChar char="²"/>
            </a:pPr>
            <a:endParaRPr lang="en-US" dirty="0" smtClean="0">
              <a:solidFill>
                <a:schemeClr val="bg1">
                  <a:lumMod val="50000"/>
                </a:schemeClr>
              </a:solidFill>
              <a:latin typeface="HelvNeue for IBM Medium"/>
              <a:ea typeface="MS PGothic" charset="0"/>
              <a:cs typeface="Helvetica Neue"/>
            </a:endParaRPr>
          </a:p>
          <a:p>
            <a:pPr marL="460375" indent="-230188">
              <a:lnSpc>
                <a:spcPct val="100000"/>
              </a:lnSpc>
              <a:buFont typeface="Wingdings" charset="2"/>
              <a:buChar char="²"/>
            </a:pPr>
            <a:r>
              <a:rPr lang="en-US" dirty="0" smtClean="0">
                <a:solidFill>
                  <a:schemeClr val="bg1">
                    <a:lumMod val="50000"/>
                  </a:schemeClr>
                </a:solidFill>
                <a:latin typeface="HelvNeue for IBM Medium"/>
                <a:ea typeface="MS PGothic" charset="0"/>
                <a:cs typeface="Helvetica Neue"/>
              </a:rPr>
              <a:t>Combine weather data in your data set to gain more insight</a:t>
            </a:r>
          </a:p>
          <a:p>
            <a:pPr marL="460375" indent="-230188">
              <a:lnSpc>
                <a:spcPct val="100000"/>
              </a:lnSpc>
              <a:buFont typeface="Wingdings" charset="2"/>
              <a:buChar char="²"/>
            </a:pPr>
            <a:endParaRPr lang="en-US" dirty="0" smtClean="0">
              <a:solidFill>
                <a:schemeClr val="bg1">
                  <a:lumMod val="50000"/>
                </a:schemeClr>
              </a:solidFill>
              <a:latin typeface="HelvNeue for IBM Medium"/>
              <a:ea typeface="MS PGothic" charset="0"/>
              <a:cs typeface="Helvetica Neue"/>
            </a:endParaRPr>
          </a:p>
          <a:p>
            <a:pPr marL="460375" indent="-230188">
              <a:lnSpc>
                <a:spcPct val="100000"/>
              </a:lnSpc>
              <a:buFont typeface="Wingdings" charset="2"/>
              <a:buChar char="²"/>
            </a:pPr>
            <a:r>
              <a:rPr lang="en-US" dirty="0" smtClean="0">
                <a:solidFill>
                  <a:schemeClr val="bg1">
                    <a:lumMod val="50000"/>
                  </a:schemeClr>
                </a:solidFill>
                <a:latin typeface="HelvNeue for IBM Medium"/>
                <a:ea typeface="MS PGothic" charset="0"/>
                <a:cs typeface="Helvetica Neue"/>
              </a:rPr>
              <a:t>“Insights for Weather” API now available on </a:t>
            </a:r>
            <a:r>
              <a:rPr lang="en-US" dirty="0" err="1" smtClean="0">
                <a:solidFill>
                  <a:schemeClr val="bg1">
                    <a:lumMod val="50000"/>
                  </a:schemeClr>
                </a:solidFill>
                <a:latin typeface="HelvNeue for IBM Medium"/>
                <a:ea typeface="MS PGothic" charset="0"/>
                <a:cs typeface="Helvetica Neue"/>
              </a:rPr>
              <a:t>Bluemix</a:t>
            </a:r>
            <a:endParaRPr lang="en-US" dirty="0" smtClean="0">
              <a:solidFill>
                <a:schemeClr val="bg1">
                  <a:lumMod val="50000"/>
                </a:schemeClr>
              </a:solidFill>
              <a:latin typeface="HelvNeue for IBM Medium"/>
              <a:ea typeface="MS PGothic" charset="0"/>
              <a:cs typeface="Helvetica Neue"/>
            </a:endParaRPr>
          </a:p>
          <a:p>
            <a:pPr marL="0" indent="0"/>
            <a:endParaRPr lang="en-US" b="1" dirty="0" smtClean="0">
              <a:solidFill>
                <a:schemeClr val="tx1"/>
              </a:solidFill>
              <a:latin typeface="HelvNeue for IBM Medium"/>
              <a:ea typeface="MS PGothic" charset="0"/>
              <a:cs typeface="Helvetica Neue"/>
            </a:endParaRPr>
          </a:p>
          <a:p>
            <a:pPr marL="0" indent="0"/>
            <a:endParaRPr lang="en-US" sz="810" b="1" dirty="0">
              <a:latin typeface="HelvNeue for IBM Medium"/>
              <a:ea typeface="MS PGothic" charset="0"/>
              <a:cs typeface="Helvetica Neue"/>
            </a:endParaRPr>
          </a:p>
        </p:txBody>
      </p:sp>
      <p:sp>
        <p:nvSpPr>
          <p:cNvPr id="3" name="Rounded Rectangle 2"/>
          <p:cNvSpPr/>
          <p:nvPr/>
        </p:nvSpPr>
        <p:spPr>
          <a:xfrm>
            <a:off x="5418716" y="1382184"/>
            <a:ext cx="304800" cy="312420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dirty="0" smtClean="0">
                <a:latin typeface="HelvNeue for IBM Medium"/>
                <a:cs typeface="Helvetica Neue Medium"/>
              </a:rPr>
              <a:t>Weather Data</a:t>
            </a:r>
            <a:endParaRPr lang="en-US" sz="1600" dirty="0">
              <a:latin typeface="HelvNeue for IBM Medium"/>
              <a:cs typeface="Helvetica Neue Medium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16200000">
            <a:off x="5723519" y="1734254"/>
            <a:ext cx="304800" cy="3048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16200000">
            <a:off x="5731987" y="2229554"/>
            <a:ext cx="304800" cy="3048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16200000">
            <a:off x="5731987" y="2724854"/>
            <a:ext cx="304800" cy="3048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16200000">
            <a:off x="5731987" y="3220154"/>
            <a:ext cx="304800" cy="3048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16200000">
            <a:off x="5723519" y="3715454"/>
            <a:ext cx="304800" cy="3048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466" y="2384076"/>
            <a:ext cx="1993898" cy="996949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0466" y="3521431"/>
            <a:ext cx="1993898" cy="99694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466" y="1246720"/>
            <a:ext cx="1993898" cy="99694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12787" y="4019550"/>
            <a:ext cx="863731" cy="651226"/>
          </a:xfrm>
          <a:prstGeom prst="rect">
            <a:avLst/>
          </a:prstGeom>
        </p:spPr>
      </p:pic>
      <p:pic>
        <p:nvPicPr>
          <p:cNvPr id="25" name="Picture 24" descr="Screen Shot 2016-01-05 at 10.14.34 PM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2789" y="1086040"/>
            <a:ext cx="2887167" cy="3448050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7332187" y="2419350"/>
            <a:ext cx="1295400" cy="1184532"/>
          </a:xfrm>
          <a:prstGeom prst="rect">
            <a:avLst/>
          </a:prstGeom>
          <a:noFill/>
          <a:ln w="57150" cmpd="sng">
            <a:solidFill>
              <a:srgbClr val="F7964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Neue for IBM Medium"/>
            </a:endParaRPr>
          </a:p>
        </p:txBody>
      </p:sp>
    </p:spTree>
    <p:extLst>
      <p:ext uri="{BB962C8B-B14F-4D97-AF65-F5344CB8AC3E}">
        <p14:creationId xmlns:p14="http://schemas.microsoft.com/office/powerpoint/2010/main" val="33778302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16200000">
            <a:off x="5334003" y="1734254"/>
            <a:ext cx="304800" cy="3048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16200000">
            <a:off x="5342471" y="2229554"/>
            <a:ext cx="304800" cy="3048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16200000">
            <a:off x="5342471" y="2724854"/>
            <a:ext cx="304800" cy="3048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16200000">
            <a:off x="5342471" y="3220154"/>
            <a:ext cx="304800" cy="3048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16200000">
            <a:off x="5334003" y="3715454"/>
            <a:ext cx="304800" cy="304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34104"/>
            <a:ext cx="7543799" cy="729709"/>
          </a:xfrm>
        </p:spPr>
        <p:txBody>
          <a:bodyPr/>
          <a:lstStyle/>
          <a:p>
            <a:r>
              <a:rPr lang="en-GB" sz="2400" dirty="0" smtClean="0">
                <a:latin typeface="HelvNeue for IBM Medium"/>
              </a:rPr>
              <a:t>Adding analytics capabilities to IoT data produces the intelligence of cognitive IoT</a:t>
            </a:r>
            <a:endParaRPr lang="en-GB" sz="2400" dirty="0">
              <a:latin typeface="HelvNeue for IBM Medium"/>
            </a:endParaRPr>
          </a:p>
        </p:txBody>
      </p:sp>
      <p:pic>
        <p:nvPicPr>
          <p:cNvPr id="18" name="Picture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0291" y="1883290"/>
            <a:ext cx="1797050" cy="160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609600" y="1581150"/>
            <a:ext cx="1447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1"/>
                </a:solidFill>
                <a:latin typeface="HelvNeue for IBM Medium"/>
              </a:rPr>
              <a:t>Natural Language Processing</a:t>
            </a:r>
            <a:endParaRPr lang="en-US" dirty="0">
              <a:solidFill>
                <a:schemeClr val="accent1"/>
              </a:solidFill>
              <a:latin typeface="HelvNeue for IBM Medium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09600" y="3220153"/>
            <a:ext cx="1447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1"/>
                </a:solidFill>
                <a:latin typeface="HelvNeue for IBM Medium"/>
              </a:rPr>
              <a:t>Machine</a:t>
            </a:r>
          </a:p>
          <a:p>
            <a:r>
              <a:rPr lang="en-US" dirty="0" smtClean="0">
                <a:solidFill>
                  <a:schemeClr val="accent1"/>
                </a:solidFill>
                <a:latin typeface="HelvNeue for IBM Medium"/>
              </a:rPr>
              <a:t>Learning</a:t>
            </a:r>
            <a:endParaRPr lang="en-US" dirty="0">
              <a:solidFill>
                <a:schemeClr val="accent1"/>
              </a:solidFill>
              <a:latin typeface="HelvNeue for IBM Medium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429000" y="1581150"/>
            <a:ext cx="1519398" cy="923330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1"/>
                </a:solidFill>
                <a:latin typeface="HelvNeue for IBM Medium"/>
              </a:rPr>
              <a:t>Video/Image/Audio Analytics</a:t>
            </a:r>
            <a:endParaRPr lang="en-US" dirty="0">
              <a:solidFill>
                <a:schemeClr val="accent1"/>
              </a:solidFill>
              <a:latin typeface="HelvNeue for IBM Medium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429000" y="3220153"/>
            <a:ext cx="1447800" cy="646331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1"/>
                </a:solidFill>
                <a:latin typeface="HelvNeue for IBM Medium"/>
              </a:rPr>
              <a:t>Text Analytics</a:t>
            </a:r>
            <a:endParaRPr lang="en-US" dirty="0">
              <a:solidFill>
                <a:schemeClr val="accent1"/>
              </a:solidFill>
              <a:latin typeface="HelvNeue for IBM Medium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457200" y="1581150"/>
            <a:ext cx="4419600" cy="2285333"/>
          </a:xfrm>
          <a:prstGeom prst="roundRect">
            <a:avLst/>
          </a:prstGeom>
          <a:noFill/>
          <a:ln>
            <a:solidFill>
              <a:schemeClr val="accent1"/>
            </a:solidFill>
            <a:prstDash val="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Neue for IBM Medium"/>
            </a:endParaRPr>
          </a:p>
        </p:txBody>
      </p:sp>
      <p:sp>
        <p:nvSpPr>
          <p:cNvPr id="3" name="Rounded Rectangle 2"/>
          <p:cNvSpPr/>
          <p:nvPr/>
        </p:nvSpPr>
        <p:spPr>
          <a:xfrm>
            <a:off x="5029200" y="1382184"/>
            <a:ext cx="304800" cy="3124200"/>
          </a:xfrm>
          <a:prstGeom prst="roundRect">
            <a:avLst/>
          </a:prstGeom>
          <a:solidFill>
            <a:srgbClr val="008ABF"/>
          </a:solidFill>
          <a:ln>
            <a:solidFill>
              <a:srgbClr val="4F81B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dirty="0" smtClean="0">
                <a:latin typeface="HelvNeue for IBM Medium"/>
                <a:cs typeface="Helvetica Neue Medium"/>
              </a:rPr>
              <a:t>Cognitive</a:t>
            </a:r>
            <a:endParaRPr lang="en-US" sz="1600" dirty="0">
              <a:latin typeface="HelvNeue for IBM Medium"/>
              <a:cs typeface="Helvetica Neue Medium"/>
            </a:endParaRPr>
          </a:p>
        </p:txBody>
      </p:sp>
      <p:pic>
        <p:nvPicPr>
          <p:cNvPr id="25" name="Picture 24" descr="Screen Shot 2016-01-05 at 10.14.34 PM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802" y="1086040"/>
            <a:ext cx="2887167" cy="3448050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5462523" y="1123950"/>
            <a:ext cx="1389643" cy="1220677"/>
          </a:xfrm>
          <a:prstGeom prst="rect">
            <a:avLst/>
          </a:prstGeom>
          <a:noFill/>
          <a:ln w="57150" cmpd="sng">
            <a:solidFill>
              <a:schemeClr val="accent2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Neue for IBM Medium"/>
            </a:endParaRPr>
          </a:p>
        </p:txBody>
      </p:sp>
    </p:spTree>
    <p:extLst>
      <p:ext uri="{BB962C8B-B14F-4D97-AF65-F5344CB8AC3E}">
        <p14:creationId xmlns:p14="http://schemas.microsoft.com/office/powerpoint/2010/main" val="9192526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71600" y="1657350"/>
            <a:ext cx="6858000" cy="988241"/>
          </a:xfrm>
        </p:spPr>
        <p:txBody>
          <a:bodyPr/>
          <a:lstStyle/>
          <a:p>
            <a:pPr marL="346075" indent="-346075">
              <a:defRPr/>
            </a:pPr>
            <a:r>
              <a:rPr lang="en-US" sz="2400" dirty="0" smtClean="0">
                <a:latin typeface="HelvNeue for IBM Medium"/>
              </a:rPr>
              <a:t>IBM IoT </a:t>
            </a:r>
            <a:r>
              <a:rPr lang="en-US" sz="2400" dirty="0">
                <a:latin typeface="HelvNeue for IBM Medium"/>
              </a:rPr>
              <a:t>Applications </a:t>
            </a:r>
            <a:r>
              <a:rPr lang="en-US" sz="2000" dirty="0" smtClean="0">
                <a:latin typeface="HelvNeue for IBM Medium"/>
              </a:rPr>
              <a:t/>
            </a:r>
            <a:br>
              <a:rPr lang="en-US" sz="2000" dirty="0" smtClean="0">
                <a:latin typeface="HelvNeue for IBM Medium"/>
              </a:rPr>
            </a:br>
            <a:r>
              <a:rPr lang="en-US" sz="3600" dirty="0" smtClean="0">
                <a:latin typeface="HelvNeue for IBM Medium"/>
              </a:rPr>
              <a:t>Asset and Facility Management</a:t>
            </a:r>
            <a:endParaRPr sz="3600" dirty="0">
              <a:latin typeface="HelvNeue for IBM Medium"/>
            </a:endParaRPr>
          </a:p>
        </p:txBody>
      </p:sp>
    </p:spTree>
    <p:extLst>
      <p:ext uri="{BB962C8B-B14F-4D97-AF65-F5344CB8AC3E}">
        <p14:creationId xmlns:p14="http://schemas.microsoft.com/office/powerpoint/2010/main" val="42106111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Title 57"/>
          <p:cNvSpPr txBox="1">
            <a:spLocks/>
          </p:cNvSpPr>
          <p:nvPr/>
        </p:nvSpPr>
        <p:spPr bwMode="auto">
          <a:xfrm>
            <a:off x="228599" y="166240"/>
            <a:ext cx="7536995" cy="729709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64283" tIns="32142" rIns="64283" bIns="32142" numCol="1" anchor="t" anchorCtr="0" compatLnSpc="1">
            <a:prstTxWarp prst="textNoShape">
              <a:avLst/>
            </a:prstTxWarp>
            <a:spAutoFit/>
          </a:bodyPr>
          <a:lstStyle>
            <a:lvl1pPr defTabSz="3190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spc="-50">
                <a:solidFill>
                  <a:srgbClr val="339C96"/>
                </a:solidFill>
                <a:latin typeface="HelvNeue for IBM Medium"/>
                <a:ea typeface="MS PGothic" pitchFamily="34" charset="-128"/>
                <a:cs typeface="HelvNeue for IBM Light"/>
              </a:defRPr>
            </a:lvl1pPr>
            <a:lvl2pPr defTabSz="3190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4FD9E7"/>
                </a:solidFill>
                <a:latin typeface="HelvNeue for IBM Light" charset="0"/>
                <a:ea typeface="MS PGothic" pitchFamily="34" charset="-128"/>
                <a:cs typeface="HelvNeue for IBM Light" charset="0"/>
              </a:defRPr>
            </a:lvl2pPr>
            <a:lvl3pPr defTabSz="3190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4FD9E7"/>
                </a:solidFill>
                <a:latin typeface="HelvNeue for IBM Light" charset="0"/>
                <a:ea typeface="MS PGothic" pitchFamily="34" charset="-128"/>
                <a:cs typeface="HelvNeue for IBM Light" charset="0"/>
              </a:defRPr>
            </a:lvl3pPr>
            <a:lvl4pPr defTabSz="3190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4FD9E7"/>
                </a:solidFill>
                <a:latin typeface="HelvNeue for IBM Light" charset="0"/>
                <a:ea typeface="MS PGothic" pitchFamily="34" charset="-128"/>
                <a:cs typeface="HelvNeue for IBM Light" charset="0"/>
              </a:defRPr>
            </a:lvl4pPr>
            <a:lvl5pPr defTabSz="3190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4FD9E7"/>
                </a:solidFill>
                <a:latin typeface="HelvNeue for IBM Light" charset="0"/>
                <a:ea typeface="MS PGothic" pitchFamily="34" charset="-128"/>
                <a:cs typeface="HelvNeue for IBM Light" charset="0"/>
              </a:defRPr>
            </a:lvl5pPr>
            <a:lvl6pPr marL="321419" algn="ctr" defTabSz="3214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00">
                <a:solidFill>
                  <a:srgbClr val="4FFAFF"/>
                </a:solidFill>
                <a:latin typeface="Lubalin for IBM Extra Light" charset="0"/>
                <a:ea typeface="ＭＳ Ｐゴシック" charset="0"/>
              </a:defRPr>
            </a:lvl6pPr>
            <a:lvl7pPr marL="642840" algn="ctr" defTabSz="3214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00">
                <a:solidFill>
                  <a:srgbClr val="4FFAFF"/>
                </a:solidFill>
                <a:latin typeface="Lubalin for IBM Extra Light" charset="0"/>
                <a:ea typeface="ＭＳ Ｐゴシック" charset="0"/>
              </a:defRPr>
            </a:lvl7pPr>
            <a:lvl8pPr marL="964259" algn="ctr" defTabSz="3214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00">
                <a:solidFill>
                  <a:srgbClr val="4FFAFF"/>
                </a:solidFill>
                <a:latin typeface="Lubalin for IBM Extra Light" charset="0"/>
                <a:ea typeface="ＭＳ Ｐゴシック" charset="0"/>
              </a:defRPr>
            </a:lvl8pPr>
            <a:lvl9pPr marL="1285679" algn="ctr" defTabSz="3214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00">
                <a:solidFill>
                  <a:srgbClr val="4FFAFF"/>
                </a:solidFill>
                <a:latin typeface="Lubalin for IBM Extra Light" charset="0"/>
                <a:ea typeface="ＭＳ Ｐゴシック" charset="0"/>
              </a:defRPr>
            </a:lvl9pPr>
          </a:lstStyle>
          <a:p>
            <a:r>
              <a:rPr lang="en-US" dirty="0"/>
              <a:t>IBM IoT Applications </a:t>
            </a:r>
            <a:r>
              <a:rPr lang="en-US" dirty="0" smtClean="0"/>
              <a:t>increases performance and value of Asset </a:t>
            </a:r>
            <a:r>
              <a:rPr lang="en-US" dirty="0"/>
              <a:t>and Facility </a:t>
            </a:r>
            <a:r>
              <a:rPr lang="en-US" dirty="0" smtClean="0"/>
              <a:t>Management</a:t>
            </a:r>
            <a:endParaRPr lang="en-US" dirty="0"/>
          </a:p>
        </p:txBody>
      </p:sp>
      <p:sp>
        <p:nvSpPr>
          <p:cNvPr id="54" name="Rounded Rectangle 53"/>
          <p:cNvSpPr>
            <a:spLocks noChangeArrowheads="1"/>
          </p:cNvSpPr>
          <p:nvPr/>
        </p:nvSpPr>
        <p:spPr bwMode="auto">
          <a:xfrm>
            <a:off x="782855" y="1047749"/>
            <a:ext cx="7294345" cy="3581401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 sz="1200">
              <a:latin typeface="HelvNeue for IBM Medium"/>
            </a:endParaRPr>
          </a:p>
        </p:txBody>
      </p:sp>
      <p:sp>
        <p:nvSpPr>
          <p:cNvPr id="58" name="Rounded Rectangle 57"/>
          <p:cNvSpPr>
            <a:spLocks noChangeArrowheads="1"/>
          </p:cNvSpPr>
          <p:nvPr/>
        </p:nvSpPr>
        <p:spPr bwMode="auto">
          <a:xfrm>
            <a:off x="1114416" y="3167197"/>
            <a:ext cx="6631223" cy="518021"/>
          </a:xfrm>
          <a:prstGeom prst="roundRect">
            <a:avLst>
              <a:gd name="adj" fmla="val 16667"/>
            </a:avLst>
          </a:prstGeom>
          <a:solidFill>
            <a:srgbClr val="4BB099"/>
          </a:solidFill>
          <a:ln w="9525">
            <a:solidFill>
              <a:srgbClr val="006EC0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>
              <a:latin typeface="HelvNeue for IBM Medium"/>
              <a:ea typeface="MS PGothic" pitchFamily="34" charset="-128"/>
            </a:endParaRPr>
          </a:p>
        </p:txBody>
      </p:sp>
      <p:sp>
        <p:nvSpPr>
          <p:cNvPr id="59" name="Rounded Rectangle 58"/>
          <p:cNvSpPr>
            <a:spLocks noChangeArrowheads="1"/>
          </p:cNvSpPr>
          <p:nvPr/>
        </p:nvSpPr>
        <p:spPr bwMode="auto">
          <a:xfrm>
            <a:off x="1134372" y="1776214"/>
            <a:ext cx="6631223" cy="518021"/>
          </a:xfrm>
          <a:prstGeom prst="roundRect">
            <a:avLst>
              <a:gd name="adj" fmla="val 16667"/>
            </a:avLst>
          </a:prstGeom>
          <a:solidFill>
            <a:srgbClr val="4BB099"/>
          </a:solidFill>
          <a:ln w="9525">
            <a:solidFill>
              <a:srgbClr val="006EC0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 dirty="0">
              <a:latin typeface="HelvNeue for IBM Medium"/>
              <a:ea typeface="MS PGothic" pitchFamily="34" charset="-128"/>
            </a:endParaRPr>
          </a:p>
        </p:txBody>
      </p:sp>
      <p:sp>
        <p:nvSpPr>
          <p:cNvPr id="60" name="Rounded Rectangle 17"/>
          <p:cNvSpPr>
            <a:spLocks noChangeArrowheads="1"/>
          </p:cNvSpPr>
          <p:nvPr/>
        </p:nvSpPr>
        <p:spPr bwMode="auto">
          <a:xfrm>
            <a:off x="1114416" y="2524467"/>
            <a:ext cx="6631223" cy="518021"/>
          </a:xfrm>
          <a:prstGeom prst="roundRect">
            <a:avLst>
              <a:gd name="adj" fmla="val 16667"/>
            </a:avLst>
          </a:prstGeom>
          <a:solidFill>
            <a:srgbClr val="4BB099"/>
          </a:solidFill>
          <a:ln w="9525">
            <a:solidFill>
              <a:srgbClr val="006EC0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>
              <a:latin typeface="HelvNeue for IBM Medium"/>
              <a:ea typeface="MS PGothic" pitchFamily="34" charset="-128"/>
            </a:endParaRPr>
          </a:p>
        </p:txBody>
      </p:sp>
      <p:sp>
        <p:nvSpPr>
          <p:cNvPr id="61" name="Rounded Rectangle 60"/>
          <p:cNvSpPr/>
          <p:nvPr/>
        </p:nvSpPr>
        <p:spPr>
          <a:xfrm>
            <a:off x="3509024" y="1182648"/>
            <a:ext cx="3871283" cy="2815540"/>
          </a:xfrm>
          <a:prstGeom prst="roundRect">
            <a:avLst/>
          </a:prstGeom>
          <a:solidFill>
            <a:srgbClr val="2D86BD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en-US" sz="1600" b="1" dirty="0" smtClean="0">
                <a:solidFill>
                  <a:schemeClr val="bg1"/>
                </a:solidFill>
                <a:latin typeface="HelvNeue for IBM Medium"/>
              </a:rPr>
              <a:t>Enterprise Asset </a:t>
            </a:r>
            <a:r>
              <a:rPr lang="en-US" sz="1600" b="1" dirty="0">
                <a:solidFill>
                  <a:schemeClr val="bg1"/>
                </a:solidFill>
                <a:latin typeface="HelvNeue for IBM Medium"/>
              </a:rPr>
              <a:t>Management</a:t>
            </a:r>
          </a:p>
        </p:txBody>
      </p:sp>
      <p:sp>
        <p:nvSpPr>
          <p:cNvPr id="62" name="Rounded Rectangle 61"/>
          <p:cNvSpPr/>
          <p:nvPr/>
        </p:nvSpPr>
        <p:spPr>
          <a:xfrm>
            <a:off x="1475414" y="1182648"/>
            <a:ext cx="1916950" cy="2815540"/>
          </a:xfrm>
          <a:prstGeom prst="roundRect">
            <a:avLst/>
          </a:prstGeom>
          <a:solidFill>
            <a:srgbClr val="2D86BD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en-US" sz="1200" b="1" dirty="0">
                <a:solidFill>
                  <a:schemeClr val="bg1"/>
                </a:solidFill>
                <a:latin typeface="HelvNeue for IBM Medium"/>
              </a:rPr>
              <a:t>Facility &amp; Real Estate Management</a:t>
            </a:r>
          </a:p>
        </p:txBody>
      </p:sp>
      <p:sp>
        <p:nvSpPr>
          <p:cNvPr id="63" name="TextBox 21"/>
          <p:cNvSpPr txBox="1">
            <a:spLocks noChangeArrowheads="1"/>
          </p:cNvSpPr>
          <p:nvPr/>
        </p:nvSpPr>
        <p:spPr bwMode="auto">
          <a:xfrm rot="5400000">
            <a:off x="7215666" y="1926479"/>
            <a:ext cx="7713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800" b="1" dirty="0">
                <a:latin typeface="HelvNeue for IBM Medium"/>
                <a:cs typeface="Arial" charset="0"/>
              </a:rPr>
              <a:t>ANALYTICS</a:t>
            </a:r>
          </a:p>
        </p:txBody>
      </p:sp>
      <p:sp>
        <p:nvSpPr>
          <p:cNvPr id="64" name="TextBox 22"/>
          <p:cNvSpPr txBox="1">
            <a:spLocks noChangeArrowheads="1"/>
          </p:cNvSpPr>
          <p:nvPr/>
        </p:nvSpPr>
        <p:spPr bwMode="auto">
          <a:xfrm rot="5400000">
            <a:off x="7248407" y="2689121"/>
            <a:ext cx="67518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800" b="1">
                <a:latin typeface="HelvNeue for IBM Medium"/>
                <a:cs typeface="Arial" charset="0"/>
              </a:rPr>
              <a:t>MOBILITY</a:t>
            </a:r>
          </a:p>
        </p:txBody>
      </p:sp>
      <p:pic>
        <p:nvPicPr>
          <p:cNvPr id="65" name="Picture 90" descr="MC900431502.PNG"/>
          <p:cNvPicPr>
            <a:picLocks noChangeAspect="1"/>
          </p:cNvPicPr>
          <p:nvPr/>
        </p:nvPicPr>
        <p:blipFill>
          <a:blip r:embed="rId3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1179" y="1732318"/>
            <a:ext cx="482910" cy="377458"/>
          </a:xfrm>
          <a:prstGeom prst="rect">
            <a:avLst/>
          </a:prstGeom>
        </p:spPr>
      </p:pic>
      <p:pic>
        <p:nvPicPr>
          <p:cNvPr id="66" name="Picture 91" descr="MC900431503.PNG"/>
          <p:cNvPicPr>
            <a:picLocks noChangeAspect="1"/>
          </p:cNvPicPr>
          <p:nvPr/>
        </p:nvPicPr>
        <p:blipFill>
          <a:blip r:embed="rId4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0843" y="3428298"/>
            <a:ext cx="483583" cy="377458"/>
          </a:xfrm>
          <a:prstGeom prst="rect">
            <a:avLst/>
          </a:prstGeom>
        </p:spPr>
      </p:pic>
      <p:pic>
        <p:nvPicPr>
          <p:cNvPr id="67" name="Picture 92" descr="MC900431506.PNG"/>
          <p:cNvPicPr>
            <a:picLocks noChangeAspect="1"/>
          </p:cNvPicPr>
          <p:nvPr/>
        </p:nvPicPr>
        <p:blipFill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1179" y="2862336"/>
            <a:ext cx="482910" cy="377242"/>
          </a:xfrm>
          <a:prstGeom prst="rect">
            <a:avLst/>
          </a:prstGeom>
        </p:spPr>
      </p:pic>
      <p:pic>
        <p:nvPicPr>
          <p:cNvPr id="68" name="Picture 93" descr="MC900431495.PNG"/>
          <p:cNvPicPr>
            <a:picLocks noChangeAspect="1"/>
          </p:cNvPicPr>
          <p:nvPr/>
        </p:nvPicPr>
        <p:blipFill>
          <a:blip r:embed="rId6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0843" y="2291051"/>
            <a:ext cx="483583" cy="377768"/>
          </a:xfrm>
          <a:prstGeom prst="rect">
            <a:avLst/>
          </a:prstGeom>
        </p:spPr>
      </p:pic>
      <p:sp>
        <p:nvSpPr>
          <p:cNvPr id="69" name="TextBox 102"/>
          <p:cNvSpPr txBox="1">
            <a:spLocks noChangeArrowheads="1"/>
          </p:cNvSpPr>
          <p:nvPr/>
        </p:nvSpPr>
        <p:spPr bwMode="auto">
          <a:xfrm>
            <a:off x="1861248" y="1997211"/>
            <a:ext cx="119776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1100" dirty="0">
                <a:solidFill>
                  <a:schemeClr val="bg1"/>
                </a:solidFill>
                <a:latin typeface="HelvNeue for IBM Medium"/>
                <a:cs typeface="Arial" charset="0"/>
              </a:rPr>
              <a:t>Facility &amp; Space</a:t>
            </a:r>
          </a:p>
        </p:txBody>
      </p:sp>
      <p:sp>
        <p:nvSpPr>
          <p:cNvPr id="70" name="TextBox 103"/>
          <p:cNvSpPr txBox="1">
            <a:spLocks noChangeArrowheads="1"/>
          </p:cNvSpPr>
          <p:nvPr/>
        </p:nvSpPr>
        <p:spPr bwMode="auto">
          <a:xfrm>
            <a:off x="2003978" y="2589007"/>
            <a:ext cx="914033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1100" dirty="0">
                <a:solidFill>
                  <a:schemeClr val="bg1"/>
                </a:solidFill>
                <a:latin typeface="HelvNeue for IBM Medium"/>
                <a:cs typeface="Arial" charset="0"/>
              </a:rPr>
              <a:t>Real Estate</a:t>
            </a:r>
          </a:p>
        </p:txBody>
      </p:sp>
      <p:sp>
        <p:nvSpPr>
          <p:cNvPr id="71" name="TextBox 104"/>
          <p:cNvSpPr txBox="1">
            <a:spLocks noChangeArrowheads="1"/>
          </p:cNvSpPr>
          <p:nvPr/>
        </p:nvSpPr>
        <p:spPr bwMode="auto">
          <a:xfrm>
            <a:off x="1625744" y="3129977"/>
            <a:ext cx="1636987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1100" dirty="0">
                <a:solidFill>
                  <a:schemeClr val="bg1"/>
                </a:solidFill>
                <a:latin typeface="HelvNeue for IBM Medium"/>
                <a:cs typeface="Arial" charset="0"/>
              </a:rPr>
              <a:t>Energy &amp; Sustainability</a:t>
            </a:r>
          </a:p>
        </p:txBody>
      </p:sp>
      <p:sp>
        <p:nvSpPr>
          <p:cNvPr id="72" name="TextBox 105"/>
          <p:cNvSpPr txBox="1">
            <a:spLocks noChangeArrowheads="1"/>
          </p:cNvSpPr>
          <p:nvPr/>
        </p:nvSpPr>
        <p:spPr bwMode="auto">
          <a:xfrm>
            <a:off x="1862988" y="3678455"/>
            <a:ext cx="1173719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1100">
                <a:solidFill>
                  <a:schemeClr val="bg1"/>
                </a:solidFill>
                <a:latin typeface="HelvNeue for IBM Medium"/>
                <a:cs typeface="Arial" charset="0"/>
              </a:rPr>
              <a:t>Capital Projects</a:t>
            </a:r>
          </a:p>
        </p:txBody>
      </p:sp>
      <p:pic>
        <p:nvPicPr>
          <p:cNvPr id="73" name="Picture 72" descr="MC900431522.PNG"/>
          <p:cNvPicPr>
            <a:picLocks noChangeAspect="1"/>
          </p:cNvPicPr>
          <p:nvPr/>
        </p:nvPicPr>
        <p:blipFill>
          <a:blip r:embed="rId7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3790" y="1705377"/>
            <a:ext cx="486290" cy="379882"/>
          </a:xfrm>
          <a:prstGeom prst="rect">
            <a:avLst/>
          </a:prstGeom>
        </p:spPr>
      </p:pic>
      <p:pic>
        <p:nvPicPr>
          <p:cNvPr id="74" name="Picture 73" descr="MC900431509.PNG"/>
          <p:cNvPicPr>
            <a:picLocks noChangeAspect="1"/>
          </p:cNvPicPr>
          <p:nvPr/>
        </p:nvPicPr>
        <p:blipFill>
          <a:blip r:embed="rId8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3790" y="2837295"/>
            <a:ext cx="486290" cy="379882"/>
          </a:xfrm>
          <a:prstGeom prst="rect">
            <a:avLst/>
          </a:prstGeom>
        </p:spPr>
      </p:pic>
      <p:pic>
        <p:nvPicPr>
          <p:cNvPr id="75" name="Picture 74" descr="MC900431498.PNG"/>
          <p:cNvPicPr>
            <a:picLocks noChangeAspect="1"/>
          </p:cNvPicPr>
          <p:nvPr/>
        </p:nvPicPr>
        <p:blipFill>
          <a:blip r:embed="rId9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3790" y="2283274"/>
            <a:ext cx="486290" cy="379882"/>
          </a:xfrm>
          <a:prstGeom prst="rect">
            <a:avLst/>
          </a:prstGeom>
        </p:spPr>
      </p:pic>
      <p:pic>
        <p:nvPicPr>
          <p:cNvPr id="76" name="Picture 75" descr="MC900431515.PNG"/>
          <p:cNvPicPr>
            <a:picLocks noChangeAspect="1"/>
          </p:cNvPicPr>
          <p:nvPr/>
        </p:nvPicPr>
        <p:blipFill>
          <a:blip r:embed="rId10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3790" y="3398516"/>
            <a:ext cx="486290" cy="379882"/>
          </a:xfrm>
          <a:prstGeom prst="rect">
            <a:avLst/>
          </a:prstGeom>
        </p:spPr>
      </p:pic>
      <p:sp>
        <p:nvSpPr>
          <p:cNvPr id="77" name="TextBox 106"/>
          <p:cNvSpPr txBox="1">
            <a:spLocks noChangeArrowheads="1"/>
          </p:cNvSpPr>
          <p:nvPr/>
        </p:nvSpPr>
        <p:spPr bwMode="auto">
          <a:xfrm>
            <a:off x="3725461" y="1966915"/>
            <a:ext cx="137409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1100">
                <a:solidFill>
                  <a:schemeClr val="bg1"/>
                </a:solidFill>
                <a:latin typeface="HelvNeue for IBM Medium"/>
                <a:cs typeface="Arial" charset="0"/>
              </a:rPr>
              <a:t>Work Management</a:t>
            </a:r>
          </a:p>
        </p:txBody>
      </p:sp>
      <p:sp>
        <p:nvSpPr>
          <p:cNvPr id="78" name="TextBox 107"/>
          <p:cNvSpPr txBox="1">
            <a:spLocks noChangeArrowheads="1"/>
          </p:cNvSpPr>
          <p:nvPr/>
        </p:nvSpPr>
        <p:spPr bwMode="auto">
          <a:xfrm>
            <a:off x="3931698" y="2547920"/>
            <a:ext cx="1026243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1100">
                <a:solidFill>
                  <a:schemeClr val="bg1"/>
                </a:solidFill>
                <a:latin typeface="HelvNeue for IBM Medium"/>
                <a:cs typeface="Arial" charset="0"/>
              </a:rPr>
              <a:t>Supply Chain</a:t>
            </a:r>
          </a:p>
        </p:txBody>
      </p:sp>
      <p:sp>
        <p:nvSpPr>
          <p:cNvPr id="80" name="TextBox 108"/>
          <p:cNvSpPr txBox="1">
            <a:spLocks noChangeArrowheads="1"/>
          </p:cNvSpPr>
          <p:nvPr/>
        </p:nvSpPr>
        <p:spPr bwMode="auto">
          <a:xfrm>
            <a:off x="3840877" y="3108076"/>
            <a:ext cx="116410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1100">
                <a:solidFill>
                  <a:schemeClr val="bg1"/>
                </a:solidFill>
                <a:latin typeface="HelvNeue for IBM Medium"/>
                <a:cs typeface="Arial" charset="0"/>
              </a:rPr>
              <a:t>Health &amp; Safety</a:t>
            </a:r>
          </a:p>
        </p:txBody>
      </p:sp>
      <p:sp>
        <p:nvSpPr>
          <p:cNvPr id="81" name="TextBox 109"/>
          <p:cNvSpPr txBox="1">
            <a:spLocks noChangeArrowheads="1"/>
          </p:cNvSpPr>
          <p:nvPr/>
        </p:nvSpPr>
        <p:spPr bwMode="auto">
          <a:xfrm>
            <a:off x="3795993" y="3673341"/>
            <a:ext cx="129073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1100">
                <a:solidFill>
                  <a:schemeClr val="bg1"/>
                </a:solidFill>
                <a:latin typeface="HelvNeue for IBM Medium"/>
                <a:cs typeface="Arial" charset="0"/>
              </a:rPr>
              <a:t>Service Providers</a:t>
            </a:r>
          </a:p>
        </p:txBody>
      </p:sp>
      <p:pic>
        <p:nvPicPr>
          <p:cNvPr id="82" name="Picture 81" descr="MC900431505.PNG"/>
          <p:cNvPicPr>
            <a:picLocks noChangeAspect="1"/>
          </p:cNvPicPr>
          <p:nvPr/>
        </p:nvPicPr>
        <p:blipFill>
          <a:blip r:embed="rId11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8576" y="2276226"/>
            <a:ext cx="486290" cy="379882"/>
          </a:xfrm>
          <a:prstGeom prst="rect">
            <a:avLst/>
          </a:prstGeom>
        </p:spPr>
      </p:pic>
      <p:pic>
        <p:nvPicPr>
          <p:cNvPr id="83" name="Picture 82" descr="MC900431494.PNG"/>
          <p:cNvPicPr>
            <a:picLocks noChangeAspect="1"/>
          </p:cNvPicPr>
          <p:nvPr/>
        </p:nvPicPr>
        <p:blipFill>
          <a:blip r:embed="rId12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8576" y="1703075"/>
            <a:ext cx="486290" cy="379882"/>
          </a:xfrm>
          <a:prstGeom prst="rect">
            <a:avLst/>
          </a:prstGeom>
        </p:spPr>
      </p:pic>
      <p:pic>
        <p:nvPicPr>
          <p:cNvPr id="84" name="Picture 83" descr="MC900431493.PNG"/>
          <p:cNvPicPr>
            <a:picLocks noChangeAspect="1"/>
          </p:cNvPicPr>
          <p:nvPr/>
        </p:nvPicPr>
        <p:blipFill>
          <a:blip r:embed="rId13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8576" y="3398516"/>
            <a:ext cx="486290" cy="379882"/>
          </a:xfrm>
          <a:prstGeom prst="rect">
            <a:avLst/>
          </a:prstGeom>
        </p:spPr>
      </p:pic>
      <p:pic>
        <p:nvPicPr>
          <p:cNvPr id="85" name="Picture 84" descr="MC900431497.PNG"/>
          <p:cNvPicPr>
            <a:picLocks noChangeAspect="1"/>
          </p:cNvPicPr>
          <p:nvPr/>
        </p:nvPicPr>
        <p:blipFill>
          <a:blip r:embed="rId14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8576" y="2837295"/>
            <a:ext cx="486290" cy="379882"/>
          </a:xfrm>
          <a:prstGeom prst="rect">
            <a:avLst/>
          </a:prstGeom>
        </p:spPr>
      </p:pic>
      <p:sp>
        <p:nvSpPr>
          <p:cNvPr id="86" name="TextBox 110"/>
          <p:cNvSpPr txBox="1">
            <a:spLocks noChangeArrowheads="1"/>
          </p:cNvSpPr>
          <p:nvPr/>
        </p:nvSpPr>
        <p:spPr bwMode="auto">
          <a:xfrm>
            <a:off x="5760347" y="1983703"/>
            <a:ext cx="144623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1100">
                <a:solidFill>
                  <a:schemeClr val="bg1"/>
                </a:solidFill>
                <a:latin typeface="HelvNeue for IBM Medium"/>
                <a:cs typeface="Arial" charset="0"/>
              </a:rPr>
              <a:t>Process Automation</a:t>
            </a:r>
          </a:p>
        </p:txBody>
      </p:sp>
      <p:sp>
        <p:nvSpPr>
          <p:cNvPr id="87" name="TextBox 111"/>
          <p:cNvSpPr txBox="1">
            <a:spLocks noChangeArrowheads="1"/>
          </p:cNvSpPr>
          <p:nvPr/>
        </p:nvSpPr>
        <p:spPr bwMode="auto">
          <a:xfrm>
            <a:off x="5780247" y="2568305"/>
            <a:ext cx="139814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1100">
                <a:solidFill>
                  <a:schemeClr val="bg1"/>
                </a:solidFill>
                <a:latin typeface="HelvNeue for IBM Medium"/>
                <a:cs typeface="Arial" charset="0"/>
              </a:rPr>
              <a:t>Asset Management</a:t>
            </a:r>
          </a:p>
        </p:txBody>
      </p:sp>
      <p:sp>
        <p:nvSpPr>
          <p:cNvPr id="88" name="TextBox 112"/>
          <p:cNvSpPr txBox="1">
            <a:spLocks noChangeArrowheads="1"/>
          </p:cNvSpPr>
          <p:nvPr/>
        </p:nvSpPr>
        <p:spPr bwMode="auto">
          <a:xfrm>
            <a:off x="5504531" y="3112872"/>
            <a:ext cx="192392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1100">
                <a:solidFill>
                  <a:schemeClr val="bg1"/>
                </a:solidFill>
                <a:latin typeface="HelvNeue for IBM Medium"/>
                <a:cs typeface="Arial" charset="0"/>
              </a:rPr>
              <a:t>Configuration  Management</a:t>
            </a:r>
          </a:p>
        </p:txBody>
      </p:sp>
      <p:sp>
        <p:nvSpPr>
          <p:cNvPr id="89" name="TextBox 113"/>
          <p:cNvSpPr txBox="1">
            <a:spLocks noChangeArrowheads="1"/>
          </p:cNvSpPr>
          <p:nvPr/>
        </p:nvSpPr>
        <p:spPr bwMode="auto">
          <a:xfrm>
            <a:off x="5825131" y="3674540"/>
            <a:ext cx="130516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1100">
                <a:solidFill>
                  <a:schemeClr val="bg1"/>
                </a:solidFill>
                <a:latin typeface="HelvNeue for IBM Medium"/>
                <a:cs typeface="Arial" charset="0"/>
              </a:rPr>
              <a:t>Industry Solutions</a:t>
            </a:r>
          </a:p>
        </p:txBody>
      </p:sp>
      <p:sp>
        <p:nvSpPr>
          <p:cNvPr id="96" name="Rounded Rectangle 95"/>
          <p:cNvSpPr>
            <a:spLocks noChangeArrowheads="1"/>
          </p:cNvSpPr>
          <p:nvPr/>
        </p:nvSpPr>
        <p:spPr bwMode="auto">
          <a:xfrm>
            <a:off x="1531938" y="3952306"/>
            <a:ext cx="5820740" cy="229829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BDBDBD"/>
              </a:gs>
              <a:gs pos="80000">
                <a:srgbClr val="F7F7F7"/>
              </a:gs>
              <a:gs pos="100000">
                <a:srgbClr val="F8F8F8"/>
              </a:gs>
            </a:gsLst>
            <a:lin ang="16200000"/>
          </a:gradFill>
          <a:ln w="9525">
            <a:solidFill>
              <a:srgbClr val="F9F9F9"/>
            </a:solidFill>
            <a:round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sz="1200" dirty="0">
                <a:latin typeface="HelvNeue for IBM Medium"/>
              </a:rPr>
              <a:t>Common Platform Services</a:t>
            </a:r>
          </a:p>
        </p:txBody>
      </p:sp>
      <p:sp>
        <p:nvSpPr>
          <p:cNvPr id="97" name="Rounded Rectangle 96"/>
          <p:cNvSpPr>
            <a:spLocks noChangeArrowheads="1"/>
          </p:cNvSpPr>
          <p:nvPr/>
        </p:nvSpPr>
        <p:spPr bwMode="auto">
          <a:xfrm>
            <a:off x="1539613" y="4275499"/>
            <a:ext cx="5820740" cy="229829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BDBDBD"/>
              </a:gs>
              <a:gs pos="80000">
                <a:srgbClr val="F7F7F7"/>
              </a:gs>
              <a:gs pos="100000">
                <a:srgbClr val="F8F8F8"/>
              </a:gs>
            </a:gsLst>
            <a:lin ang="16200000"/>
          </a:gradFill>
          <a:ln w="9525">
            <a:solidFill>
              <a:srgbClr val="F9F9F9"/>
            </a:solidFill>
            <a:round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sz="1200" dirty="0">
                <a:latin typeface="HelvNeue for IBM Medium"/>
              </a:rPr>
              <a:t>Asset, Device, System Infrastructure Interaction</a:t>
            </a:r>
          </a:p>
        </p:txBody>
      </p:sp>
      <p:sp>
        <p:nvSpPr>
          <p:cNvPr id="98" name="TextBox 22"/>
          <p:cNvSpPr txBox="1">
            <a:spLocks noChangeArrowheads="1"/>
          </p:cNvSpPr>
          <p:nvPr/>
        </p:nvSpPr>
        <p:spPr bwMode="auto">
          <a:xfrm rot="5400000">
            <a:off x="7258515" y="3232523"/>
            <a:ext cx="59663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800" b="1">
                <a:latin typeface="HelvNeue for IBM Medium"/>
                <a:cs typeface="Arial" charset="0"/>
              </a:rPr>
              <a:t>SUPPLY</a:t>
            </a:r>
          </a:p>
          <a:p>
            <a:pPr eaLnBrk="1" hangingPunct="1"/>
            <a:r>
              <a:rPr lang="en-US" sz="800" b="1">
                <a:latin typeface="HelvNeue for IBM Medium"/>
                <a:cs typeface="Arial" charset="0"/>
              </a:rPr>
              <a:t> CHAIN</a:t>
            </a:r>
          </a:p>
        </p:txBody>
      </p:sp>
    </p:spTree>
    <p:extLst>
      <p:ext uri="{BB962C8B-B14F-4D97-AF65-F5344CB8AC3E}">
        <p14:creationId xmlns:p14="http://schemas.microsoft.com/office/powerpoint/2010/main" val="39614814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Picture 5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529" y="1000237"/>
            <a:ext cx="301532" cy="334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07" name="Picture 5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899" y="984897"/>
            <a:ext cx="282488" cy="323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08" name="Picture 5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5721" y="981723"/>
            <a:ext cx="295184" cy="330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109" name="TextBox 56"/>
          <p:cNvSpPr txBox="1">
            <a:spLocks noChangeArrowheads="1"/>
          </p:cNvSpPr>
          <p:nvPr/>
        </p:nvSpPr>
        <p:spPr bwMode="auto">
          <a:xfrm>
            <a:off x="1228170" y="1036738"/>
            <a:ext cx="1077207" cy="261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1pPr>
            <a:lvl2pPr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2pPr>
            <a:lvl3pPr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3pPr>
            <a:lvl4pPr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4pPr>
            <a:lvl5pPr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5pPr>
            <a:lvl6pPr marL="25146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6pPr>
            <a:lvl7pPr marL="29718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7pPr>
            <a:lvl8pPr marL="34290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8pPr>
            <a:lvl9pPr marL="38862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1100" b="1" dirty="0">
                <a:solidFill>
                  <a:srgbClr val="5799F2"/>
                </a:solidFill>
                <a:latin typeface="Helvetica Neue Light" charset="0"/>
                <a:sym typeface="Gill Sans" charset="0"/>
              </a:rPr>
              <a:t>Instrumented</a:t>
            </a:r>
          </a:p>
        </p:txBody>
      </p:sp>
      <p:sp>
        <p:nvSpPr>
          <p:cNvPr id="47110" name="TextBox 57"/>
          <p:cNvSpPr txBox="1">
            <a:spLocks noChangeArrowheads="1"/>
          </p:cNvSpPr>
          <p:nvPr/>
        </p:nvSpPr>
        <p:spPr bwMode="auto">
          <a:xfrm>
            <a:off x="3740407" y="1015050"/>
            <a:ext cx="1195792" cy="261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1pPr>
            <a:lvl2pPr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2pPr>
            <a:lvl3pPr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3pPr>
            <a:lvl4pPr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4pPr>
            <a:lvl5pPr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5pPr>
            <a:lvl6pPr marL="25146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6pPr>
            <a:lvl7pPr marL="29718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7pPr>
            <a:lvl8pPr marL="34290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8pPr>
            <a:lvl9pPr marL="38862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1100" b="1" dirty="0">
                <a:solidFill>
                  <a:srgbClr val="5799F2"/>
                </a:solidFill>
                <a:latin typeface="Helvetica Neue Light" charset="0"/>
                <a:sym typeface="Gill Sans" charset="0"/>
              </a:rPr>
              <a:t>Interconnected</a:t>
            </a:r>
          </a:p>
        </p:txBody>
      </p:sp>
      <p:sp>
        <p:nvSpPr>
          <p:cNvPr id="47111" name="TextBox 58"/>
          <p:cNvSpPr txBox="1">
            <a:spLocks noChangeArrowheads="1"/>
          </p:cNvSpPr>
          <p:nvPr/>
        </p:nvSpPr>
        <p:spPr bwMode="auto">
          <a:xfrm>
            <a:off x="6248400" y="1015050"/>
            <a:ext cx="848047" cy="261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1pPr>
            <a:lvl2pPr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2pPr>
            <a:lvl3pPr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3pPr>
            <a:lvl4pPr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4pPr>
            <a:lvl5pPr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5pPr>
            <a:lvl6pPr marL="25146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6pPr>
            <a:lvl7pPr marL="29718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7pPr>
            <a:lvl8pPr marL="34290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8pPr>
            <a:lvl9pPr marL="38862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1100" b="1" dirty="0">
                <a:solidFill>
                  <a:srgbClr val="5799F2"/>
                </a:solidFill>
                <a:latin typeface="Helvetica Neue Light" charset="0"/>
                <a:sym typeface="Gill Sans" charset="0"/>
              </a:rPr>
              <a:t>Intelligent</a:t>
            </a:r>
          </a:p>
        </p:txBody>
      </p:sp>
      <p:sp>
        <p:nvSpPr>
          <p:cNvPr id="47112" name="TextBox 59"/>
          <p:cNvSpPr txBox="1">
            <a:spLocks noChangeArrowheads="1"/>
          </p:cNvSpPr>
          <p:nvPr/>
        </p:nvSpPr>
        <p:spPr bwMode="auto">
          <a:xfrm>
            <a:off x="723502" y="1344619"/>
            <a:ext cx="260039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95250" indent="-95250"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1pPr>
            <a:lvl2pPr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2pPr>
            <a:lvl3pPr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3pPr>
            <a:lvl4pPr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4pPr>
            <a:lvl5pPr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5pPr>
            <a:lvl6pPr marL="25146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6pPr>
            <a:lvl7pPr marL="29718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7pPr>
            <a:lvl8pPr marL="34290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8pPr>
            <a:lvl9pPr marL="38862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9pPr>
          </a:lstStyle>
          <a:p>
            <a:pPr marL="171450" indent="-171450" eaLnBrk="1" hangingPunct="1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tx1"/>
                </a:solidFill>
                <a:latin typeface="Helvetica Neue Light" charset="0"/>
                <a:sym typeface="Gill Sans" charset="0"/>
              </a:rPr>
              <a:t>Ever increasing range of sensors</a:t>
            </a:r>
          </a:p>
          <a:p>
            <a:pPr marL="171450" indent="-171450" eaLnBrk="1" hangingPunct="1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tx1"/>
                </a:solidFill>
                <a:latin typeface="Helvetica Neue Light" charset="0"/>
                <a:sym typeface="Gill Sans" charset="0"/>
              </a:rPr>
              <a:t>Volume, velocity, variety</a:t>
            </a:r>
          </a:p>
          <a:p>
            <a:pPr marL="171450" indent="-171450" eaLnBrk="1" hangingPunct="1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tx1"/>
                </a:solidFill>
                <a:latin typeface="Helvetica Neue Light" charset="0"/>
                <a:sym typeface="Gill Sans" charset="0"/>
              </a:rPr>
              <a:t>Event driven information</a:t>
            </a:r>
          </a:p>
        </p:txBody>
      </p:sp>
      <p:sp>
        <p:nvSpPr>
          <p:cNvPr id="47113" name="TextBox 60"/>
          <p:cNvSpPr txBox="1">
            <a:spLocks noChangeArrowheads="1"/>
          </p:cNvSpPr>
          <p:nvPr/>
        </p:nvSpPr>
        <p:spPr bwMode="auto">
          <a:xfrm>
            <a:off x="3467441" y="1322931"/>
            <a:ext cx="219964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95250" indent="-95250"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1pPr>
            <a:lvl2pPr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2pPr>
            <a:lvl3pPr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3pPr>
            <a:lvl4pPr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4pPr>
            <a:lvl5pPr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5pPr>
            <a:lvl6pPr marL="25146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6pPr>
            <a:lvl7pPr marL="29718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7pPr>
            <a:lvl8pPr marL="34290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8pPr>
            <a:lvl9pPr marL="38862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9pPr>
          </a:lstStyle>
          <a:p>
            <a:pPr marL="171450" indent="-171450" eaLnBrk="1" hangingPunct="1">
              <a:buFont typeface="Wingdings" panose="05000000000000000000" pitchFamily="2" charset="2"/>
              <a:buChar char="ü"/>
            </a:pPr>
            <a:r>
              <a:rPr lang="en-US" sz="1200">
                <a:solidFill>
                  <a:schemeClr val="tx1"/>
                </a:solidFill>
                <a:latin typeface="Helvetica Neue Light" charset="0"/>
                <a:sym typeface="Gill Sans" charset="0"/>
              </a:rPr>
              <a:t>Agility and Mobility</a:t>
            </a:r>
          </a:p>
          <a:p>
            <a:pPr marL="171450" indent="-171450" eaLnBrk="1" hangingPunct="1">
              <a:buFont typeface="Wingdings" panose="05000000000000000000" pitchFamily="2" charset="2"/>
              <a:buChar char="ü"/>
            </a:pPr>
            <a:r>
              <a:rPr lang="en-US" sz="1200">
                <a:solidFill>
                  <a:schemeClr val="tx1"/>
                </a:solidFill>
                <a:latin typeface="Helvetica Neue Light" charset="0"/>
                <a:sym typeface="Gill Sans" charset="0"/>
              </a:rPr>
              <a:t>Highly Connected Systems</a:t>
            </a:r>
          </a:p>
          <a:p>
            <a:pPr marL="171450" indent="-171450" eaLnBrk="1" hangingPunct="1">
              <a:buFont typeface="Wingdings" panose="05000000000000000000" pitchFamily="2" charset="2"/>
              <a:buChar char="ü"/>
            </a:pPr>
            <a:r>
              <a:rPr lang="en-US" sz="1200">
                <a:solidFill>
                  <a:schemeClr val="tx1"/>
                </a:solidFill>
                <a:latin typeface="Helvetica Neue Light" charset="0"/>
                <a:sym typeface="Gill Sans" charset="0"/>
              </a:rPr>
              <a:t>Cross Collaboration </a:t>
            </a:r>
          </a:p>
        </p:txBody>
      </p:sp>
      <p:sp>
        <p:nvSpPr>
          <p:cNvPr id="47114" name="TextBox 61"/>
          <p:cNvSpPr txBox="1">
            <a:spLocks noChangeArrowheads="1"/>
          </p:cNvSpPr>
          <p:nvPr/>
        </p:nvSpPr>
        <p:spPr bwMode="auto">
          <a:xfrm>
            <a:off x="5695603" y="1322930"/>
            <a:ext cx="275495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95250" indent="-95250"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1pPr>
            <a:lvl2pPr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2pPr>
            <a:lvl3pPr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3pPr>
            <a:lvl4pPr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4pPr>
            <a:lvl5pPr defTabSz="514350"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5pPr>
            <a:lvl6pPr marL="25146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6pPr>
            <a:lvl7pPr marL="29718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7pPr>
            <a:lvl8pPr marL="34290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8pPr>
            <a:lvl9pPr marL="38862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9pPr>
          </a:lstStyle>
          <a:p>
            <a:pPr marL="171450" indent="-171450" eaLnBrk="1" hangingPunct="1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tx1"/>
                </a:solidFill>
                <a:latin typeface="Helvetica Neue Light" charset="0"/>
                <a:sym typeface="Gill Sans" charset="0"/>
              </a:rPr>
              <a:t>From data to actionable intelligence </a:t>
            </a:r>
          </a:p>
          <a:p>
            <a:pPr marL="171450" indent="-171450" eaLnBrk="1" hangingPunct="1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tx1"/>
                </a:solidFill>
                <a:latin typeface="Helvetica Neue Light" charset="0"/>
                <a:sym typeface="Gill Sans" charset="0"/>
              </a:rPr>
              <a:t>From reactive to proactive</a:t>
            </a:r>
          </a:p>
          <a:p>
            <a:pPr marL="171450" indent="-171450" eaLnBrk="1" hangingPunct="1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tx1"/>
                </a:solidFill>
                <a:latin typeface="Helvetica Neue Light" charset="0"/>
                <a:sym typeface="Gill Sans" charset="0"/>
              </a:rPr>
              <a:t>Whole lifecycle system optimization</a:t>
            </a:r>
          </a:p>
        </p:txBody>
      </p:sp>
      <p:grpSp>
        <p:nvGrpSpPr>
          <p:cNvPr id="47115" name="Group 2"/>
          <p:cNvGrpSpPr>
            <a:grpSpLocks/>
          </p:cNvGrpSpPr>
          <p:nvPr/>
        </p:nvGrpSpPr>
        <p:grpSpPr bwMode="auto">
          <a:xfrm>
            <a:off x="1286890" y="2113701"/>
            <a:ext cx="6079838" cy="2286575"/>
            <a:chOff x="1594017" y="2094338"/>
            <a:chExt cx="5593620" cy="2455329"/>
          </a:xfrm>
        </p:grpSpPr>
        <p:cxnSp>
          <p:nvCxnSpPr>
            <p:cNvPr id="16" name="Straight Arrow Connector 15"/>
            <p:cNvCxnSpPr>
              <a:cxnSpLocks noChangeShapeType="1"/>
              <a:stCxn id="47122" idx="3"/>
            </p:cNvCxnSpPr>
            <p:nvPr/>
          </p:nvCxnSpPr>
          <p:spPr bwMode="auto">
            <a:xfrm flipV="1">
              <a:off x="5650156" y="2205822"/>
              <a:ext cx="1260061" cy="1377"/>
            </a:xfrm>
            <a:prstGeom prst="straightConnector1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 type="arrow" w="med" len="med"/>
            </a:ln>
            <a:effectLst>
              <a:outerShdw blurRad="40000" dist="20000" dir="5400000" rotWithShape="0">
                <a:srgbClr val="00000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Arrow Connector 16"/>
            <p:cNvCxnSpPr>
              <a:cxnSpLocks noChangeShapeType="1"/>
              <a:endCxn id="47122" idx="1"/>
            </p:cNvCxnSpPr>
            <p:nvPr/>
          </p:nvCxnSpPr>
          <p:spPr bwMode="auto">
            <a:xfrm>
              <a:off x="1848072" y="2203069"/>
              <a:ext cx="1226479" cy="4129"/>
            </a:xfrm>
            <a:prstGeom prst="straightConnector1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>
              <a:outerShdw blurRad="40000" dist="20000" dir="5400000" rotWithShape="0">
                <a:srgbClr val="00000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122" name="TextBox 6"/>
            <p:cNvSpPr txBox="1">
              <a:spLocks noChangeArrowheads="1"/>
            </p:cNvSpPr>
            <p:nvPr/>
          </p:nvSpPr>
          <p:spPr bwMode="auto">
            <a:xfrm>
              <a:off x="3074162" y="2094338"/>
              <a:ext cx="2575444" cy="2268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1pPr>
              <a:lvl2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2pPr>
              <a:lvl3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3pPr>
              <a:lvl4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4pPr>
              <a:lvl5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5pPr>
              <a:lvl6pPr marL="25146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6pPr>
              <a:lvl7pPr marL="29718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7pPr>
              <a:lvl8pPr marL="34290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8pPr>
              <a:lvl9pPr marL="38862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/>
              <a:r>
                <a:rPr lang="en-US" sz="1100">
                  <a:latin typeface="Helvetica Neue Light" charset="0"/>
                </a:rPr>
                <a:t>Asset Management and Facilities Maturity</a:t>
              </a:r>
              <a:endParaRPr lang="en-US" sz="1100" baseline="30000">
                <a:latin typeface="Helvetica Neue Light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861214" y="2406769"/>
              <a:ext cx="852695" cy="22709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514196">
                <a:defRPr/>
              </a:pPr>
              <a:r>
                <a:rPr lang="en-US" sz="1000" dirty="0">
                  <a:solidFill>
                    <a:srgbClr val="FFFFFF"/>
                  </a:solidFill>
                  <a:latin typeface="Helvetica Neue Light"/>
                </a:rPr>
                <a:t>Absent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2909561" y="2406769"/>
              <a:ext cx="852695" cy="22709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514196">
                <a:defRPr/>
              </a:pPr>
              <a:r>
                <a:rPr lang="en-US" sz="1000" dirty="0">
                  <a:solidFill>
                    <a:srgbClr val="FFFFFF"/>
                  </a:solidFill>
                  <a:latin typeface="Helvetica Neue Light"/>
                </a:rPr>
                <a:t>Cognizant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3959368" y="2406769"/>
              <a:ext cx="851235" cy="227099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514196">
                <a:defRPr/>
              </a:pPr>
              <a:r>
                <a:rPr lang="en-US" sz="1000" dirty="0">
                  <a:solidFill>
                    <a:srgbClr val="FFFFFF"/>
                  </a:solidFill>
                  <a:latin typeface="Helvetica Neue Light"/>
                </a:rPr>
                <a:t>Evolving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5009175" y="2406769"/>
              <a:ext cx="851234" cy="22709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514196">
                <a:defRPr/>
              </a:pPr>
              <a:r>
                <a:rPr lang="en-US" sz="1000" dirty="0">
                  <a:solidFill>
                    <a:srgbClr val="FFFFFF"/>
                  </a:solidFill>
                  <a:latin typeface="Helvetica Neue Light"/>
                </a:rPr>
                <a:t>Proficient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058982" y="2406769"/>
              <a:ext cx="851235" cy="227099"/>
            </a:xfrm>
            <a:prstGeom prst="rect">
              <a:avLst/>
            </a:prstGeom>
            <a:solidFill>
              <a:srgbClr val="4BB09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514196">
                <a:defRPr/>
              </a:pPr>
              <a:r>
                <a:rPr lang="en-US" sz="1000" dirty="0">
                  <a:solidFill>
                    <a:srgbClr val="FFFFFF"/>
                  </a:solidFill>
                  <a:latin typeface="Helvetica Neue Light"/>
                </a:rPr>
                <a:t>Advanced</a:t>
              </a:r>
            </a:p>
          </p:txBody>
        </p:sp>
        <p:pic>
          <p:nvPicPr>
            <p:cNvPr id="47128" name="Picture 13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13409" y="3258991"/>
              <a:ext cx="322110" cy="4552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25" name="Straight Arrow Connector 24"/>
            <p:cNvCxnSpPr>
              <a:cxnSpLocks noChangeShapeType="1"/>
            </p:cNvCxnSpPr>
            <p:nvPr/>
          </p:nvCxnSpPr>
          <p:spPr bwMode="auto">
            <a:xfrm flipV="1">
              <a:off x="4701095" y="4337792"/>
              <a:ext cx="2216422" cy="0"/>
            </a:xfrm>
            <a:prstGeom prst="straightConnector1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 type="arrow" w="med" len="med"/>
            </a:ln>
            <a:effectLst>
              <a:outerShdw blurRad="40000" dist="20000" dir="5400000" rotWithShape="0">
                <a:srgbClr val="00000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Arrow Connector 25"/>
            <p:cNvCxnSpPr>
              <a:cxnSpLocks noChangeShapeType="1"/>
            </p:cNvCxnSpPr>
            <p:nvPr/>
          </p:nvCxnSpPr>
          <p:spPr bwMode="auto">
            <a:xfrm flipV="1">
              <a:off x="1877274" y="4350179"/>
              <a:ext cx="2197441" cy="4129"/>
            </a:xfrm>
            <a:prstGeom prst="straightConnector1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>
              <a:outerShdw blurRad="40000" dist="20000" dir="5400000" rotWithShape="0">
                <a:srgbClr val="00000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131" name="TextBox 16"/>
            <p:cNvSpPr txBox="1">
              <a:spLocks noChangeArrowheads="1"/>
            </p:cNvSpPr>
            <p:nvPr/>
          </p:nvSpPr>
          <p:spPr bwMode="auto">
            <a:xfrm>
              <a:off x="2215007" y="4362878"/>
              <a:ext cx="1337532" cy="1867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1pPr>
              <a:lvl2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2pPr>
              <a:lvl3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3pPr>
              <a:lvl4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4pPr>
              <a:lvl5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5pPr>
              <a:lvl6pPr marL="25146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6pPr>
              <a:lvl7pPr marL="29718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7pPr>
              <a:lvl8pPr marL="34290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8pPr>
              <a:lvl9pPr marL="38862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/>
              <a:r>
                <a:rPr lang="en-US" sz="800" dirty="0">
                  <a:latin typeface="Helvetica Neue Light" charset="0"/>
                </a:rPr>
                <a:t>Maintenance is an Expense</a:t>
              </a:r>
            </a:p>
          </p:txBody>
        </p:sp>
        <p:sp>
          <p:nvSpPr>
            <p:cNvPr id="47132" name="TextBox 17"/>
            <p:cNvSpPr txBox="1">
              <a:spLocks noChangeArrowheads="1"/>
            </p:cNvSpPr>
            <p:nvPr/>
          </p:nvSpPr>
          <p:spPr bwMode="auto">
            <a:xfrm>
              <a:off x="5264497" y="4325712"/>
              <a:ext cx="1432049" cy="1872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1pPr>
              <a:lvl2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2pPr>
              <a:lvl3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3pPr>
              <a:lvl4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4pPr>
              <a:lvl5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5pPr>
              <a:lvl6pPr marL="25146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6pPr>
              <a:lvl7pPr marL="29718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7pPr>
              <a:lvl8pPr marL="34290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8pPr>
              <a:lvl9pPr marL="38862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/>
              <a:r>
                <a:rPr lang="en-US" sz="800">
                  <a:latin typeface="Helvetica Neue Light" charset="0"/>
                </a:rPr>
                <a:t>Maintenance is an Investment</a:t>
              </a:r>
            </a:p>
          </p:txBody>
        </p:sp>
        <p:sp>
          <p:nvSpPr>
            <p:cNvPr id="29" name="Down Arrow 28"/>
            <p:cNvSpPr/>
            <p:nvPr/>
          </p:nvSpPr>
          <p:spPr>
            <a:xfrm>
              <a:off x="1598397" y="2437049"/>
              <a:ext cx="249676" cy="1943409"/>
            </a:xfrm>
            <a:prstGeom prst="downArrow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514196">
                <a:defRPr/>
              </a:pPr>
              <a:endParaRPr lang="en-US" sz="2249" dirty="0">
                <a:solidFill>
                  <a:schemeClr val="bg1"/>
                </a:solidFill>
                <a:latin typeface="Helvetica Neue Light"/>
              </a:endParaRPr>
            </a:p>
          </p:txBody>
        </p:sp>
        <p:sp>
          <p:nvSpPr>
            <p:cNvPr id="30" name="Down Arrow 29"/>
            <p:cNvSpPr/>
            <p:nvPr/>
          </p:nvSpPr>
          <p:spPr>
            <a:xfrm rot="10800000">
              <a:off x="6935038" y="2406769"/>
              <a:ext cx="249676" cy="1942033"/>
            </a:xfrm>
            <a:prstGeom prst="downArrow">
              <a:avLst/>
            </a:prstGeom>
            <a:solidFill>
              <a:srgbClr val="4BB09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514196">
                <a:defRPr/>
              </a:pPr>
              <a:endParaRPr lang="en-US" sz="2249" dirty="0">
                <a:solidFill>
                  <a:srgbClr val="00882B">
                    <a:lumMod val="50000"/>
                  </a:srgbClr>
                </a:solidFill>
                <a:latin typeface="Helvetica Neue Light"/>
              </a:endParaRPr>
            </a:p>
          </p:txBody>
        </p:sp>
        <p:sp>
          <p:nvSpPr>
            <p:cNvPr id="31" name="TextBox 25"/>
            <p:cNvSpPr txBox="1">
              <a:spLocks noChangeArrowheads="1"/>
            </p:cNvSpPr>
            <p:nvPr/>
          </p:nvSpPr>
          <p:spPr bwMode="auto">
            <a:xfrm>
              <a:off x="4043396" y="4279300"/>
              <a:ext cx="689019" cy="17997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514196">
                <a:defRPr/>
              </a:pPr>
              <a:r>
                <a:rPr lang="en-US" altLang="en-US" sz="600" dirty="0">
                  <a:solidFill>
                    <a:schemeClr val="accent2"/>
                  </a:solidFill>
                  <a:latin typeface="Helvetica Neue Light"/>
                </a:rPr>
                <a:t>Time and Effort</a:t>
              </a:r>
            </a:p>
          </p:txBody>
        </p:sp>
        <p:sp>
          <p:nvSpPr>
            <p:cNvPr id="47136" name="TextBox 31"/>
            <p:cNvSpPr txBox="1">
              <a:spLocks noChangeArrowheads="1"/>
            </p:cNvSpPr>
            <p:nvPr/>
          </p:nvSpPr>
          <p:spPr bwMode="auto">
            <a:xfrm rot="16200000">
              <a:off x="1463962" y="3229180"/>
              <a:ext cx="500673" cy="240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1pPr>
              <a:lvl2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2pPr>
              <a:lvl3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3pPr>
              <a:lvl4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4pPr>
              <a:lvl5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5pPr>
              <a:lvl6pPr marL="25146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6pPr>
              <a:lvl7pPr marL="29718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7pPr>
              <a:lvl8pPr marL="34290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8pPr>
              <a:lvl9pPr marL="38862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/>
              <a:r>
                <a:rPr lang="en-US" sz="1100" b="1" dirty="0">
                  <a:latin typeface="Helvetica Neue Light" charset="0"/>
                  <a:sym typeface="Gill Sans" charset="0"/>
                </a:rPr>
                <a:t>Costs</a:t>
              </a:r>
              <a:endParaRPr lang="en-US" sz="900" b="1" dirty="0">
                <a:latin typeface="Helvetica Neue Light" charset="0"/>
                <a:sym typeface="Gill Sans" charset="0"/>
              </a:endParaRPr>
            </a:p>
          </p:txBody>
        </p:sp>
        <p:sp>
          <p:nvSpPr>
            <p:cNvPr id="47137" name="TextBox 32"/>
            <p:cNvSpPr txBox="1">
              <a:spLocks noChangeArrowheads="1"/>
            </p:cNvSpPr>
            <p:nvPr/>
          </p:nvSpPr>
          <p:spPr bwMode="auto">
            <a:xfrm rot="5400000">
              <a:off x="6596746" y="3306267"/>
              <a:ext cx="941168" cy="2406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1pPr>
              <a:lvl2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2pPr>
              <a:lvl3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3pPr>
              <a:lvl4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4pPr>
              <a:lvl5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5pPr>
              <a:lvl6pPr marL="25146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6pPr>
              <a:lvl7pPr marL="29718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7pPr>
              <a:lvl8pPr marL="34290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8pPr>
              <a:lvl9pPr marL="38862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/>
              <a:r>
                <a:rPr lang="en-US" sz="1100" b="1" dirty="0">
                  <a:latin typeface="Helvetica Neue Light" charset="0"/>
                  <a:sym typeface="Gill Sans" charset="0"/>
                </a:rPr>
                <a:t>Performance </a:t>
              </a:r>
              <a:endParaRPr lang="en-US" sz="800" b="1" dirty="0">
                <a:latin typeface="Helvetica Neue Light" charset="0"/>
                <a:sym typeface="Gill Sans" charset="0"/>
              </a:endParaRPr>
            </a:p>
          </p:txBody>
        </p:sp>
        <p:pic>
          <p:nvPicPr>
            <p:cNvPr id="47138" name="Picture 31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61383" y="3342526"/>
              <a:ext cx="517880" cy="4709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139" name="Picture 33"/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10504" y="3617348"/>
              <a:ext cx="421133" cy="2869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140" name="Picture 34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86943" y="3926065"/>
              <a:ext cx="389264" cy="288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141" name="Picture 35"/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7258" y="3608872"/>
              <a:ext cx="235607" cy="4939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142" name="Picture 37"/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43147" y="2780780"/>
              <a:ext cx="344875" cy="271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143" name="Picture 38"/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27424" y="3704515"/>
              <a:ext cx="418857" cy="3740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144" name="Picture 39"/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4802" y="3657297"/>
              <a:ext cx="422272" cy="1694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145" name="Picture 40"/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128" y="2869159"/>
              <a:ext cx="291379" cy="2796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146" name="Picture 41"/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04948" y="3091920"/>
              <a:ext cx="546335" cy="4733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147" name="Picture 43"/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3100" y="3509600"/>
              <a:ext cx="555440" cy="236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7148" name="TextBox 40"/>
            <p:cNvSpPr txBox="1">
              <a:spLocks noChangeArrowheads="1"/>
            </p:cNvSpPr>
            <p:nvPr/>
          </p:nvSpPr>
          <p:spPr bwMode="auto">
            <a:xfrm>
              <a:off x="2277560" y="4041506"/>
              <a:ext cx="1420767" cy="2249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1pPr>
              <a:lvl2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2pPr>
              <a:lvl3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3pPr>
              <a:lvl4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4pPr>
              <a:lvl5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5pPr>
              <a:lvl6pPr marL="25146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6pPr>
              <a:lvl7pPr marL="29718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7pPr>
              <a:lvl8pPr marL="34290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8pPr>
              <a:lvl9pPr marL="38862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/>
              <a:r>
                <a:rPr lang="en-US" sz="900" dirty="0">
                  <a:solidFill>
                    <a:srgbClr val="5799F2"/>
                  </a:solidFill>
                  <a:latin typeface="Helvetica Neue Light" charset="0"/>
                  <a:ea typeface="ヒラギノ角ゴ ProN W3" charset="0"/>
                  <a:cs typeface="ヒラギノ角ゴ ProN W3" charset="0"/>
                  <a:sym typeface="Gill Sans" charset="0"/>
                </a:rPr>
                <a:t>Calendar based</a:t>
              </a:r>
            </a:p>
          </p:txBody>
        </p:sp>
        <p:sp>
          <p:nvSpPr>
            <p:cNvPr id="47149" name="TextBox 41"/>
            <p:cNvSpPr txBox="1">
              <a:spLocks noChangeArrowheads="1"/>
            </p:cNvSpPr>
            <p:nvPr/>
          </p:nvSpPr>
          <p:spPr bwMode="auto">
            <a:xfrm>
              <a:off x="3492860" y="3855846"/>
              <a:ext cx="742696" cy="3599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1pPr>
              <a:lvl2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2pPr>
              <a:lvl3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3pPr>
              <a:lvl4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4pPr>
              <a:lvl5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5pPr>
              <a:lvl6pPr marL="25146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6pPr>
              <a:lvl7pPr marL="29718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7pPr>
              <a:lvl8pPr marL="34290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8pPr>
              <a:lvl9pPr marL="38862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/>
              <a:r>
                <a:rPr lang="en-US" sz="900" dirty="0">
                  <a:solidFill>
                    <a:srgbClr val="5799F2"/>
                  </a:solidFill>
                  <a:latin typeface="Helvetica Neue Light" charset="0"/>
                  <a:ea typeface="ヒラギノ角ゴ ProN W3" charset="0"/>
                  <a:cs typeface="ヒラギノ角ゴ ProN W3" charset="0"/>
                  <a:sym typeface="Gill Sans" charset="0"/>
                </a:rPr>
                <a:t>Usage based</a:t>
              </a:r>
            </a:p>
          </p:txBody>
        </p:sp>
        <p:sp>
          <p:nvSpPr>
            <p:cNvPr id="47150" name="TextBox 42"/>
            <p:cNvSpPr txBox="1">
              <a:spLocks noChangeArrowheads="1"/>
            </p:cNvSpPr>
            <p:nvPr/>
          </p:nvSpPr>
          <p:spPr bwMode="auto">
            <a:xfrm>
              <a:off x="5307948" y="3843686"/>
              <a:ext cx="960556" cy="2249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1pPr>
              <a:lvl2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2pPr>
              <a:lvl3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3pPr>
              <a:lvl4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4pPr>
              <a:lvl5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5pPr>
              <a:lvl6pPr marL="25146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6pPr>
              <a:lvl7pPr marL="29718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7pPr>
              <a:lvl8pPr marL="34290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8pPr>
              <a:lvl9pPr marL="38862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/>
              <a:r>
                <a:rPr lang="en-US" sz="900">
                  <a:solidFill>
                    <a:srgbClr val="5799F2"/>
                  </a:solidFill>
                  <a:latin typeface="Helvetica Neue Light" charset="0"/>
                  <a:ea typeface="ヒラギノ角ゴ ProN W3" charset="0"/>
                  <a:cs typeface="ヒラギノ角ゴ ProN W3" charset="0"/>
                  <a:sym typeface="Gill Sans" charset="0"/>
                </a:rPr>
                <a:t>Predictive</a:t>
              </a:r>
            </a:p>
          </p:txBody>
        </p:sp>
        <p:sp>
          <p:nvSpPr>
            <p:cNvPr id="47151" name="TextBox 43"/>
            <p:cNvSpPr txBox="1">
              <a:spLocks noChangeArrowheads="1"/>
            </p:cNvSpPr>
            <p:nvPr/>
          </p:nvSpPr>
          <p:spPr bwMode="auto">
            <a:xfrm>
              <a:off x="6341876" y="3847611"/>
              <a:ext cx="742696" cy="2249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1pPr>
              <a:lvl2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2pPr>
              <a:lvl3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3pPr>
              <a:lvl4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4pPr>
              <a:lvl5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5pPr>
              <a:lvl6pPr marL="25146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6pPr>
              <a:lvl7pPr marL="29718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7pPr>
              <a:lvl8pPr marL="34290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8pPr>
              <a:lvl9pPr marL="38862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/>
              <a:r>
                <a:rPr lang="en-US" sz="900">
                  <a:solidFill>
                    <a:srgbClr val="5799F2"/>
                  </a:solidFill>
                  <a:latin typeface="Helvetica Neue Light" charset="0"/>
                  <a:ea typeface="ヒラギノ角ゴ ProN W3" charset="0"/>
                  <a:cs typeface="ヒラギノ角ゴ ProN W3" charset="0"/>
                  <a:sym typeface="Gill Sans" charset="0"/>
                </a:rPr>
                <a:t>Risk based</a:t>
              </a:r>
            </a:p>
          </p:txBody>
        </p:sp>
        <p:sp>
          <p:nvSpPr>
            <p:cNvPr id="47152" name="TextBox 44"/>
            <p:cNvSpPr txBox="1">
              <a:spLocks noChangeArrowheads="1"/>
            </p:cNvSpPr>
            <p:nvPr/>
          </p:nvSpPr>
          <p:spPr bwMode="auto">
            <a:xfrm>
              <a:off x="4329759" y="3830112"/>
              <a:ext cx="869835" cy="3599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1pPr>
              <a:lvl2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2pPr>
              <a:lvl3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3pPr>
              <a:lvl4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4pPr>
              <a:lvl5pPr defTabSz="514350"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5pPr>
              <a:lvl6pPr marL="25146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6pPr>
              <a:lvl7pPr marL="29718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7pPr>
              <a:lvl8pPr marL="34290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8pPr>
              <a:lvl9pPr marL="3886200" indent="-228600" defTabSz="51435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/>
              <a:r>
                <a:rPr lang="en-US" sz="900">
                  <a:solidFill>
                    <a:srgbClr val="5799F2"/>
                  </a:solidFill>
                  <a:latin typeface="Helvetica Neue Light" charset="0"/>
                  <a:ea typeface="ヒラギノ角ゴ ProN W3" charset="0"/>
                  <a:cs typeface="ヒラギノ角ゴ ProN W3" charset="0"/>
                  <a:sym typeface="Gill Sans" charset="0"/>
                </a:rPr>
                <a:t>Condition based</a:t>
              </a:r>
            </a:p>
          </p:txBody>
        </p:sp>
      </p:grpSp>
      <p:sp>
        <p:nvSpPr>
          <p:cNvPr id="49" name="TextBox 48"/>
          <p:cNvSpPr txBox="1"/>
          <p:nvPr/>
        </p:nvSpPr>
        <p:spPr>
          <a:xfrm>
            <a:off x="1296581" y="4409841"/>
            <a:ext cx="2616640" cy="27306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none" lIns="28566" tIns="28566" rIns="28566" bIns="28566" spcCol="38100" anchor="ctr">
            <a:spAutoFit/>
          </a:bodyPr>
          <a:lstStyle/>
          <a:p>
            <a:pPr algn="ctr" defTabSz="328514" latinLnBrk="1">
              <a:defRPr/>
            </a:pPr>
            <a:r>
              <a:rPr lang="en-US" sz="1400" b="1" dirty="0">
                <a:solidFill>
                  <a:schemeClr val="accent6"/>
                </a:solidFill>
                <a:latin typeface="Helvetica Neue Light"/>
                <a:ea typeface="MS PGothic" panose="020B0600070205080204" pitchFamily="34" charset="-128"/>
                <a:sym typeface="Helvetica Light"/>
              </a:rPr>
              <a:t>Enterprise Asset Management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4481330" y="4409841"/>
            <a:ext cx="2833235" cy="27306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none" lIns="28566" tIns="28566" rIns="28566" bIns="28566" spcCol="38100" anchor="ctr">
            <a:spAutoFit/>
          </a:bodyPr>
          <a:lstStyle/>
          <a:p>
            <a:pPr algn="ctr" defTabSz="328514" latinLnBrk="1">
              <a:defRPr/>
            </a:pPr>
            <a:r>
              <a:rPr lang="en-US" sz="1400" b="1" dirty="0">
                <a:solidFill>
                  <a:srgbClr val="4BB099"/>
                </a:solidFill>
                <a:latin typeface="Helvetica Neue Light"/>
                <a:ea typeface="MS PGothic" panose="020B0600070205080204" pitchFamily="34" charset="-128"/>
                <a:sym typeface="Helvetica Light"/>
              </a:rPr>
              <a:t>Asset Performance Management</a:t>
            </a:r>
          </a:p>
        </p:txBody>
      </p:sp>
      <p:sp>
        <p:nvSpPr>
          <p:cNvPr id="52" name="Title 2"/>
          <p:cNvSpPr txBox="1">
            <a:spLocks/>
          </p:cNvSpPr>
          <p:nvPr/>
        </p:nvSpPr>
        <p:spPr>
          <a:xfrm>
            <a:off x="229940" y="134897"/>
            <a:ext cx="8230060" cy="729689"/>
          </a:xfrm>
          <a:prstGeom prst="rect">
            <a:avLst/>
          </a:prstGeom>
          <a:noFill/>
          <a:ln>
            <a:noFill/>
          </a:ln>
        </p:spPr>
        <p:txBody>
          <a:bodyPr vert="horz" wrap="square" lIns="64283" tIns="32142" rIns="64283" bIns="32142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3190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spc="-50">
                <a:solidFill>
                  <a:srgbClr val="339C96"/>
                </a:solidFill>
                <a:latin typeface="HelvNeue for IBM Medium"/>
                <a:ea typeface="MS PGothic" pitchFamily="34" charset="-128"/>
                <a:cs typeface="HelvNeue for IBM Light"/>
              </a:defRPr>
            </a:lvl1pPr>
            <a:lvl2pPr defTabSz="3190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4FD9E7"/>
                </a:solidFill>
                <a:latin typeface="HelvNeue for IBM Light" charset="0"/>
                <a:ea typeface="MS PGothic" pitchFamily="34" charset="-128"/>
                <a:cs typeface="HelvNeue for IBM Light" charset="0"/>
              </a:defRPr>
            </a:lvl2pPr>
            <a:lvl3pPr defTabSz="3190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4FD9E7"/>
                </a:solidFill>
                <a:latin typeface="HelvNeue for IBM Light" charset="0"/>
                <a:ea typeface="MS PGothic" pitchFamily="34" charset="-128"/>
                <a:cs typeface="HelvNeue for IBM Light" charset="0"/>
              </a:defRPr>
            </a:lvl3pPr>
            <a:lvl4pPr defTabSz="3190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4FD9E7"/>
                </a:solidFill>
                <a:latin typeface="HelvNeue for IBM Light" charset="0"/>
                <a:ea typeface="MS PGothic" pitchFamily="34" charset="-128"/>
                <a:cs typeface="HelvNeue for IBM Light" charset="0"/>
              </a:defRPr>
            </a:lvl4pPr>
            <a:lvl5pPr defTabSz="3190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4FD9E7"/>
                </a:solidFill>
                <a:latin typeface="HelvNeue for IBM Light" charset="0"/>
                <a:ea typeface="MS PGothic" pitchFamily="34" charset="-128"/>
                <a:cs typeface="HelvNeue for IBM Light" charset="0"/>
              </a:defRPr>
            </a:lvl5pPr>
            <a:lvl6pPr marL="321419" algn="ctr" defTabSz="3214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00">
                <a:solidFill>
                  <a:srgbClr val="4FFAFF"/>
                </a:solidFill>
                <a:latin typeface="Lubalin for IBM Extra Light" charset="0"/>
                <a:ea typeface="ＭＳ Ｐゴシック" charset="0"/>
              </a:defRPr>
            </a:lvl6pPr>
            <a:lvl7pPr marL="642840" algn="ctr" defTabSz="3214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00">
                <a:solidFill>
                  <a:srgbClr val="4FFAFF"/>
                </a:solidFill>
                <a:latin typeface="Lubalin for IBM Extra Light" charset="0"/>
                <a:ea typeface="ＭＳ Ｐゴシック" charset="0"/>
              </a:defRPr>
            </a:lvl7pPr>
            <a:lvl8pPr marL="964259" algn="ctr" defTabSz="3214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00">
                <a:solidFill>
                  <a:srgbClr val="4FFAFF"/>
                </a:solidFill>
                <a:latin typeface="Lubalin for IBM Extra Light" charset="0"/>
                <a:ea typeface="ＭＳ Ｐゴシック" charset="0"/>
              </a:defRPr>
            </a:lvl8pPr>
            <a:lvl9pPr marL="1285679" algn="ctr" defTabSz="3214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00">
                <a:solidFill>
                  <a:srgbClr val="4FFAFF"/>
                </a:solidFill>
                <a:latin typeface="Lubalin for IBM Extra Light" charset="0"/>
                <a:ea typeface="ＭＳ Ｐゴシック" charset="0"/>
              </a:defRPr>
            </a:lvl9pPr>
          </a:lstStyle>
          <a:p>
            <a:r>
              <a:rPr lang="en-US" altLang="en-US" dirty="0"/>
              <a:t>Enterprise Asset Management with Performance Management </a:t>
            </a:r>
            <a:r>
              <a:rPr lang="en-US" altLang="en-US" dirty="0" smtClean="0"/>
              <a:t>drives </a:t>
            </a:r>
            <a:r>
              <a:rPr lang="en-US" altLang="en-US" dirty="0"/>
              <a:t>to advanced stages of Asset Maturity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7467600" y="679920"/>
            <a:ext cx="1600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latin typeface="HelvNeue for IBM Medium"/>
              </a:rPr>
              <a:t>IBM Maximo</a:t>
            </a:r>
            <a:endParaRPr lang="en-US" b="1" dirty="0">
              <a:latin typeface="HelvNeue for IBM Medium"/>
            </a:endParaRPr>
          </a:p>
        </p:txBody>
      </p:sp>
    </p:spTree>
    <p:extLst>
      <p:ext uri="{BB962C8B-B14F-4D97-AF65-F5344CB8AC3E}">
        <p14:creationId xmlns:p14="http://schemas.microsoft.com/office/powerpoint/2010/main" val="3273452342"/>
      </p:ext>
    </p:extLst>
  </p:cSld>
  <p:clrMapOvr>
    <a:masterClrMapping/>
  </p:clrMapOvr>
  <p:transition xmlns:p14="http://schemas.microsoft.com/office/powerpoint/2010/main" spd="slow"/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34896"/>
            <a:ext cx="7526612" cy="729709"/>
          </a:xfrm>
        </p:spPr>
        <p:txBody>
          <a:bodyPr/>
          <a:lstStyle/>
          <a:p>
            <a:pPr>
              <a:defRPr/>
            </a:pPr>
            <a:r>
              <a:rPr lang="en-US" sz="2400" dirty="0" smtClean="0">
                <a:ea typeface="ＭＳ Ｐゴシック" pitchFamily="34" charset="-128"/>
              </a:rPr>
              <a:t>Real Estate and Facilities Performance Management </a:t>
            </a:r>
            <a:r>
              <a:rPr lang="en-US" sz="2400" dirty="0">
                <a:ea typeface="ＭＳ Ｐゴシック" pitchFamily="34" charset="-128"/>
              </a:rPr>
              <a:t>drives utilization and financial return on assets</a:t>
            </a:r>
          </a:p>
        </p:txBody>
      </p:sp>
      <p:pic>
        <p:nvPicPr>
          <p:cNvPr id="35" name="Content Placeholder 7" descr="IBM-Tririga PP PG123 Graphics.jpg"/>
          <p:cNvPicPr>
            <a:picLocks noChangeAspect="1"/>
          </p:cNvPicPr>
          <p:nvPr/>
        </p:nvPicPr>
        <p:blipFill rotWithShape="1">
          <a:blip r:embed="rId3"/>
          <a:srcRect t="23890" b="9259"/>
          <a:stretch/>
        </p:blipFill>
        <p:spPr>
          <a:xfrm>
            <a:off x="152400" y="864604"/>
            <a:ext cx="8915400" cy="3764545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 rot="5400000">
            <a:off x="6979927" y="2721623"/>
            <a:ext cx="3260355" cy="246209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r>
              <a:rPr lang="en-US" sz="1000" dirty="0">
                <a:solidFill>
                  <a:srgbClr val="45BAC6"/>
                </a:solidFill>
                <a:latin typeface="Helvetica Neue Medium"/>
                <a:cs typeface="HelveticaNeueLT Std Med"/>
              </a:rPr>
              <a:t>INCREASE  ASSET  </a:t>
            </a:r>
            <a:r>
              <a:rPr lang="en-US" sz="1000" dirty="0" smtClean="0">
                <a:solidFill>
                  <a:srgbClr val="45BAC6"/>
                </a:solidFill>
                <a:latin typeface="Helvetica Neue Medium"/>
                <a:cs typeface="HelveticaNeueLT Std Med"/>
              </a:rPr>
              <a:t>UTILIZATION AND </a:t>
            </a:r>
            <a:r>
              <a:rPr lang="en-US" sz="1000" dirty="0">
                <a:solidFill>
                  <a:srgbClr val="45BAC6"/>
                </a:solidFill>
                <a:latin typeface="Helvetica Neue Medium"/>
                <a:cs typeface="HelveticaNeueLT Std Med"/>
              </a:rPr>
              <a:t>ROA</a:t>
            </a:r>
          </a:p>
        </p:txBody>
      </p:sp>
      <p:sp>
        <p:nvSpPr>
          <p:cNvPr id="37" name="TextBox 36"/>
          <p:cNvSpPr txBox="1"/>
          <p:nvPr/>
        </p:nvSpPr>
        <p:spPr>
          <a:xfrm rot="16200000">
            <a:off x="-740995" y="2866353"/>
            <a:ext cx="2820700" cy="400097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r>
              <a:rPr lang="en-US" sz="1000" dirty="0">
                <a:solidFill>
                  <a:srgbClr val="2D86BD"/>
                </a:solidFill>
                <a:latin typeface="Helvetica Neue Medium"/>
                <a:cs typeface="HelveticaNeueLT Std Med"/>
              </a:rPr>
              <a:t>REDUCE  SPACE-RELATED EXPENSES</a:t>
            </a:r>
          </a:p>
          <a:p>
            <a:endParaRPr lang="en-US" sz="1000" dirty="0">
              <a:solidFill>
                <a:srgbClr val="2D86BD"/>
              </a:solidFill>
              <a:latin typeface="Helvetica Neue Medium"/>
              <a:cs typeface="HelveticaNeueLT Std Med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177760" y="1156950"/>
            <a:ext cx="7264400" cy="523208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pPr algn="r"/>
            <a:r>
              <a:rPr lang="en-US" sz="1600" dirty="0">
                <a:solidFill>
                  <a:schemeClr val="bg1"/>
                </a:solidFill>
                <a:latin typeface="HelvNeue for IBM Medium"/>
                <a:cs typeface="HelveticaNeueLT Std"/>
              </a:rPr>
              <a:t>REAL ESTATE AND FACILITIES PERFORMANCE MANAGEMENT</a:t>
            </a:r>
          </a:p>
          <a:p>
            <a:pPr algn="r"/>
            <a:r>
              <a:rPr lang="en-US" sz="1200" dirty="0">
                <a:solidFill>
                  <a:schemeClr val="bg1"/>
                </a:solidFill>
                <a:latin typeface="HelvNeue for IBM Medium"/>
                <a:cs typeface="HelveticaNeueLT Std Med"/>
              </a:rPr>
              <a:t>Drive </a:t>
            </a:r>
            <a:r>
              <a:rPr lang="en-US" sz="1200" dirty="0" smtClean="0">
                <a:solidFill>
                  <a:schemeClr val="bg1"/>
                </a:solidFill>
                <a:latin typeface="HelvNeue for IBM Medium"/>
                <a:cs typeface="HelveticaNeueLT Std Med"/>
              </a:rPr>
              <a:t>asset effectiveness</a:t>
            </a:r>
            <a:endParaRPr lang="en-US" sz="1200" dirty="0">
              <a:solidFill>
                <a:schemeClr val="bg1"/>
              </a:solidFill>
              <a:latin typeface="HelvNeue for IBM Medium"/>
              <a:cs typeface="HelveticaNeueLT Std Med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770580" y="4019550"/>
            <a:ext cx="7505700" cy="523208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Helvetica Neue Medium"/>
                <a:cs typeface="HelveticaNeueLT Std"/>
              </a:rPr>
              <a:t>INTEGRATED WORKPLACE MANAGEMENT SYSTEMS</a:t>
            </a:r>
          </a:p>
          <a:p>
            <a:r>
              <a:rPr lang="en-US" sz="1200" dirty="0">
                <a:solidFill>
                  <a:schemeClr val="bg1"/>
                </a:solidFill>
                <a:latin typeface="Helvetica Neue Medium"/>
                <a:cs typeface="HelveticaNeueLT Std Med"/>
              </a:rPr>
              <a:t>Drive operational efficiency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876647" y="2569687"/>
            <a:ext cx="913528" cy="784818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pPr algn="ctr"/>
            <a:r>
              <a:rPr lang="en-US" sz="900" b="1" dirty="0">
                <a:latin typeface="HelvNeue for IBM Medium"/>
                <a:cs typeface="HelveticaNeueLT Std Med Cn"/>
              </a:rPr>
              <a:t>REDUCE</a:t>
            </a:r>
          </a:p>
          <a:p>
            <a:pPr algn="ctr"/>
            <a:r>
              <a:rPr lang="en-US" sz="900" dirty="0">
                <a:latin typeface="HelvNeue for IBM Medium"/>
                <a:cs typeface="HelveticaNeueLT Std Cn"/>
              </a:rPr>
              <a:t>cost of </a:t>
            </a:r>
            <a:r>
              <a:rPr lang="en-US" sz="900" dirty="0" smtClean="0">
                <a:latin typeface="HelvNeue for IBM Medium"/>
                <a:cs typeface="HelveticaNeueLT Std Cn"/>
              </a:rPr>
              <a:t>REFM</a:t>
            </a:r>
            <a:endParaRPr lang="en-US" sz="900" dirty="0">
              <a:latin typeface="HelvNeue for IBM Medium"/>
              <a:cs typeface="HelveticaNeueLT Std Cn"/>
            </a:endParaRPr>
          </a:p>
          <a:p>
            <a:pPr algn="ctr"/>
            <a:r>
              <a:rPr lang="en-US" sz="900" dirty="0">
                <a:latin typeface="HelvNeue for IBM Medium"/>
                <a:cs typeface="HelveticaNeueLT Std Cn"/>
              </a:rPr>
              <a:t>operations</a:t>
            </a:r>
          </a:p>
          <a:p>
            <a:pPr algn="ctr"/>
            <a:r>
              <a:rPr lang="en-US" sz="900" dirty="0">
                <a:latin typeface="HelvNeue for IBM Medium"/>
                <a:cs typeface="HelveticaNeueLT Std Cn"/>
              </a:rPr>
              <a:t>across</a:t>
            </a:r>
          </a:p>
          <a:p>
            <a:pPr algn="ctr"/>
            <a:r>
              <a:rPr lang="en-US" sz="900" dirty="0">
                <a:latin typeface="HelvNeue for IBM Medium"/>
                <a:cs typeface="HelveticaNeueLT Std Cn"/>
              </a:rPr>
              <a:t>departments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853973" y="2569687"/>
            <a:ext cx="913590" cy="784818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pPr algn="ctr"/>
            <a:r>
              <a:rPr lang="en-US" sz="900" b="1" dirty="0">
                <a:latin typeface="HelvNeue for IBM Medium"/>
                <a:cs typeface="HelveticaNeueLT Std Cn"/>
              </a:rPr>
              <a:t>INCREASE</a:t>
            </a:r>
            <a:r>
              <a:rPr lang="en-US" sz="900" dirty="0">
                <a:latin typeface="HelvNeue for IBM Medium"/>
                <a:cs typeface="HelveticaNeueLT Std Cn"/>
              </a:rPr>
              <a:t> </a:t>
            </a:r>
            <a:endParaRPr lang="en-US" sz="900" dirty="0" smtClean="0">
              <a:latin typeface="HelvNeue for IBM Medium"/>
              <a:cs typeface="HelveticaNeueLT Std Cn"/>
            </a:endParaRPr>
          </a:p>
          <a:p>
            <a:pPr algn="ctr"/>
            <a:r>
              <a:rPr lang="en-US" sz="900" dirty="0" smtClean="0">
                <a:latin typeface="HelvNeue for IBM Medium"/>
                <a:cs typeface="HelveticaNeueLT Std Cn"/>
              </a:rPr>
              <a:t>asset</a:t>
            </a:r>
            <a:endParaRPr lang="en-US" sz="900" dirty="0">
              <a:latin typeface="HelvNeue for IBM Medium"/>
              <a:cs typeface="HelveticaNeueLT Std Cn"/>
            </a:endParaRPr>
          </a:p>
          <a:p>
            <a:pPr algn="ctr"/>
            <a:r>
              <a:rPr lang="en-US" sz="900" dirty="0" smtClean="0">
                <a:latin typeface="HelvNeue for IBM Medium"/>
                <a:cs typeface="HelveticaNeueLT Std Med Cn"/>
              </a:rPr>
              <a:t>Utilization</a:t>
            </a:r>
            <a:endParaRPr lang="en-US" sz="900" dirty="0">
              <a:latin typeface="HelvNeue for IBM Medium"/>
              <a:cs typeface="HelveticaNeueLT Std Med Cn"/>
            </a:endParaRPr>
          </a:p>
          <a:p>
            <a:pPr algn="ctr"/>
            <a:r>
              <a:rPr lang="en-US" sz="900" dirty="0">
                <a:latin typeface="HelvNeue for IBM Medium"/>
                <a:cs typeface="HelveticaNeueLT Std Cn"/>
              </a:rPr>
              <a:t>a</a:t>
            </a:r>
            <a:r>
              <a:rPr lang="en-US" sz="900" dirty="0" smtClean="0">
                <a:latin typeface="HelvNeue for IBM Medium"/>
                <a:cs typeface="HelveticaNeueLT Std Cn"/>
              </a:rPr>
              <a:t>cross REFM</a:t>
            </a:r>
            <a:endParaRPr lang="en-US" sz="900" dirty="0">
              <a:latin typeface="HelvNeue for IBM Medium"/>
              <a:cs typeface="HelveticaNeueLT Std Cn"/>
            </a:endParaRPr>
          </a:p>
          <a:p>
            <a:pPr algn="ctr"/>
            <a:r>
              <a:rPr lang="en-US" sz="900" dirty="0">
                <a:latin typeface="HelvNeue for IBM Medium"/>
                <a:cs typeface="HelveticaNeueLT Std Cn"/>
              </a:rPr>
              <a:t>portfolio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6842998" y="2569687"/>
            <a:ext cx="919545" cy="784818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pPr algn="ctr"/>
            <a:r>
              <a:rPr lang="en-US" sz="900" b="1" dirty="0">
                <a:latin typeface="HelvNeue for IBM Medium"/>
                <a:cs typeface="HelveticaNeueLT Std Med Cn"/>
              </a:rPr>
              <a:t>OPTIMIZE</a:t>
            </a:r>
          </a:p>
          <a:p>
            <a:pPr algn="ctr"/>
            <a:r>
              <a:rPr lang="en-US" sz="900" dirty="0">
                <a:latin typeface="HelvNeue for IBM Medium"/>
                <a:cs typeface="HelveticaNeueLT Std Cn"/>
              </a:rPr>
              <a:t>financial return</a:t>
            </a:r>
          </a:p>
          <a:p>
            <a:pPr algn="ctr"/>
            <a:r>
              <a:rPr lang="en-US" sz="900" dirty="0">
                <a:latin typeface="HelvNeue for IBM Medium"/>
                <a:cs typeface="HelveticaNeueLT Std Cn"/>
              </a:rPr>
              <a:t>o</a:t>
            </a:r>
            <a:r>
              <a:rPr lang="en-US" sz="900" dirty="0" smtClean="0">
                <a:latin typeface="HelvNeue for IBM Medium"/>
                <a:cs typeface="HelveticaNeueLT Std Cn"/>
              </a:rPr>
              <a:t>n REFM</a:t>
            </a:r>
            <a:endParaRPr lang="en-US" sz="900" dirty="0">
              <a:latin typeface="HelvNeue for IBM Medium"/>
              <a:cs typeface="HelveticaNeueLT Std Cn"/>
            </a:endParaRPr>
          </a:p>
          <a:p>
            <a:pPr algn="ctr"/>
            <a:r>
              <a:rPr lang="en-US" sz="900" dirty="0">
                <a:latin typeface="HelvNeue for IBM Medium"/>
                <a:cs typeface="HelveticaNeueLT Std Cn"/>
              </a:rPr>
              <a:t>investment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822562" y="2190750"/>
            <a:ext cx="1023744" cy="369320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pPr algn="ctr"/>
            <a:r>
              <a:rPr lang="en-US" sz="900" dirty="0">
                <a:solidFill>
                  <a:schemeClr val="bg1"/>
                </a:solidFill>
                <a:latin typeface="HelvNeue for IBM Medium"/>
                <a:cs typeface="HelveticaNeueLT Std Med Cn"/>
              </a:rPr>
              <a:t>PERCEPTIVE</a:t>
            </a:r>
          </a:p>
          <a:p>
            <a:pPr algn="ctr"/>
            <a:r>
              <a:rPr lang="en-US" sz="900" dirty="0" smtClean="0">
                <a:solidFill>
                  <a:schemeClr val="bg1"/>
                </a:solidFill>
                <a:latin typeface="HelvNeue for IBM Medium"/>
                <a:cs typeface="HelveticaNeueLT Std Med Cn"/>
              </a:rPr>
              <a:t>APPLICATIONS</a:t>
            </a:r>
            <a:endParaRPr lang="en-US" sz="900" dirty="0">
              <a:solidFill>
                <a:schemeClr val="bg1"/>
              </a:solidFill>
              <a:latin typeface="HelvNeue for IBM Medium"/>
              <a:cs typeface="HelveticaNeueLT Std Med Cn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4846791" y="2190750"/>
            <a:ext cx="952673" cy="400097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pPr algn="ctr"/>
            <a:r>
              <a:rPr lang="en-US" sz="1000" dirty="0" smtClean="0">
                <a:solidFill>
                  <a:schemeClr val="bg1"/>
                </a:solidFill>
                <a:latin typeface="HelvNeue for IBM Medium"/>
                <a:cs typeface="HelveticaNeueLT Std Med Cn"/>
              </a:rPr>
              <a:t>COGNITIVE</a:t>
            </a:r>
          </a:p>
          <a:p>
            <a:pPr algn="ctr"/>
            <a:r>
              <a:rPr lang="en-US" sz="1000" dirty="0" smtClean="0">
                <a:solidFill>
                  <a:schemeClr val="bg1"/>
                </a:solidFill>
                <a:latin typeface="HelvNeue for IBM Medium"/>
                <a:cs typeface="HelveticaNeueLT Std Med Cn"/>
              </a:rPr>
              <a:t>ANALYTICS</a:t>
            </a:r>
            <a:endParaRPr lang="en-US" sz="1000" dirty="0">
              <a:solidFill>
                <a:schemeClr val="bg1"/>
              </a:solidFill>
              <a:latin typeface="HelvNeue for IBM Medium"/>
              <a:cs typeface="HelveticaNeueLT Std Med Cn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5847279" y="2190750"/>
            <a:ext cx="920284" cy="400097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pPr algn="ctr"/>
            <a:r>
              <a:rPr lang="en-US" sz="1000" dirty="0" smtClean="0">
                <a:solidFill>
                  <a:schemeClr val="bg1"/>
                </a:solidFill>
                <a:latin typeface="HelvNeue for IBM Medium"/>
                <a:cs typeface="HelveticaNeueLT Std Med Cn"/>
              </a:rPr>
              <a:t>PRESENCE</a:t>
            </a:r>
          </a:p>
          <a:p>
            <a:pPr algn="ctr"/>
            <a:r>
              <a:rPr lang="en-US" sz="1000" dirty="0" smtClean="0">
                <a:solidFill>
                  <a:schemeClr val="bg1"/>
                </a:solidFill>
                <a:latin typeface="HelvNeue for IBM Medium"/>
                <a:cs typeface="HelveticaNeueLT Std Med Cn"/>
              </a:rPr>
              <a:t>DETECTION</a:t>
            </a:r>
            <a:endParaRPr lang="en-US" sz="1000" dirty="0">
              <a:solidFill>
                <a:schemeClr val="bg1"/>
              </a:solidFill>
              <a:latin typeface="HelvNeue for IBM Medium"/>
              <a:cs typeface="HelveticaNeueLT Std Med Cn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842999" y="2190750"/>
            <a:ext cx="919544" cy="400097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HelvNeue for IBM Medium"/>
                <a:cs typeface="HelveticaNeueLT Std Med Cn"/>
              </a:rPr>
              <a:t>FINANCIAL</a:t>
            </a:r>
          </a:p>
          <a:p>
            <a:pPr algn="ctr"/>
            <a:r>
              <a:rPr lang="en-US" sz="1000" dirty="0" smtClean="0">
                <a:solidFill>
                  <a:schemeClr val="bg1"/>
                </a:solidFill>
                <a:latin typeface="HelvNeue for IBM Medium"/>
                <a:cs typeface="HelveticaNeueLT Std Med Cn"/>
              </a:rPr>
              <a:t>ANALYTICS</a:t>
            </a:r>
            <a:endParaRPr lang="en-US" sz="1000" dirty="0">
              <a:solidFill>
                <a:schemeClr val="bg1"/>
              </a:solidFill>
              <a:latin typeface="HelvNeue for IBM Medium"/>
              <a:cs typeface="HelveticaNeueLT Std Med Cn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011180" y="2292350"/>
            <a:ext cx="693469" cy="253904"/>
          </a:xfrm>
          <a:prstGeom prst="rect">
            <a:avLst/>
          </a:prstGeom>
          <a:noFill/>
        </p:spPr>
        <p:txBody>
          <a:bodyPr wrap="none" lIns="91429" tIns="45714" rIns="91429" bIns="45714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HelvNeue for IBM Medium"/>
                <a:cs typeface="HelveticaNeueLT Std Med Cn"/>
              </a:rPr>
              <a:t>MOBILE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2042003" y="2292350"/>
            <a:ext cx="655992" cy="253904"/>
          </a:xfrm>
          <a:prstGeom prst="rect">
            <a:avLst/>
          </a:prstGeom>
          <a:noFill/>
        </p:spPr>
        <p:txBody>
          <a:bodyPr wrap="none" lIns="91429" tIns="45714" rIns="91429" bIns="45714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HelvNeue for IBM Medium"/>
                <a:cs typeface="HelveticaNeueLT Std Med Cn"/>
              </a:rPr>
              <a:t>CLOUD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4114800" y="2292350"/>
            <a:ext cx="424033" cy="253904"/>
          </a:xfrm>
          <a:prstGeom prst="rect">
            <a:avLst/>
          </a:prstGeom>
          <a:noFill/>
        </p:spPr>
        <p:txBody>
          <a:bodyPr wrap="none" lIns="91429" tIns="45714" rIns="91429" bIns="45714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HelvNeue for IBM Medium"/>
                <a:cs typeface="HelveticaNeueLT Std Med Cn"/>
              </a:rPr>
              <a:t>BIM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905758" y="2569687"/>
            <a:ext cx="899577" cy="784818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pPr algn="ctr"/>
            <a:r>
              <a:rPr lang="en-US" sz="900" b="1" dirty="0" smtClean="0">
                <a:latin typeface="HelvNeue for IBM Medium"/>
                <a:cs typeface="HelveticaNeueLT Std Med Cn"/>
              </a:rPr>
              <a:t>EXTEND</a:t>
            </a:r>
            <a:endParaRPr lang="en-US" sz="900" b="1" dirty="0">
              <a:latin typeface="HelvNeue for IBM Medium"/>
              <a:cs typeface="HelveticaNeueLT Std Med Cn"/>
            </a:endParaRPr>
          </a:p>
          <a:p>
            <a:pPr algn="ctr"/>
            <a:r>
              <a:rPr lang="en-US" sz="900" dirty="0" smtClean="0">
                <a:latin typeface="HelvNeue for IBM Medium"/>
                <a:cs typeface="HelveticaNeueLT Std Cn"/>
              </a:rPr>
              <a:t>REFM </a:t>
            </a:r>
            <a:r>
              <a:rPr lang="en-US" sz="900" dirty="0">
                <a:latin typeface="HelvNeue for IBM Medium"/>
                <a:cs typeface="HelveticaNeueLT Std Cn"/>
              </a:rPr>
              <a:t>t</a:t>
            </a:r>
            <a:r>
              <a:rPr lang="en-US" sz="900" dirty="0" smtClean="0">
                <a:latin typeface="HelvNeue for IBM Medium"/>
                <a:cs typeface="HelveticaNeueLT Std Cn"/>
              </a:rPr>
              <a:t>o more</a:t>
            </a:r>
            <a:r>
              <a:rPr lang="en-US" sz="900" dirty="0">
                <a:latin typeface="HelvNeue for IBM Medium"/>
                <a:cs typeface="HelveticaNeueLT Std Cn"/>
              </a:rPr>
              <a:t/>
            </a:r>
            <a:br>
              <a:rPr lang="en-US" sz="900" dirty="0">
                <a:latin typeface="HelvNeue for IBM Medium"/>
                <a:cs typeface="HelveticaNeueLT Std Cn"/>
              </a:rPr>
            </a:br>
            <a:r>
              <a:rPr lang="en-US" sz="900" dirty="0" smtClean="0">
                <a:latin typeface="HelvNeue for IBM Medium"/>
                <a:cs typeface="HelveticaNeueLT Std Cn"/>
              </a:rPr>
              <a:t>people in more places</a:t>
            </a:r>
            <a:endParaRPr lang="en-US" sz="900" dirty="0">
              <a:latin typeface="HelvNeue for IBM Medium"/>
              <a:cs typeface="HelveticaNeueLT Std Cn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2858916" y="2569687"/>
            <a:ext cx="926240" cy="646319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pPr algn="ctr"/>
            <a:r>
              <a:rPr lang="en-US" sz="900" b="1" dirty="0" smtClean="0">
                <a:latin typeface="HelvNeue for IBM Medium"/>
                <a:cs typeface="HelveticaNeueLT Std Med Cn"/>
              </a:rPr>
              <a:t>SIMPLIFY</a:t>
            </a:r>
            <a:endParaRPr lang="en-US" sz="900" b="1" dirty="0">
              <a:latin typeface="HelvNeue for IBM Medium"/>
              <a:cs typeface="HelveticaNeueLT Std Med Cn"/>
            </a:endParaRPr>
          </a:p>
          <a:p>
            <a:pPr algn="ctr"/>
            <a:r>
              <a:rPr lang="en-US" sz="900" dirty="0" smtClean="0">
                <a:latin typeface="HelvNeue for IBM Medium"/>
                <a:cs typeface="HelveticaNeueLT Std Cn"/>
              </a:rPr>
              <a:t>REFM tasks on more devices</a:t>
            </a:r>
            <a:endParaRPr lang="en-US" sz="900" dirty="0">
              <a:latin typeface="HelvNeue for IBM Medium"/>
              <a:cs typeface="HelveticaNeueLT Std Cn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3853896" y="2569687"/>
            <a:ext cx="924156" cy="784818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pPr algn="ctr"/>
            <a:r>
              <a:rPr lang="en-US" sz="900" b="1" dirty="0" smtClean="0">
                <a:latin typeface="HelvNeue for IBM Medium"/>
                <a:cs typeface="HelveticaNeueLT Std Med Cn"/>
              </a:rPr>
              <a:t>PINPOINT</a:t>
            </a:r>
            <a:endParaRPr lang="en-US" sz="900" dirty="0" smtClean="0">
              <a:latin typeface="HelvNeue for IBM Medium"/>
              <a:cs typeface="HelveticaNeueLT Std Cn"/>
            </a:endParaRPr>
          </a:p>
          <a:p>
            <a:pPr algn="ctr"/>
            <a:r>
              <a:rPr lang="en-US" sz="900" dirty="0" smtClean="0">
                <a:latin typeface="HelvNeue for IBM Medium"/>
                <a:cs typeface="HelveticaNeueLT Std Cn"/>
              </a:rPr>
              <a:t>planning, maintenance for each REFM asset</a:t>
            </a:r>
            <a:endParaRPr lang="en-US" sz="900" dirty="0">
              <a:latin typeface="HelvNeue for IBM Medium"/>
              <a:cs typeface="HelveticaNeueLT Std Cn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846792" y="2569687"/>
            <a:ext cx="931746" cy="784818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pPr algn="ctr"/>
            <a:r>
              <a:rPr lang="en-US" sz="900" b="1" dirty="0" smtClean="0">
                <a:latin typeface="HelvNeue for IBM Medium"/>
                <a:cs typeface="HelveticaNeueLT Std Med Cn"/>
              </a:rPr>
              <a:t>IDENTIFY</a:t>
            </a:r>
            <a:endParaRPr lang="en-US" sz="900" dirty="0" smtClean="0">
              <a:latin typeface="HelvNeue for IBM Medium"/>
              <a:cs typeface="HelveticaNeueLT Std Cn"/>
            </a:endParaRPr>
          </a:p>
          <a:p>
            <a:pPr algn="ctr"/>
            <a:r>
              <a:rPr lang="en-US" sz="900" dirty="0">
                <a:latin typeface="HelvNeue for IBM Medium"/>
                <a:cs typeface="HelveticaNeueLT Std Cn"/>
              </a:rPr>
              <a:t>t</a:t>
            </a:r>
            <a:r>
              <a:rPr lang="en-US" sz="900" dirty="0" smtClean="0">
                <a:latin typeface="HelvNeue for IBM Medium"/>
                <a:cs typeface="HelveticaNeueLT Std Cn"/>
              </a:rPr>
              <a:t>rends and patterns in the REFM portfolio</a:t>
            </a:r>
            <a:endParaRPr lang="en-US" sz="900" dirty="0">
              <a:latin typeface="HelvNeue for IBM Medium"/>
              <a:cs typeface="HelveticaNeueLT Std Cn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086600" y="754618"/>
            <a:ext cx="1828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 smtClean="0">
                <a:latin typeface="HelvNeue for IBM Medium"/>
              </a:rPr>
              <a:t>IBM TRIRIGA</a:t>
            </a:r>
            <a:endParaRPr lang="en-US" b="1" dirty="0">
              <a:latin typeface="HelvNeue for IBM Medium"/>
            </a:endParaRPr>
          </a:p>
        </p:txBody>
      </p:sp>
    </p:spTree>
    <p:extLst>
      <p:ext uri="{BB962C8B-B14F-4D97-AF65-F5344CB8AC3E}">
        <p14:creationId xmlns:p14="http://schemas.microsoft.com/office/powerpoint/2010/main" val="42469077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14400" y="1657350"/>
            <a:ext cx="7315200" cy="988241"/>
          </a:xfrm>
        </p:spPr>
        <p:txBody>
          <a:bodyPr/>
          <a:lstStyle/>
          <a:p>
            <a:pPr marL="346075" indent="-346075">
              <a:defRPr/>
            </a:pPr>
            <a:r>
              <a:rPr lang="en-US" sz="2400" dirty="0" smtClean="0">
                <a:latin typeface="HelvNeue for IBM Medium"/>
              </a:rPr>
              <a:t>IBM IoT </a:t>
            </a:r>
            <a:r>
              <a:rPr lang="en-US" sz="2400" dirty="0">
                <a:latin typeface="HelvNeue for IBM Medium"/>
              </a:rPr>
              <a:t>Applications </a:t>
            </a:r>
            <a:r>
              <a:rPr lang="en-US" sz="2400" dirty="0" smtClean="0">
                <a:latin typeface="HelvNeue for IBM Medium"/>
              </a:rPr>
              <a:t/>
            </a:r>
            <a:br>
              <a:rPr lang="en-US" sz="2400" dirty="0" smtClean="0">
                <a:latin typeface="HelvNeue for IBM Medium"/>
              </a:rPr>
            </a:br>
            <a:r>
              <a:rPr lang="en-US" sz="3600" dirty="0" smtClean="0">
                <a:latin typeface="HelvNeue for IBM Medium"/>
              </a:rPr>
              <a:t>Predictive Maintenance &amp; Quality</a:t>
            </a:r>
            <a:endParaRPr sz="3600" dirty="0">
              <a:latin typeface="HelvNeue for IBM Medium"/>
            </a:endParaRPr>
          </a:p>
        </p:txBody>
      </p:sp>
    </p:spTree>
    <p:extLst>
      <p:ext uri="{BB962C8B-B14F-4D97-AF65-F5344CB8AC3E}">
        <p14:creationId xmlns:p14="http://schemas.microsoft.com/office/powerpoint/2010/main" val="25911522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Oval 59"/>
          <p:cNvSpPr/>
          <p:nvPr/>
        </p:nvSpPr>
        <p:spPr>
          <a:xfrm>
            <a:off x="354688" y="1928419"/>
            <a:ext cx="428625" cy="40044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sz="1800">
              <a:latin typeface="HelvNeue for IBM Medium"/>
              <a:cs typeface="Helvetica Neue Light"/>
            </a:endParaRPr>
          </a:p>
        </p:txBody>
      </p:sp>
      <p:sp>
        <p:nvSpPr>
          <p:cNvPr id="137" name="Oval 136"/>
          <p:cNvSpPr/>
          <p:nvPr/>
        </p:nvSpPr>
        <p:spPr>
          <a:xfrm>
            <a:off x="354688" y="2373989"/>
            <a:ext cx="428625" cy="40044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sz="1800">
              <a:latin typeface="HelvNeue for IBM Medium"/>
              <a:cs typeface="Helvetica Neue Light"/>
            </a:endParaRPr>
          </a:p>
        </p:txBody>
      </p:sp>
      <p:sp>
        <p:nvSpPr>
          <p:cNvPr id="138" name="Oval 137"/>
          <p:cNvSpPr/>
          <p:nvPr/>
        </p:nvSpPr>
        <p:spPr>
          <a:xfrm>
            <a:off x="354688" y="2838350"/>
            <a:ext cx="428625" cy="40044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sz="1800">
              <a:latin typeface="HelvNeue for IBM Medium"/>
              <a:cs typeface="Helvetica Neue Light"/>
            </a:endParaRPr>
          </a:p>
        </p:txBody>
      </p:sp>
      <p:sp>
        <p:nvSpPr>
          <p:cNvPr id="139" name="Oval 138"/>
          <p:cNvSpPr/>
          <p:nvPr/>
        </p:nvSpPr>
        <p:spPr>
          <a:xfrm>
            <a:off x="354688" y="3360738"/>
            <a:ext cx="428625" cy="40044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sz="1800">
              <a:latin typeface="HelvNeue for IBM Medium"/>
              <a:cs typeface="Helvetica Neue Light"/>
            </a:endParaRPr>
          </a:p>
        </p:txBody>
      </p:sp>
      <p:sp>
        <p:nvSpPr>
          <p:cNvPr id="140" name="Oval 139"/>
          <p:cNvSpPr/>
          <p:nvPr/>
        </p:nvSpPr>
        <p:spPr>
          <a:xfrm>
            <a:off x="354688" y="3871519"/>
            <a:ext cx="428625" cy="40044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sz="1800">
              <a:latin typeface="HelvNeue for IBM Medium"/>
              <a:cs typeface="Helvetica Neue Light"/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1" y="1433"/>
          <a:ext cx="1587" cy="14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433"/>
                        <a:ext cx="1587" cy="14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146" y="113989"/>
            <a:ext cx="7999144" cy="403466"/>
          </a:xfrm>
          <a:noFill/>
          <a:ln>
            <a:noFill/>
          </a:ln>
        </p:spPr>
        <p:txBody>
          <a:bodyPr vert="horz" wrap="square" lIns="64283" tIns="32142" rIns="64283" bIns="32142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>
                <a:solidFill>
                  <a:srgbClr val="00B4A0"/>
                </a:solidFill>
                <a:latin typeface="HelvNeue for IBM Medium"/>
              </a:rPr>
              <a:t>IoT </a:t>
            </a:r>
            <a:r>
              <a:rPr lang="en-US" sz="2400" dirty="0" smtClean="0">
                <a:solidFill>
                  <a:srgbClr val="00B4A0"/>
                </a:solidFill>
                <a:latin typeface="HelvNeue for IBM Medium"/>
              </a:rPr>
              <a:t>is driving digital disruption </a:t>
            </a:r>
            <a:r>
              <a:rPr lang="en-US" sz="2400" dirty="0">
                <a:solidFill>
                  <a:srgbClr val="00B4A0"/>
                </a:solidFill>
                <a:latin typeface="HelvNeue for IBM Medium"/>
              </a:rPr>
              <a:t>of the </a:t>
            </a:r>
            <a:r>
              <a:rPr lang="en-US" sz="2400" dirty="0" smtClean="0">
                <a:solidFill>
                  <a:srgbClr val="00B4A0"/>
                </a:solidFill>
                <a:latin typeface="HelvNeue for IBM Medium"/>
              </a:rPr>
              <a:t>physical world</a:t>
            </a:r>
            <a:endParaRPr lang="en-US" sz="2400" dirty="0">
              <a:solidFill>
                <a:srgbClr val="00B4A0"/>
              </a:solidFill>
              <a:latin typeface="HelvNeue for IBM Medium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361266" y="1047303"/>
            <a:ext cx="2638425" cy="64633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rgbClr val="00B0F0"/>
                </a:solidFill>
                <a:latin typeface="Arial"/>
                <a:cs typeface="Arial"/>
              </a:rPr>
              <a:t>Accelerating advances </a:t>
            </a:r>
          </a:p>
          <a:p>
            <a:pPr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rgbClr val="00B0F0"/>
                </a:solidFill>
                <a:latin typeface="Arial"/>
                <a:cs typeface="Arial"/>
              </a:rPr>
              <a:t>in technology		</a:t>
            </a:r>
          </a:p>
        </p:txBody>
      </p:sp>
      <p:sp>
        <p:nvSpPr>
          <p:cNvPr id="40" name="Rectangle 39"/>
          <p:cNvSpPr/>
          <p:nvPr/>
        </p:nvSpPr>
        <p:spPr>
          <a:xfrm>
            <a:off x="3089951" y="1047303"/>
            <a:ext cx="273390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rgbClr val="00B0F0"/>
                </a:solidFill>
                <a:latin typeface="Arial"/>
                <a:ea typeface="MS PGothic" charset="0"/>
                <a:cs typeface="Arial"/>
              </a:rPr>
              <a:t>Are transforming every part of business</a:t>
            </a:r>
          </a:p>
        </p:txBody>
      </p:sp>
      <p:sp>
        <p:nvSpPr>
          <p:cNvPr id="51" name="Rectangle 50"/>
          <p:cNvSpPr/>
          <p:nvPr/>
        </p:nvSpPr>
        <p:spPr>
          <a:xfrm>
            <a:off x="3038736" y="1833159"/>
            <a:ext cx="5661711" cy="5492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sz="1800">
              <a:latin typeface="HelvNeue for IBM Medium"/>
              <a:cs typeface="Helvetica Neue Light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3038736" y="3200960"/>
            <a:ext cx="5661711" cy="5492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sz="1800">
              <a:latin typeface="HelvNeue for IBM Medium"/>
              <a:cs typeface="Helvetica Neue Light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3038736" y="2512507"/>
            <a:ext cx="5661711" cy="5492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sz="1800">
              <a:latin typeface="HelvNeue for IBM Medium"/>
              <a:cs typeface="Helvetica Neue Light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883643" y="2051050"/>
            <a:ext cx="2062162" cy="1846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eaLnBrk="0" hangingPunct="0">
              <a:spcBef>
                <a:spcPts val="0"/>
              </a:spcBef>
              <a:defRPr/>
            </a:pPr>
            <a:r>
              <a:rPr lang="en-US" sz="1200" dirty="0" smtClean="0">
                <a:solidFill>
                  <a:schemeClr val="tx1"/>
                </a:solidFill>
                <a:latin typeface="HelvNeue for IBM Medium"/>
                <a:cs typeface="Helvetica Neue Light"/>
              </a:rPr>
              <a:t>Cognitive Analytics</a:t>
            </a:r>
            <a:endParaRPr lang="en-US" sz="1200" dirty="0">
              <a:solidFill>
                <a:schemeClr val="tx1"/>
              </a:solidFill>
              <a:latin typeface="HelvNeue for IBM Medium"/>
              <a:cs typeface="Helvetica Neue Light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3150967" y="3268090"/>
            <a:ext cx="2512777" cy="40011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spAutoFit/>
          </a:bodyPr>
          <a:lstStyle/>
          <a:p>
            <a:pPr eaLnBrk="0" hangingPunct="0">
              <a:defRPr/>
            </a:pPr>
            <a:r>
              <a:rPr lang="en-US" sz="1300" dirty="0">
                <a:solidFill>
                  <a:schemeClr val="tx1"/>
                </a:solidFill>
                <a:latin typeface="HelvNeue for IBM Medium"/>
                <a:cs typeface="Helvetica Neue Light"/>
              </a:rPr>
              <a:t>Creating new products and business models</a:t>
            </a:r>
          </a:p>
        </p:txBody>
      </p:sp>
      <p:sp>
        <p:nvSpPr>
          <p:cNvPr id="65" name="Rectangle 64"/>
          <p:cNvSpPr/>
          <p:nvPr/>
        </p:nvSpPr>
        <p:spPr>
          <a:xfrm>
            <a:off x="3150967" y="1891897"/>
            <a:ext cx="2493724" cy="40011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spAutoFit/>
          </a:bodyPr>
          <a:lstStyle/>
          <a:p>
            <a:pPr eaLnBrk="0" hangingPunct="0">
              <a:defRPr/>
            </a:pPr>
            <a:r>
              <a:rPr lang="en-US" sz="1300" dirty="0" smtClean="0">
                <a:solidFill>
                  <a:schemeClr val="tx1"/>
                </a:solidFill>
                <a:latin typeface="HelvNeue for IBM Medium"/>
                <a:cs typeface="Helvetica Neue Light"/>
              </a:rPr>
              <a:t>Boosting operational performance and </a:t>
            </a:r>
            <a:r>
              <a:rPr lang="en-US" sz="1300" dirty="0">
                <a:solidFill>
                  <a:schemeClr val="tx1"/>
                </a:solidFill>
                <a:latin typeface="HelvNeue for IBM Medium"/>
                <a:cs typeface="Helvetica Neue Light"/>
              </a:rPr>
              <a:t>lowering costs</a:t>
            </a:r>
          </a:p>
        </p:txBody>
      </p:sp>
      <p:sp>
        <p:nvSpPr>
          <p:cNvPr id="66" name="Rectangle 65"/>
          <p:cNvSpPr/>
          <p:nvPr/>
        </p:nvSpPr>
        <p:spPr>
          <a:xfrm>
            <a:off x="3150967" y="2574451"/>
            <a:ext cx="2509601" cy="40011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spAutoFit/>
          </a:bodyPr>
          <a:lstStyle/>
          <a:p>
            <a:pPr eaLnBrk="0" hangingPunct="0">
              <a:defRPr/>
            </a:pPr>
            <a:r>
              <a:rPr lang="en-US" sz="1300" dirty="0">
                <a:solidFill>
                  <a:schemeClr val="tx1"/>
                </a:solidFill>
                <a:latin typeface="HelvNeue for IBM Medium"/>
                <a:cs typeface="Helvetica Neue Light"/>
              </a:rPr>
              <a:t>Driving engagement and customer experience</a:t>
            </a:r>
          </a:p>
        </p:txBody>
      </p:sp>
      <p:sp>
        <p:nvSpPr>
          <p:cNvPr id="70" name="Rectangle 69"/>
          <p:cNvSpPr/>
          <p:nvPr/>
        </p:nvSpPr>
        <p:spPr>
          <a:xfrm>
            <a:off x="883643" y="2900591"/>
            <a:ext cx="2368550" cy="1846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eaLnBrk="0" hangingPunct="0">
              <a:spcBef>
                <a:spcPts val="0"/>
              </a:spcBef>
              <a:defRPr/>
            </a:pPr>
            <a:r>
              <a:rPr lang="en-US" sz="1200" dirty="0">
                <a:solidFill>
                  <a:schemeClr val="tx1"/>
                </a:solidFill>
                <a:latin typeface="HelvNeue for IBM Medium"/>
                <a:cs typeface="Helvetica Neue Light"/>
              </a:rPr>
              <a:t>Pervasive </a:t>
            </a:r>
            <a:r>
              <a:rPr lang="en-US" sz="1200" dirty="0" smtClean="0">
                <a:solidFill>
                  <a:schemeClr val="tx1"/>
                </a:solidFill>
                <a:latin typeface="HelvNeue for IBM Medium"/>
                <a:cs typeface="Helvetica Neue Light"/>
              </a:rPr>
              <a:t>Connectivity</a:t>
            </a:r>
            <a:endParaRPr lang="en-US" sz="1200" dirty="0">
              <a:solidFill>
                <a:schemeClr val="tx1"/>
              </a:solidFill>
              <a:latin typeface="HelvNeue for IBM Medium"/>
              <a:cs typeface="Helvetica Neue Light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883643" y="3965575"/>
            <a:ext cx="2060575" cy="1846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eaLnBrk="0" hangingPunct="0">
              <a:spcBef>
                <a:spcPts val="0"/>
              </a:spcBef>
              <a:defRPr/>
            </a:pPr>
            <a:r>
              <a:rPr lang="en-US" sz="1200" dirty="0">
                <a:solidFill>
                  <a:schemeClr val="tx1"/>
                </a:solidFill>
                <a:latin typeface="HelvNeue for IBM Medium"/>
                <a:cs typeface="Helvetica Neue Light"/>
              </a:rPr>
              <a:t>Embedded sensors</a:t>
            </a:r>
          </a:p>
        </p:txBody>
      </p:sp>
      <p:grpSp>
        <p:nvGrpSpPr>
          <p:cNvPr id="72" name="Group 34"/>
          <p:cNvGrpSpPr>
            <a:grpSpLocks/>
          </p:cNvGrpSpPr>
          <p:nvPr/>
        </p:nvGrpSpPr>
        <p:grpSpPr bwMode="auto">
          <a:xfrm>
            <a:off x="423150" y="2038350"/>
            <a:ext cx="283963" cy="210342"/>
            <a:chOff x="1028370" y="452660"/>
            <a:chExt cx="1130300" cy="877887"/>
          </a:xfrm>
        </p:grpSpPr>
        <p:sp>
          <p:nvSpPr>
            <p:cNvPr id="73" name="Freeform 5"/>
            <p:cNvSpPr>
              <a:spLocks noEditPoints="1"/>
            </p:cNvSpPr>
            <p:nvPr/>
          </p:nvSpPr>
          <p:spPr bwMode="auto">
            <a:xfrm>
              <a:off x="1180770" y="654272"/>
              <a:ext cx="933450" cy="471487"/>
            </a:xfrm>
            <a:custGeom>
              <a:avLst/>
              <a:gdLst>
                <a:gd name="T0" fmla="*/ 116351 w 1765"/>
                <a:gd name="T1" fmla="*/ 343572 h 892"/>
                <a:gd name="T2" fmla="*/ 135390 w 1765"/>
                <a:gd name="T3" fmla="*/ 380044 h 892"/>
                <a:gd name="T4" fmla="*/ 122697 w 1765"/>
                <a:gd name="T5" fmla="*/ 410173 h 892"/>
                <a:gd name="T6" fmla="*/ 92552 w 1765"/>
                <a:gd name="T7" fmla="*/ 421801 h 892"/>
                <a:gd name="T8" fmla="*/ 57118 w 1765"/>
                <a:gd name="T9" fmla="*/ 403301 h 892"/>
                <a:gd name="T10" fmla="*/ 50242 w 1765"/>
                <a:gd name="T11" fmla="*/ 371058 h 892"/>
                <a:gd name="T12" fmla="*/ 75628 w 1765"/>
                <a:gd name="T13" fmla="*/ 339872 h 892"/>
                <a:gd name="T14" fmla="*/ 840369 w 1765"/>
                <a:gd name="T15" fmla="*/ 49686 h 892"/>
                <a:gd name="T16" fmla="*/ 876861 w 1765"/>
                <a:gd name="T17" fmla="*/ 68714 h 892"/>
                <a:gd name="T18" fmla="*/ 882679 w 1765"/>
                <a:gd name="T19" fmla="*/ 101486 h 892"/>
                <a:gd name="T20" fmla="*/ 857822 w 1765"/>
                <a:gd name="T21" fmla="*/ 132672 h 892"/>
                <a:gd name="T22" fmla="*/ 823975 w 1765"/>
                <a:gd name="T23" fmla="*/ 132672 h 892"/>
                <a:gd name="T24" fmla="*/ 799118 w 1765"/>
                <a:gd name="T25" fmla="*/ 101486 h 892"/>
                <a:gd name="T26" fmla="*/ 805464 w 1765"/>
                <a:gd name="T27" fmla="*/ 68714 h 892"/>
                <a:gd name="T28" fmla="*/ 840369 w 1765"/>
                <a:gd name="T29" fmla="*/ 49686 h 892"/>
                <a:gd name="T30" fmla="*/ 111062 w 1765"/>
                <a:gd name="T31" fmla="*/ 470430 h 892"/>
                <a:gd name="T32" fmla="*/ 151256 w 1765"/>
                <a:gd name="T33" fmla="*/ 450873 h 892"/>
                <a:gd name="T34" fmla="*/ 177170 w 1765"/>
                <a:gd name="T35" fmla="*/ 415458 h 892"/>
                <a:gd name="T36" fmla="*/ 185103 w 1765"/>
                <a:gd name="T37" fmla="*/ 380044 h 892"/>
                <a:gd name="T38" fmla="*/ 295637 w 1765"/>
                <a:gd name="T39" fmla="*/ 216715 h 892"/>
                <a:gd name="T40" fmla="*/ 322609 w 1765"/>
                <a:gd name="T41" fmla="*/ 220943 h 892"/>
                <a:gd name="T42" fmla="*/ 460643 w 1765"/>
                <a:gd name="T43" fmla="*/ 343044 h 892"/>
                <a:gd name="T44" fmla="*/ 452710 w 1765"/>
                <a:gd name="T45" fmla="*/ 380044 h 892"/>
                <a:gd name="T46" fmla="*/ 460643 w 1765"/>
                <a:gd name="T47" fmla="*/ 415458 h 892"/>
                <a:gd name="T48" fmla="*/ 486558 w 1765"/>
                <a:gd name="T49" fmla="*/ 450873 h 892"/>
                <a:gd name="T50" fmla="*/ 526751 w 1765"/>
                <a:gd name="T51" fmla="*/ 470430 h 892"/>
                <a:gd name="T52" fmla="*/ 564301 w 1765"/>
                <a:gd name="T53" fmla="*/ 470430 h 892"/>
                <a:gd name="T54" fmla="*/ 604495 w 1765"/>
                <a:gd name="T55" fmla="*/ 450873 h 892"/>
                <a:gd name="T56" fmla="*/ 630409 w 1765"/>
                <a:gd name="T57" fmla="*/ 415458 h 892"/>
                <a:gd name="T58" fmla="*/ 638342 w 1765"/>
                <a:gd name="T59" fmla="*/ 380044 h 892"/>
                <a:gd name="T60" fmla="*/ 808109 w 1765"/>
                <a:gd name="T61" fmla="*/ 179186 h 892"/>
                <a:gd name="T62" fmla="*/ 840369 w 1765"/>
                <a:gd name="T63" fmla="*/ 185001 h 892"/>
                <a:gd name="T64" fmla="*/ 876861 w 1765"/>
                <a:gd name="T65" fmla="*/ 177600 h 892"/>
                <a:gd name="T66" fmla="*/ 912295 w 1765"/>
                <a:gd name="T67" fmla="*/ 151172 h 892"/>
                <a:gd name="T68" fmla="*/ 931863 w 1765"/>
                <a:gd name="T69" fmla="*/ 111529 h 892"/>
                <a:gd name="T70" fmla="*/ 931863 w 1765"/>
                <a:gd name="T71" fmla="*/ 74000 h 892"/>
                <a:gd name="T72" fmla="*/ 912295 w 1765"/>
                <a:gd name="T73" fmla="*/ 33829 h 892"/>
                <a:gd name="T74" fmla="*/ 876861 w 1765"/>
                <a:gd name="T75" fmla="*/ 7400 h 892"/>
                <a:gd name="T76" fmla="*/ 840369 w 1765"/>
                <a:gd name="T77" fmla="*/ 0 h 892"/>
                <a:gd name="T78" fmla="*/ 797002 w 1765"/>
                <a:gd name="T79" fmla="*/ 11100 h 892"/>
                <a:gd name="T80" fmla="*/ 764741 w 1765"/>
                <a:gd name="T81" fmla="*/ 41229 h 892"/>
                <a:gd name="T82" fmla="*/ 748875 w 1765"/>
                <a:gd name="T83" fmla="*/ 83515 h 892"/>
                <a:gd name="T84" fmla="*/ 752049 w 1765"/>
                <a:gd name="T85" fmla="*/ 115757 h 892"/>
                <a:gd name="T86" fmla="*/ 562185 w 1765"/>
                <a:gd name="T87" fmla="*/ 289129 h 892"/>
                <a:gd name="T88" fmla="*/ 532040 w 1765"/>
                <a:gd name="T89" fmla="*/ 288072 h 892"/>
                <a:gd name="T90" fmla="*/ 413045 w 1765"/>
                <a:gd name="T91" fmla="*/ 147472 h 892"/>
                <a:gd name="T92" fmla="*/ 413574 w 1765"/>
                <a:gd name="T93" fmla="*/ 109943 h 892"/>
                <a:gd name="T94" fmla="*/ 394006 w 1765"/>
                <a:gd name="T95" fmla="*/ 69772 h 892"/>
                <a:gd name="T96" fmla="*/ 358572 w 1765"/>
                <a:gd name="T97" fmla="*/ 43872 h 892"/>
                <a:gd name="T98" fmla="*/ 322609 w 1765"/>
                <a:gd name="T99" fmla="*/ 35943 h 892"/>
                <a:gd name="T100" fmla="*/ 279242 w 1765"/>
                <a:gd name="T101" fmla="*/ 47572 h 892"/>
                <a:gd name="T102" fmla="*/ 245923 w 1765"/>
                <a:gd name="T103" fmla="*/ 76643 h 892"/>
                <a:gd name="T104" fmla="*/ 231115 w 1765"/>
                <a:gd name="T105" fmla="*/ 118929 h 892"/>
                <a:gd name="T106" fmla="*/ 234817 w 1765"/>
                <a:gd name="T107" fmla="*/ 155929 h 892"/>
                <a:gd name="T108" fmla="*/ 106831 w 1765"/>
                <a:gd name="T109" fmla="*/ 288072 h 892"/>
                <a:gd name="T110" fmla="*/ 73512 w 1765"/>
                <a:gd name="T111" fmla="*/ 289129 h 892"/>
                <a:gd name="T112" fmla="*/ 33847 w 1765"/>
                <a:gd name="T113" fmla="*/ 308687 h 892"/>
                <a:gd name="T114" fmla="*/ 7404 w 1765"/>
                <a:gd name="T115" fmla="*/ 343572 h 892"/>
                <a:gd name="T116" fmla="*/ 0 w 1765"/>
                <a:gd name="T117" fmla="*/ 380044 h 892"/>
                <a:gd name="T118" fmla="*/ 11106 w 1765"/>
                <a:gd name="T119" fmla="*/ 423387 h 892"/>
                <a:gd name="T120" fmla="*/ 40194 w 1765"/>
                <a:gd name="T121" fmla="*/ 456158 h 892"/>
                <a:gd name="T122" fmla="*/ 83561 w 1765"/>
                <a:gd name="T123" fmla="*/ 471487 h 89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765" h="892">
                  <a:moveTo>
                    <a:pt x="175" y="638"/>
                  </a:moveTo>
                  <a:lnTo>
                    <a:pt x="175" y="638"/>
                  </a:lnTo>
                  <a:lnTo>
                    <a:pt x="192" y="639"/>
                  </a:lnTo>
                  <a:lnTo>
                    <a:pt x="206" y="643"/>
                  </a:lnTo>
                  <a:lnTo>
                    <a:pt x="220" y="650"/>
                  </a:lnTo>
                  <a:lnTo>
                    <a:pt x="232" y="660"/>
                  </a:lnTo>
                  <a:lnTo>
                    <a:pt x="242" y="673"/>
                  </a:lnTo>
                  <a:lnTo>
                    <a:pt x="250" y="686"/>
                  </a:lnTo>
                  <a:lnTo>
                    <a:pt x="254" y="702"/>
                  </a:lnTo>
                  <a:lnTo>
                    <a:pt x="256" y="719"/>
                  </a:lnTo>
                  <a:lnTo>
                    <a:pt x="254" y="734"/>
                  </a:lnTo>
                  <a:lnTo>
                    <a:pt x="250" y="750"/>
                  </a:lnTo>
                  <a:lnTo>
                    <a:pt x="242" y="763"/>
                  </a:lnTo>
                  <a:lnTo>
                    <a:pt x="232" y="776"/>
                  </a:lnTo>
                  <a:lnTo>
                    <a:pt x="220" y="786"/>
                  </a:lnTo>
                  <a:lnTo>
                    <a:pt x="206" y="793"/>
                  </a:lnTo>
                  <a:lnTo>
                    <a:pt x="192" y="797"/>
                  </a:lnTo>
                  <a:lnTo>
                    <a:pt x="175" y="798"/>
                  </a:lnTo>
                  <a:lnTo>
                    <a:pt x="159" y="797"/>
                  </a:lnTo>
                  <a:lnTo>
                    <a:pt x="143" y="793"/>
                  </a:lnTo>
                  <a:lnTo>
                    <a:pt x="129" y="786"/>
                  </a:lnTo>
                  <a:lnTo>
                    <a:pt x="118" y="776"/>
                  </a:lnTo>
                  <a:lnTo>
                    <a:pt x="108" y="763"/>
                  </a:lnTo>
                  <a:lnTo>
                    <a:pt x="101" y="750"/>
                  </a:lnTo>
                  <a:lnTo>
                    <a:pt x="95" y="734"/>
                  </a:lnTo>
                  <a:lnTo>
                    <a:pt x="93" y="719"/>
                  </a:lnTo>
                  <a:lnTo>
                    <a:pt x="95" y="702"/>
                  </a:lnTo>
                  <a:lnTo>
                    <a:pt x="101" y="686"/>
                  </a:lnTo>
                  <a:lnTo>
                    <a:pt x="108" y="673"/>
                  </a:lnTo>
                  <a:lnTo>
                    <a:pt x="118" y="660"/>
                  </a:lnTo>
                  <a:lnTo>
                    <a:pt x="129" y="650"/>
                  </a:lnTo>
                  <a:lnTo>
                    <a:pt x="143" y="643"/>
                  </a:lnTo>
                  <a:lnTo>
                    <a:pt x="159" y="639"/>
                  </a:lnTo>
                  <a:lnTo>
                    <a:pt x="175" y="638"/>
                  </a:lnTo>
                  <a:close/>
                  <a:moveTo>
                    <a:pt x="1589" y="94"/>
                  </a:moveTo>
                  <a:lnTo>
                    <a:pt x="1589" y="94"/>
                  </a:lnTo>
                  <a:lnTo>
                    <a:pt x="1607" y="95"/>
                  </a:lnTo>
                  <a:lnTo>
                    <a:pt x="1622" y="101"/>
                  </a:lnTo>
                  <a:lnTo>
                    <a:pt x="1635" y="108"/>
                  </a:lnTo>
                  <a:lnTo>
                    <a:pt x="1648" y="118"/>
                  </a:lnTo>
                  <a:lnTo>
                    <a:pt x="1658" y="130"/>
                  </a:lnTo>
                  <a:lnTo>
                    <a:pt x="1665" y="144"/>
                  </a:lnTo>
                  <a:lnTo>
                    <a:pt x="1669" y="159"/>
                  </a:lnTo>
                  <a:lnTo>
                    <a:pt x="1671" y="175"/>
                  </a:lnTo>
                  <a:lnTo>
                    <a:pt x="1669" y="192"/>
                  </a:lnTo>
                  <a:lnTo>
                    <a:pt x="1665" y="206"/>
                  </a:lnTo>
                  <a:lnTo>
                    <a:pt x="1658" y="221"/>
                  </a:lnTo>
                  <a:lnTo>
                    <a:pt x="1648" y="232"/>
                  </a:lnTo>
                  <a:lnTo>
                    <a:pt x="1635" y="242"/>
                  </a:lnTo>
                  <a:lnTo>
                    <a:pt x="1622" y="251"/>
                  </a:lnTo>
                  <a:lnTo>
                    <a:pt x="1607" y="255"/>
                  </a:lnTo>
                  <a:lnTo>
                    <a:pt x="1589" y="256"/>
                  </a:lnTo>
                  <a:lnTo>
                    <a:pt x="1574" y="255"/>
                  </a:lnTo>
                  <a:lnTo>
                    <a:pt x="1558" y="251"/>
                  </a:lnTo>
                  <a:lnTo>
                    <a:pt x="1545" y="242"/>
                  </a:lnTo>
                  <a:lnTo>
                    <a:pt x="1533" y="232"/>
                  </a:lnTo>
                  <a:lnTo>
                    <a:pt x="1523" y="221"/>
                  </a:lnTo>
                  <a:lnTo>
                    <a:pt x="1515" y="206"/>
                  </a:lnTo>
                  <a:lnTo>
                    <a:pt x="1511" y="192"/>
                  </a:lnTo>
                  <a:lnTo>
                    <a:pt x="1508" y="175"/>
                  </a:lnTo>
                  <a:lnTo>
                    <a:pt x="1511" y="159"/>
                  </a:lnTo>
                  <a:lnTo>
                    <a:pt x="1515" y="144"/>
                  </a:lnTo>
                  <a:lnTo>
                    <a:pt x="1523" y="130"/>
                  </a:lnTo>
                  <a:lnTo>
                    <a:pt x="1533" y="118"/>
                  </a:lnTo>
                  <a:lnTo>
                    <a:pt x="1545" y="108"/>
                  </a:lnTo>
                  <a:lnTo>
                    <a:pt x="1558" y="101"/>
                  </a:lnTo>
                  <a:lnTo>
                    <a:pt x="1574" y="95"/>
                  </a:lnTo>
                  <a:lnTo>
                    <a:pt x="1589" y="94"/>
                  </a:lnTo>
                  <a:close/>
                  <a:moveTo>
                    <a:pt x="175" y="892"/>
                  </a:moveTo>
                  <a:lnTo>
                    <a:pt x="175" y="892"/>
                  </a:lnTo>
                  <a:lnTo>
                    <a:pt x="193" y="892"/>
                  </a:lnTo>
                  <a:lnTo>
                    <a:pt x="210" y="890"/>
                  </a:lnTo>
                  <a:lnTo>
                    <a:pt x="227" y="885"/>
                  </a:lnTo>
                  <a:lnTo>
                    <a:pt x="243" y="880"/>
                  </a:lnTo>
                  <a:lnTo>
                    <a:pt x="259" y="873"/>
                  </a:lnTo>
                  <a:lnTo>
                    <a:pt x="273" y="863"/>
                  </a:lnTo>
                  <a:lnTo>
                    <a:pt x="286" y="853"/>
                  </a:lnTo>
                  <a:lnTo>
                    <a:pt x="298" y="841"/>
                  </a:lnTo>
                  <a:lnTo>
                    <a:pt x="310" y="830"/>
                  </a:lnTo>
                  <a:lnTo>
                    <a:pt x="320" y="816"/>
                  </a:lnTo>
                  <a:lnTo>
                    <a:pt x="328" y="801"/>
                  </a:lnTo>
                  <a:lnTo>
                    <a:pt x="335" y="786"/>
                  </a:lnTo>
                  <a:lnTo>
                    <a:pt x="341" y="770"/>
                  </a:lnTo>
                  <a:lnTo>
                    <a:pt x="345" y="753"/>
                  </a:lnTo>
                  <a:lnTo>
                    <a:pt x="348" y="736"/>
                  </a:lnTo>
                  <a:lnTo>
                    <a:pt x="350" y="719"/>
                  </a:lnTo>
                  <a:lnTo>
                    <a:pt x="348" y="700"/>
                  </a:lnTo>
                  <a:lnTo>
                    <a:pt x="347" y="683"/>
                  </a:lnTo>
                  <a:lnTo>
                    <a:pt x="343" y="668"/>
                  </a:lnTo>
                  <a:lnTo>
                    <a:pt x="337" y="650"/>
                  </a:lnTo>
                  <a:lnTo>
                    <a:pt x="559" y="410"/>
                  </a:lnTo>
                  <a:lnTo>
                    <a:pt x="570" y="413"/>
                  </a:lnTo>
                  <a:lnTo>
                    <a:pt x="583" y="416"/>
                  </a:lnTo>
                  <a:lnTo>
                    <a:pt x="597" y="417"/>
                  </a:lnTo>
                  <a:lnTo>
                    <a:pt x="610" y="418"/>
                  </a:lnTo>
                  <a:lnTo>
                    <a:pt x="623" y="417"/>
                  </a:lnTo>
                  <a:lnTo>
                    <a:pt x="636" y="416"/>
                  </a:lnTo>
                  <a:lnTo>
                    <a:pt x="660" y="410"/>
                  </a:lnTo>
                  <a:lnTo>
                    <a:pt x="871" y="649"/>
                  </a:lnTo>
                  <a:lnTo>
                    <a:pt x="865" y="665"/>
                  </a:lnTo>
                  <a:lnTo>
                    <a:pt x="861" y="682"/>
                  </a:lnTo>
                  <a:lnTo>
                    <a:pt x="858" y="700"/>
                  </a:lnTo>
                  <a:lnTo>
                    <a:pt x="856" y="719"/>
                  </a:lnTo>
                  <a:lnTo>
                    <a:pt x="858" y="736"/>
                  </a:lnTo>
                  <a:lnTo>
                    <a:pt x="861" y="753"/>
                  </a:lnTo>
                  <a:lnTo>
                    <a:pt x="865" y="770"/>
                  </a:lnTo>
                  <a:lnTo>
                    <a:pt x="871" y="786"/>
                  </a:lnTo>
                  <a:lnTo>
                    <a:pt x="878" y="801"/>
                  </a:lnTo>
                  <a:lnTo>
                    <a:pt x="886" y="816"/>
                  </a:lnTo>
                  <a:lnTo>
                    <a:pt x="896" y="830"/>
                  </a:lnTo>
                  <a:lnTo>
                    <a:pt x="908" y="841"/>
                  </a:lnTo>
                  <a:lnTo>
                    <a:pt x="920" y="853"/>
                  </a:lnTo>
                  <a:lnTo>
                    <a:pt x="933" y="863"/>
                  </a:lnTo>
                  <a:lnTo>
                    <a:pt x="948" y="873"/>
                  </a:lnTo>
                  <a:lnTo>
                    <a:pt x="963" y="880"/>
                  </a:lnTo>
                  <a:lnTo>
                    <a:pt x="979" y="885"/>
                  </a:lnTo>
                  <a:lnTo>
                    <a:pt x="996" y="890"/>
                  </a:lnTo>
                  <a:lnTo>
                    <a:pt x="1013" y="892"/>
                  </a:lnTo>
                  <a:lnTo>
                    <a:pt x="1031" y="892"/>
                  </a:lnTo>
                  <a:lnTo>
                    <a:pt x="1049" y="892"/>
                  </a:lnTo>
                  <a:lnTo>
                    <a:pt x="1067" y="890"/>
                  </a:lnTo>
                  <a:lnTo>
                    <a:pt x="1083" y="885"/>
                  </a:lnTo>
                  <a:lnTo>
                    <a:pt x="1100" y="880"/>
                  </a:lnTo>
                  <a:lnTo>
                    <a:pt x="1114" y="873"/>
                  </a:lnTo>
                  <a:lnTo>
                    <a:pt x="1130" y="863"/>
                  </a:lnTo>
                  <a:lnTo>
                    <a:pt x="1143" y="853"/>
                  </a:lnTo>
                  <a:lnTo>
                    <a:pt x="1155" y="841"/>
                  </a:lnTo>
                  <a:lnTo>
                    <a:pt x="1167" y="830"/>
                  </a:lnTo>
                  <a:lnTo>
                    <a:pt x="1177" y="816"/>
                  </a:lnTo>
                  <a:lnTo>
                    <a:pt x="1185" y="801"/>
                  </a:lnTo>
                  <a:lnTo>
                    <a:pt x="1192" y="786"/>
                  </a:lnTo>
                  <a:lnTo>
                    <a:pt x="1198" y="770"/>
                  </a:lnTo>
                  <a:lnTo>
                    <a:pt x="1202" y="753"/>
                  </a:lnTo>
                  <a:lnTo>
                    <a:pt x="1205" y="736"/>
                  </a:lnTo>
                  <a:lnTo>
                    <a:pt x="1207" y="719"/>
                  </a:lnTo>
                  <a:lnTo>
                    <a:pt x="1205" y="703"/>
                  </a:lnTo>
                  <a:lnTo>
                    <a:pt x="1204" y="689"/>
                  </a:lnTo>
                  <a:lnTo>
                    <a:pt x="1199" y="675"/>
                  </a:lnTo>
                  <a:lnTo>
                    <a:pt x="1195" y="660"/>
                  </a:lnTo>
                  <a:lnTo>
                    <a:pt x="1528" y="339"/>
                  </a:lnTo>
                  <a:lnTo>
                    <a:pt x="1542" y="343"/>
                  </a:lnTo>
                  <a:lnTo>
                    <a:pt x="1558" y="347"/>
                  </a:lnTo>
                  <a:lnTo>
                    <a:pt x="1574" y="350"/>
                  </a:lnTo>
                  <a:lnTo>
                    <a:pt x="1589" y="350"/>
                  </a:lnTo>
                  <a:lnTo>
                    <a:pt x="1608" y="349"/>
                  </a:lnTo>
                  <a:lnTo>
                    <a:pt x="1625" y="347"/>
                  </a:lnTo>
                  <a:lnTo>
                    <a:pt x="1642" y="343"/>
                  </a:lnTo>
                  <a:lnTo>
                    <a:pt x="1658" y="336"/>
                  </a:lnTo>
                  <a:lnTo>
                    <a:pt x="1673" y="329"/>
                  </a:lnTo>
                  <a:lnTo>
                    <a:pt x="1688" y="320"/>
                  </a:lnTo>
                  <a:lnTo>
                    <a:pt x="1702" y="310"/>
                  </a:lnTo>
                  <a:lnTo>
                    <a:pt x="1713" y="299"/>
                  </a:lnTo>
                  <a:lnTo>
                    <a:pt x="1725" y="286"/>
                  </a:lnTo>
                  <a:lnTo>
                    <a:pt x="1735" y="273"/>
                  </a:lnTo>
                  <a:lnTo>
                    <a:pt x="1743" y="259"/>
                  </a:lnTo>
                  <a:lnTo>
                    <a:pt x="1752" y="243"/>
                  </a:lnTo>
                  <a:lnTo>
                    <a:pt x="1757" y="228"/>
                  </a:lnTo>
                  <a:lnTo>
                    <a:pt x="1762" y="211"/>
                  </a:lnTo>
                  <a:lnTo>
                    <a:pt x="1765" y="194"/>
                  </a:lnTo>
                  <a:lnTo>
                    <a:pt x="1765" y="175"/>
                  </a:lnTo>
                  <a:lnTo>
                    <a:pt x="1765" y="158"/>
                  </a:lnTo>
                  <a:lnTo>
                    <a:pt x="1762" y="140"/>
                  </a:lnTo>
                  <a:lnTo>
                    <a:pt x="1757" y="124"/>
                  </a:lnTo>
                  <a:lnTo>
                    <a:pt x="1752" y="107"/>
                  </a:lnTo>
                  <a:lnTo>
                    <a:pt x="1743" y="93"/>
                  </a:lnTo>
                  <a:lnTo>
                    <a:pt x="1735" y="78"/>
                  </a:lnTo>
                  <a:lnTo>
                    <a:pt x="1725" y="64"/>
                  </a:lnTo>
                  <a:lnTo>
                    <a:pt x="1713" y="51"/>
                  </a:lnTo>
                  <a:lnTo>
                    <a:pt x="1702" y="40"/>
                  </a:lnTo>
                  <a:lnTo>
                    <a:pt x="1688" y="30"/>
                  </a:lnTo>
                  <a:lnTo>
                    <a:pt x="1673" y="21"/>
                  </a:lnTo>
                  <a:lnTo>
                    <a:pt x="1658" y="14"/>
                  </a:lnTo>
                  <a:lnTo>
                    <a:pt x="1642" y="9"/>
                  </a:lnTo>
                  <a:lnTo>
                    <a:pt x="1625" y="4"/>
                  </a:lnTo>
                  <a:lnTo>
                    <a:pt x="1608" y="1"/>
                  </a:lnTo>
                  <a:lnTo>
                    <a:pt x="1589" y="0"/>
                  </a:lnTo>
                  <a:lnTo>
                    <a:pt x="1572" y="1"/>
                  </a:lnTo>
                  <a:lnTo>
                    <a:pt x="1555" y="4"/>
                  </a:lnTo>
                  <a:lnTo>
                    <a:pt x="1538" y="9"/>
                  </a:lnTo>
                  <a:lnTo>
                    <a:pt x="1523" y="14"/>
                  </a:lnTo>
                  <a:lnTo>
                    <a:pt x="1507" y="21"/>
                  </a:lnTo>
                  <a:lnTo>
                    <a:pt x="1493" y="30"/>
                  </a:lnTo>
                  <a:lnTo>
                    <a:pt x="1478" y="40"/>
                  </a:lnTo>
                  <a:lnTo>
                    <a:pt x="1467" y="51"/>
                  </a:lnTo>
                  <a:lnTo>
                    <a:pt x="1456" y="64"/>
                  </a:lnTo>
                  <a:lnTo>
                    <a:pt x="1446" y="78"/>
                  </a:lnTo>
                  <a:lnTo>
                    <a:pt x="1436" y="93"/>
                  </a:lnTo>
                  <a:lnTo>
                    <a:pt x="1429" y="107"/>
                  </a:lnTo>
                  <a:lnTo>
                    <a:pt x="1423" y="124"/>
                  </a:lnTo>
                  <a:lnTo>
                    <a:pt x="1419" y="140"/>
                  </a:lnTo>
                  <a:lnTo>
                    <a:pt x="1416" y="158"/>
                  </a:lnTo>
                  <a:lnTo>
                    <a:pt x="1416" y="175"/>
                  </a:lnTo>
                  <a:lnTo>
                    <a:pt x="1416" y="191"/>
                  </a:lnTo>
                  <a:lnTo>
                    <a:pt x="1419" y="205"/>
                  </a:lnTo>
                  <a:lnTo>
                    <a:pt x="1422" y="219"/>
                  </a:lnTo>
                  <a:lnTo>
                    <a:pt x="1426" y="232"/>
                  </a:lnTo>
                  <a:lnTo>
                    <a:pt x="1094" y="555"/>
                  </a:lnTo>
                  <a:lnTo>
                    <a:pt x="1078" y="551"/>
                  </a:lnTo>
                  <a:lnTo>
                    <a:pt x="1063" y="547"/>
                  </a:lnTo>
                  <a:lnTo>
                    <a:pt x="1047" y="544"/>
                  </a:lnTo>
                  <a:lnTo>
                    <a:pt x="1031" y="544"/>
                  </a:lnTo>
                  <a:lnTo>
                    <a:pt x="1019" y="544"/>
                  </a:lnTo>
                  <a:lnTo>
                    <a:pt x="1006" y="545"/>
                  </a:lnTo>
                  <a:lnTo>
                    <a:pt x="982" y="551"/>
                  </a:lnTo>
                  <a:lnTo>
                    <a:pt x="771" y="313"/>
                  </a:lnTo>
                  <a:lnTo>
                    <a:pt x="777" y="296"/>
                  </a:lnTo>
                  <a:lnTo>
                    <a:pt x="781" y="279"/>
                  </a:lnTo>
                  <a:lnTo>
                    <a:pt x="784" y="262"/>
                  </a:lnTo>
                  <a:lnTo>
                    <a:pt x="785" y="243"/>
                  </a:lnTo>
                  <a:lnTo>
                    <a:pt x="785" y="225"/>
                  </a:lnTo>
                  <a:lnTo>
                    <a:pt x="782" y="208"/>
                  </a:lnTo>
                  <a:lnTo>
                    <a:pt x="778" y="191"/>
                  </a:lnTo>
                  <a:lnTo>
                    <a:pt x="771" y="175"/>
                  </a:lnTo>
                  <a:lnTo>
                    <a:pt x="764" y="159"/>
                  </a:lnTo>
                  <a:lnTo>
                    <a:pt x="755" y="145"/>
                  </a:lnTo>
                  <a:lnTo>
                    <a:pt x="745" y="132"/>
                  </a:lnTo>
                  <a:lnTo>
                    <a:pt x="734" y="120"/>
                  </a:lnTo>
                  <a:lnTo>
                    <a:pt x="721" y="108"/>
                  </a:lnTo>
                  <a:lnTo>
                    <a:pt x="708" y="98"/>
                  </a:lnTo>
                  <a:lnTo>
                    <a:pt x="694" y="90"/>
                  </a:lnTo>
                  <a:lnTo>
                    <a:pt x="678" y="83"/>
                  </a:lnTo>
                  <a:lnTo>
                    <a:pt x="663" y="77"/>
                  </a:lnTo>
                  <a:lnTo>
                    <a:pt x="646" y="73"/>
                  </a:lnTo>
                  <a:lnTo>
                    <a:pt x="629" y="70"/>
                  </a:lnTo>
                  <a:lnTo>
                    <a:pt x="610" y="68"/>
                  </a:lnTo>
                  <a:lnTo>
                    <a:pt x="593" y="70"/>
                  </a:lnTo>
                  <a:lnTo>
                    <a:pt x="576" y="73"/>
                  </a:lnTo>
                  <a:lnTo>
                    <a:pt x="559" y="77"/>
                  </a:lnTo>
                  <a:lnTo>
                    <a:pt x="542" y="83"/>
                  </a:lnTo>
                  <a:lnTo>
                    <a:pt x="528" y="90"/>
                  </a:lnTo>
                  <a:lnTo>
                    <a:pt x="513" y="98"/>
                  </a:lnTo>
                  <a:lnTo>
                    <a:pt x="499" y="108"/>
                  </a:lnTo>
                  <a:lnTo>
                    <a:pt x="486" y="120"/>
                  </a:lnTo>
                  <a:lnTo>
                    <a:pt x="476" y="132"/>
                  </a:lnTo>
                  <a:lnTo>
                    <a:pt x="465" y="145"/>
                  </a:lnTo>
                  <a:lnTo>
                    <a:pt x="456" y="159"/>
                  </a:lnTo>
                  <a:lnTo>
                    <a:pt x="449" y="175"/>
                  </a:lnTo>
                  <a:lnTo>
                    <a:pt x="444" y="191"/>
                  </a:lnTo>
                  <a:lnTo>
                    <a:pt x="439" y="208"/>
                  </a:lnTo>
                  <a:lnTo>
                    <a:pt x="437" y="225"/>
                  </a:lnTo>
                  <a:lnTo>
                    <a:pt x="435" y="243"/>
                  </a:lnTo>
                  <a:lnTo>
                    <a:pt x="437" y="261"/>
                  </a:lnTo>
                  <a:lnTo>
                    <a:pt x="439" y="278"/>
                  </a:lnTo>
                  <a:lnTo>
                    <a:pt x="444" y="295"/>
                  </a:lnTo>
                  <a:lnTo>
                    <a:pt x="449" y="310"/>
                  </a:lnTo>
                  <a:lnTo>
                    <a:pt x="227" y="552"/>
                  </a:lnTo>
                  <a:lnTo>
                    <a:pt x="214" y="548"/>
                  </a:lnTo>
                  <a:lnTo>
                    <a:pt x="202" y="545"/>
                  </a:lnTo>
                  <a:lnTo>
                    <a:pt x="189" y="544"/>
                  </a:lnTo>
                  <a:lnTo>
                    <a:pt x="175" y="544"/>
                  </a:lnTo>
                  <a:lnTo>
                    <a:pt x="158" y="544"/>
                  </a:lnTo>
                  <a:lnTo>
                    <a:pt x="139" y="547"/>
                  </a:lnTo>
                  <a:lnTo>
                    <a:pt x="123" y="551"/>
                  </a:lnTo>
                  <a:lnTo>
                    <a:pt x="106" y="557"/>
                  </a:lnTo>
                  <a:lnTo>
                    <a:pt x="92" y="565"/>
                  </a:lnTo>
                  <a:lnTo>
                    <a:pt x="76" y="574"/>
                  </a:lnTo>
                  <a:lnTo>
                    <a:pt x="64" y="584"/>
                  </a:lnTo>
                  <a:lnTo>
                    <a:pt x="51" y="595"/>
                  </a:lnTo>
                  <a:lnTo>
                    <a:pt x="39" y="606"/>
                  </a:lnTo>
                  <a:lnTo>
                    <a:pt x="29" y="621"/>
                  </a:lnTo>
                  <a:lnTo>
                    <a:pt x="21" y="635"/>
                  </a:lnTo>
                  <a:lnTo>
                    <a:pt x="14" y="650"/>
                  </a:lnTo>
                  <a:lnTo>
                    <a:pt x="8" y="666"/>
                  </a:lnTo>
                  <a:lnTo>
                    <a:pt x="4" y="683"/>
                  </a:lnTo>
                  <a:lnTo>
                    <a:pt x="1" y="700"/>
                  </a:lnTo>
                  <a:lnTo>
                    <a:pt x="0" y="719"/>
                  </a:lnTo>
                  <a:lnTo>
                    <a:pt x="1" y="736"/>
                  </a:lnTo>
                  <a:lnTo>
                    <a:pt x="4" y="753"/>
                  </a:lnTo>
                  <a:lnTo>
                    <a:pt x="8" y="770"/>
                  </a:lnTo>
                  <a:lnTo>
                    <a:pt x="14" y="786"/>
                  </a:lnTo>
                  <a:lnTo>
                    <a:pt x="21" y="801"/>
                  </a:lnTo>
                  <a:lnTo>
                    <a:pt x="29" y="816"/>
                  </a:lnTo>
                  <a:lnTo>
                    <a:pt x="39" y="830"/>
                  </a:lnTo>
                  <a:lnTo>
                    <a:pt x="51" y="841"/>
                  </a:lnTo>
                  <a:lnTo>
                    <a:pt x="64" y="853"/>
                  </a:lnTo>
                  <a:lnTo>
                    <a:pt x="76" y="863"/>
                  </a:lnTo>
                  <a:lnTo>
                    <a:pt x="92" y="873"/>
                  </a:lnTo>
                  <a:lnTo>
                    <a:pt x="106" y="880"/>
                  </a:lnTo>
                  <a:lnTo>
                    <a:pt x="123" y="885"/>
                  </a:lnTo>
                  <a:lnTo>
                    <a:pt x="139" y="890"/>
                  </a:lnTo>
                  <a:lnTo>
                    <a:pt x="158" y="892"/>
                  </a:lnTo>
                  <a:lnTo>
                    <a:pt x="175" y="89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75" name="Freeform 6"/>
            <p:cNvSpPr>
              <a:spLocks/>
            </p:cNvSpPr>
            <p:nvPr/>
          </p:nvSpPr>
          <p:spPr bwMode="auto">
            <a:xfrm>
              <a:off x="1028370" y="452660"/>
              <a:ext cx="1130300" cy="877887"/>
            </a:xfrm>
            <a:custGeom>
              <a:avLst/>
              <a:gdLst>
                <a:gd name="T0" fmla="*/ 1084284 w 2137"/>
                <a:gd name="T1" fmla="*/ 785171 h 1657"/>
                <a:gd name="T2" fmla="*/ 92032 w 2137"/>
                <a:gd name="T3" fmla="*/ 785171 h 1657"/>
                <a:gd name="T4" fmla="*/ 92032 w 2137"/>
                <a:gd name="T5" fmla="*/ 46093 h 1657"/>
                <a:gd name="T6" fmla="*/ 92032 w 2137"/>
                <a:gd name="T7" fmla="*/ 46093 h 1657"/>
                <a:gd name="T8" fmla="*/ 92032 w 2137"/>
                <a:gd name="T9" fmla="*/ 41855 h 1657"/>
                <a:gd name="T10" fmla="*/ 90974 w 2137"/>
                <a:gd name="T11" fmla="*/ 37086 h 1657"/>
                <a:gd name="T12" fmla="*/ 90445 w 2137"/>
                <a:gd name="T13" fmla="*/ 32848 h 1657"/>
                <a:gd name="T14" fmla="*/ 88858 w 2137"/>
                <a:gd name="T15" fmla="*/ 29139 h 1657"/>
                <a:gd name="T16" fmla="*/ 84098 w 2137"/>
                <a:gd name="T17" fmla="*/ 20662 h 1657"/>
                <a:gd name="T18" fmla="*/ 78280 w 2137"/>
                <a:gd name="T19" fmla="*/ 13775 h 1657"/>
                <a:gd name="T20" fmla="*/ 71404 w 2137"/>
                <a:gd name="T21" fmla="*/ 8477 h 1657"/>
                <a:gd name="T22" fmla="*/ 63999 w 2137"/>
                <a:gd name="T23" fmla="*/ 4238 h 1657"/>
                <a:gd name="T24" fmla="*/ 59239 w 2137"/>
                <a:gd name="T25" fmla="*/ 2649 h 1657"/>
                <a:gd name="T26" fmla="*/ 55536 w 2137"/>
                <a:gd name="T27" fmla="*/ 1589 h 1657"/>
                <a:gd name="T28" fmla="*/ 50247 w 2137"/>
                <a:gd name="T29" fmla="*/ 1060 h 1657"/>
                <a:gd name="T30" fmla="*/ 46016 w 2137"/>
                <a:gd name="T31" fmla="*/ 0 h 1657"/>
                <a:gd name="T32" fmla="*/ 46016 w 2137"/>
                <a:gd name="T33" fmla="*/ 0 h 1657"/>
                <a:gd name="T34" fmla="*/ 41256 w 2137"/>
                <a:gd name="T35" fmla="*/ 1060 h 1657"/>
                <a:gd name="T36" fmla="*/ 37024 w 2137"/>
                <a:gd name="T37" fmla="*/ 1589 h 1657"/>
                <a:gd name="T38" fmla="*/ 32264 w 2137"/>
                <a:gd name="T39" fmla="*/ 2649 h 1657"/>
                <a:gd name="T40" fmla="*/ 28033 w 2137"/>
                <a:gd name="T41" fmla="*/ 4238 h 1657"/>
                <a:gd name="T42" fmla="*/ 20099 w 2137"/>
                <a:gd name="T43" fmla="*/ 8477 h 1657"/>
                <a:gd name="T44" fmla="*/ 13752 w 2137"/>
                <a:gd name="T45" fmla="*/ 13775 h 1657"/>
                <a:gd name="T46" fmla="*/ 8463 w 2137"/>
                <a:gd name="T47" fmla="*/ 20662 h 1657"/>
                <a:gd name="T48" fmla="*/ 3702 w 2137"/>
                <a:gd name="T49" fmla="*/ 29139 h 1657"/>
                <a:gd name="T50" fmla="*/ 2116 w 2137"/>
                <a:gd name="T51" fmla="*/ 32848 h 1657"/>
                <a:gd name="T52" fmla="*/ 529 w 2137"/>
                <a:gd name="T53" fmla="*/ 37086 h 1657"/>
                <a:gd name="T54" fmla="*/ 0 w 2137"/>
                <a:gd name="T55" fmla="*/ 41855 h 1657"/>
                <a:gd name="T56" fmla="*/ 0 w 2137"/>
                <a:gd name="T57" fmla="*/ 46093 h 1657"/>
                <a:gd name="T58" fmla="*/ 0 w 2137"/>
                <a:gd name="T59" fmla="*/ 877887 h 1657"/>
                <a:gd name="T60" fmla="*/ 1084284 w 2137"/>
                <a:gd name="T61" fmla="*/ 877887 h 1657"/>
                <a:gd name="T62" fmla="*/ 1084284 w 2137"/>
                <a:gd name="T63" fmla="*/ 877887 h 1657"/>
                <a:gd name="T64" fmla="*/ 1088515 w 2137"/>
                <a:gd name="T65" fmla="*/ 877357 h 1657"/>
                <a:gd name="T66" fmla="*/ 1093276 w 2137"/>
                <a:gd name="T67" fmla="*/ 876298 h 1657"/>
                <a:gd name="T68" fmla="*/ 1097507 w 2137"/>
                <a:gd name="T69" fmla="*/ 875768 h 1657"/>
                <a:gd name="T70" fmla="*/ 1101209 w 2137"/>
                <a:gd name="T71" fmla="*/ 874178 h 1657"/>
                <a:gd name="T72" fmla="*/ 1109672 w 2137"/>
                <a:gd name="T73" fmla="*/ 869410 h 1657"/>
                <a:gd name="T74" fmla="*/ 1116548 w 2137"/>
                <a:gd name="T75" fmla="*/ 864642 h 1657"/>
                <a:gd name="T76" fmla="*/ 1121837 w 2137"/>
                <a:gd name="T77" fmla="*/ 857754 h 1657"/>
                <a:gd name="T78" fmla="*/ 1126069 w 2137"/>
                <a:gd name="T79" fmla="*/ 849278 h 1657"/>
                <a:gd name="T80" fmla="*/ 1127655 w 2137"/>
                <a:gd name="T81" fmla="*/ 845569 h 1657"/>
                <a:gd name="T82" fmla="*/ 1129242 w 2137"/>
                <a:gd name="T83" fmla="*/ 840801 h 1657"/>
                <a:gd name="T84" fmla="*/ 1130300 w 2137"/>
                <a:gd name="T85" fmla="*/ 836562 h 1657"/>
                <a:gd name="T86" fmla="*/ 1130300 w 2137"/>
                <a:gd name="T87" fmla="*/ 831264 h 1657"/>
                <a:gd name="T88" fmla="*/ 1130300 w 2137"/>
                <a:gd name="T89" fmla="*/ 831264 h 1657"/>
                <a:gd name="T90" fmla="*/ 1130300 w 2137"/>
                <a:gd name="T91" fmla="*/ 826496 h 1657"/>
                <a:gd name="T92" fmla="*/ 1129242 w 2137"/>
                <a:gd name="T93" fmla="*/ 822257 h 1657"/>
                <a:gd name="T94" fmla="*/ 1127655 w 2137"/>
                <a:gd name="T95" fmla="*/ 817489 h 1657"/>
                <a:gd name="T96" fmla="*/ 1126069 w 2137"/>
                <a:gd name="T97" fmla="*/ 813781 h 1657"/>
                <a:gd name="T98" fmla="*/ 1121837 w 2137"/>
                <a:gd name="T99" fmla="*/ 805304 h 1657"/>
                <a:gd name="T100" fmla="*/ 1116548 w 2137"/>
                <a:gd name="T101" fmla="*/ 798946 h 1657"/>
                <a:gd name="T102" fmla="*/ 1109672 w 2137"/>
                <a:gd name="T103" fmla="*/ 793648 h 1657"/>
                <a:gd name="T104" fmla="*/ 1101209 w 2137"/>
                <a:gd name="T105" fmla="*/ 788880 h 1657"/>
                <a:gd name="T106" fmla="*/ 1097507 w 2137"/>
                <a:gd name="T107" fmla="*/ 787290 h 1657"/>
                <a:gd name="T108" fmla="*/ 1093276 w 2137"/>
                <a:gd name="T109" fmla="*/ 786761 h 1657"/>
                <a:gd name="T110" fmla="*/ 1088515 w 2137"/>
                <a:gd name="T111" fmla="*/ 785701 h 1657"/>
                <a:gd name="T112" fmla="*/ 1084284 w 2137"/>
                <a:gd name="T113" fmla="*/ 785171 h 1657"/>
                <a:gd name="T114" fmla="*/ 1084284 w 2137"/>
                <a:gd name="T115" fmla="*/ 785171 h 165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137" h="1657">
                  <a:moveTo>
                    <a:pt x="2050" y="1482"/>
                  </a:moveTo>
                  <a:lnTo>
                    <a:pt x="174" y="1482"/>
                  </a:lnTo>
                  <a:lnTo>
                    <a:pt x="174" y="87"/>
                  </a:lnTo>
                  <a:lnTo>
                    <a:pt x="174" y="79"/>
                  </a:lnTo>
                  <a:lnTo>
                    <a:pt x="172" y="70"/>
                  </a:lnTo>
                  <a:lnTo>
                    <a:pt x="171" y="62"/>
                  </a:lnTo>
                  <a:lnTo>
                    <a:pt x="168" y="55"/>
                  </a:lnTo>
                  <a:lnTo>
                    <a:pt x="159" y="39"/>
                  </a:lnTo>
                  <a:lnTo>
                    <a:pt x="148" y="26"/>
                  </a:lnTo>
                  <a:lnTo>
                    <a:pt x="135" y="16"/>
                  </a:lnTo>
                  <a:lnTo>
                    <a:pt x="121" y="8"/>
                  </a:lnTo>
                  <a:lnTo>
                    <a:pt x="112" y="5"/>
                  </a:lnTo>
                  <a:lnTo>
                    <a:pt x="105" y="3"/>
                  </a:lnTo>
                  <a:lnTo>
                    <a:pt x="95" y="2"/>
                  </a:lnTo>
                  <a:lnTo>
                    <a:pt x="87" y="0"/>
                  </a:lnTo>
                  <a:lnTo>
                    <a:pt x="78" y="2"/>
                  </a:lnTo>
                  <a:lnTo>
                    <a:pt x="70" y="3"/>
                  </a:lnTo>
                  <a:lnTo>
                    <a:pt x="61" y="5"/>
                  </a:lnTo>
                  <a:lnTo>
                    <a:pt x="53" y="8"/>
                  </a:lnTo>
                  <a:lnTo>
                    <a:pt x="38" y="16"/>
                  </a:lnTo>
                  <a:lnTo>
                    <a:pt x="26" y="26"/>
                  </a:lnTo>
                  <a:lnTo>
                    <a:pt x="16" y="39"/>
                  </a:lnTo>
                  <a:lnTo>
                    <a:pt x="7" y="55"/>
                  </a:lnTo>
                  <a:lnTo>
                    <a:pt x="4" y="62"/>
                  </a:lnTo>
                  <a:lnTo>
                    <a:pt x="1" y="70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0" y="1657"/>
                  </a:lnTo>
                  <a:lnTo>
                    <a:pt x="2050" y="1657"/>
                  </a:lnTo>
                  <a:lnTo>
                    <a:pt x="2058" y="1656"/>
                  </a:lnTo>
                  <a:lnTo>
                    <a:pt x="2067" y="1654"/>
                  </a:lnTo>
                  <a:lnTo>
                    <a:pt x="2075" y="1653"/>
                  </a:lnTo>
                  <a:lnTo>
                    <a:pt x="2082" y="1650"/>
                  </a:lnTo>
                  <a:lnTo>
                    <a:pt x="2098" y="1641"/>
                  </a:lnTo>
                  <a:lnTo>
                    <a:pt x="2111" y="1632"/>
                  </a:lnTo>
                  <a:lnTo>
                    <a:pt x="2121" y="1619"/>
                  </a:lnTo>
                  <a:lnTo>
                    <a:pt x="2129" y="1603"/>
                  </a:lnTo>
                  <a:lnTo>
                    <a:pt x="2132" y="1596"/>
                  </a:lnTo>
                  <a:lnTo>
                    <a:pt x="2135" y="1587"/>
                  </a:lnTo>
                  <a:lnTo>
                    <a:pt x="2137" y="1579"/>
                  </a:lnTo>
                  <a:lnTo>
                    <a:pt x="2137" y="1569"/>
                  </a:lnTo>
                  <a:lnTo>
                    <a:pt x="2137" y="1560"/>
                  </a:lnTo>
                  <a:lnTo>
                    <a:pt x="2135" y="1552"/>
                  </a:lnTo>
                  <a:lnTo>
                    <a:pt x="2132" y="1543"/>
                  </a:lnTo>
                  <a:lnTo>
                    <a:pt x="2129" y="1536"/>
                  </a:lnTo>
                  <a:lnTo>
                    <a:pt x="2121" y="1520"/>
                  </a:lnTo>
                  <a:lnTo>
                    <a:pt x="2111" y="1508"/>
                  </a:lnTo>
                  <a:lnTo>
                    <a:pt x="2098" y="1498"/>
                  </a:lnTo>
                  <a:lnTo>
                    <a:pt x="2082" y="1489"/>
                  </a:lnTo>
                  <a:lnTo>
                    <a:pt x="2075" y="1486"/>
                  </a:lnTo>
                  <a:lnTo>
                    <a:pt x="2067" y="1485"/>
                  </a:lnTo>
                  <a:lnTo>
                    <a:pt x="2058" y="1483"/>
                  </a:lnTo>
                  <a:lnTo>
                    <a:pt x="2050" y="148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</p:grpSp>
      <p:grpSp>
        <p:nvGrpSpPr>
          <p:cNvPr id="76" name="Group 41"/>
          <p:cNvGrpSpPr>
            <a:grpSpLocks/>
          </p:cNvGrpSpPr>
          <p:nvPr/>
        </p:nvGrpSpPr>
        <p:grpSpPr bwMode="auto">
          <a:xfrm>
            <a:off x="435715" y="3975082"/>
            <a:ext cx="271398" cy="220903"/>
            <a:chOff x="1072820" y="3635597"/>
            <a:chExt cx="1084263" cy="985838"/>
          </a:xfrm>
        </p:grpSpPr>
        <p:sp>
          <p:nvSpPr>
            <p:cNvPr id="77" name="Freeform 7"/>
            <p:cNvSpPr>
              <a:spLocks/>
            </p:cNvSpPr>
            <p:nvPr/>
          </p:nvSpPr>
          <p:spPr bwMode="auto">
            <a:xfrm>
              <a:off x="1955470" y="3635597"/>
              <a:ext cx="201613" cy="635000"/>
            </a:xfrm>
            <a:custGeom>
              <a:avLst/>
              <a:gdLst>
                <a:gd name="T0" fmla="*/ 0 w 381"/>
                <a:gd name="T1" fmla="*/ 63500 h 1200"/>
                <a:gd name="T2" fmla="*/ 12700 w 381"/>
                <a:gd name="T3" fmla="*/ 69850 h 1200"/>
                <a:gd name="T4" fmla="*/ 38100 w 381"/>
                <a:gd name="T5" fmla="*/ 88371 h 1200"/>
                <a:gd name="T6" fmla="*/ 61383 w 381"/>
                <a:gd name="T7" fmla="*/ 112183 h 1200"/>
                <a:gd name="T8" fmla="*/ 82021 w 381"/>
                <a:gd name="T9" fmla="*/ 140758 h 1200"/>
                <a:gd name="T10" fmla="*/ 99484 w 381"/>
                <a:gd name="T11" fmla="*/ 174625 h 1200"/>
                <a:gd name="T12" fmla="*/ 112713 w 381"/>
                <a:gd name="T13" fmla="*/ 212196 h 1200"/>
                <a:gd name="T14" fmla="*/ 121709 w 381"/>
                <a:gd name="T15" fmla="*/ 252412 h 1200"/>
                <a:gd name="T16" fmla="*/ 127000 w 381"/>
                <a:gd name="T17" fmla="*/ 295804 h 1200"/>
                <a:gd name="T18" fmla="*/ 128059 w 381"/>
                <a:gd name="T19" fmla="*/ 318029 h 1200"/>
                <a:gd name="T20" fmla="*/ 124884 w 381"/>
                <a:gd name="T21" fmla="*/ 361421 h 1200"/>
                <a:gd name="T22" fmla="*/ 118004 w 381"/>
                <a:gd name="T23" fmla="*/ 402696 h 1200"/>
                <a:gd name="T24" fmla="*/ 106892 w 381"/>
                <a:gd name="T25" fmla="*/ 441854 h 1200"/>
                <a:gd name="T26" fmla="*/ 91546 w 381"/>
                <a:gd name="T27" fmla="*/ 477308 h 1200"/>
                <a:gd name="T28" fmla="*/ 73025 w 381"/>
                <a:gd name="T29" fmla="*/ 508529 h 1200"/>
                <a:gd name="T30" fmla="*/ 51858 w 381"/>
                <a:gd name="T31" fmla="*/ 535517 h 1200"/>
                <a:gd name="T32" fmla="*/ 27517 w 381"/>
                <a:gd name="T33" fmla="*/ 556683 h 1200"/>
                <a:gd name="T34" fmla="*/ 1588 w 381"/>
                <a:gd name="T35" fmla="*/ 571500 h 1200"/>
                <a:gd name="T36" fmla="*/ 40746 w 381"/>
                <a:gd name="T37" fmla="*/ 635000 h 1200"/>
                <a:gd name="T38" fmla="*/ 57679 w 381"/>
                <a:gd name="T39" fmla="*/ 624946 h 1200"/>
                <a:gd name="T40" fmla="*/ 90488 w 381"/>
                <a:gd name="T41" fmla="*/ 600075 h 1200"/>
                <a:gd name="T42" fmla="*/ 119592 w 381"/>
                <a:gd name="T43" fmla="*/ 569383 h 1200"/>
                <a:gd name="T44" fmla="*/ 144992 w 381"/>
                <a:gd name="T45" fmla="*/ 533400 h 1200"/>
                <a:gd name="T46" fmla="*/ 166159 w 381"/>
                <a:gd name="T47" fmla="*/ 491596 h 1200"/>
                <a:gd name="T48" fmla="*/ 183092 w 381"/>
                <a:gd name="T49" fmla="*/ 446087 h 1200"/>
                <a:gd name="T50" fmla="*/ 194734 w 381"/>
                <a:gd name="T51" fmla="*/ 396875 h 1200"/>
                <a:gd name="T52" fmla="*/ 201084 w 381"/>
                <a:gd name="T53" fmla="*/ 345017 h 1200"/>
                <a:gd name="T54" fmla="*/ 201613 w 381"/>
                <a:gd name="T55" fmla="*/ 318029 h 1200"/>
                <a:gd name="T56" fmla="*/ 198967 w 381"/>
                <a:gd name="T57" fmla="*/ 264583 h 1200"/>
                <a:gd name="T58" fmla="*/ 189442 w 381"/>
                <a:gd name="T59" fmla="*/ 213254 h 1200"/>
                <a:gd name="T60" fmla="*/ 175155 w 381"/>
                <a:gd name="T61" fmla="*/ 165629 h 1200"/>
                <a:gd name="T62" fmla="*/ 155575 w 381"/>
                <a:gd name="T63" fmla="*/ 122237 h 1200"/>
                <a:gd name="T64" fmla="*/ 132292 w 381"/>
                <a:gd name="T65" fmla="*/ 83079 h 1200"/>
                <a:gd name="T66" fmla="*/ 104775 w 381"/>
                <a:gd name="T67" fmla="*/ 49213 h 1200"/>
                <a:gd name="T68" fmla="*/ 73554 w 381"/>
                <a:gd name="T69" fmla="*/ 21167 h 1200"/>
                <a:gd name="T70" fmla="*/ 48154 w 381"/>
                <a:gd name="T71" fmla="*/ 4763 h 1200"/>
                <a:gd name="T72" fmla="*/ 39688 w 381"/>
                <a:gd name="T73" fmla="*/ 0 h 120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381" h="1200">
                  <a:moveTo>
                    <a:pt x="75" y="0"/>
                  </a:moveTo>
                  <a:lnTo>
                    <a:pt x="0" y="120"/>
                  </a:lnTo>
                  <a:lnTo>
                    <a:pt x="24" y="132"/>
                  </a:lnTo>
                  <a:lnTo>
                    <a:pt x="50" y="148"/>
                  </a:lnTo>
                  <a:lnTo>
                    <a:pt x="72" y="167"/>
                  </a:lnTo>
                  <a:lnTo>
                    <a:pt x="95" y="188"/>
                  </a:lnTo>
                  <a:lnTo>
                    <a:pt x="116" y="212"/>
                  </a:lnTo>
                  <a:lnTo>
                    <a:pt x="136" y="238"/>
                  </a:lnTo>
                  <a:lnTo>
                    <a:pt x="155" y="266"/>
                  </a:lnTo>
                  <a:lnTo>
                    <a:pt x="172" y="297"/>
                  </a:lnTo>
                  <a:lnTo>
                    <a:pt x="188" y="330"/>
                  </a:lnTo>
                  <a:lnTo>
                    <a:pt x="200" y="364"/>
                  </a:lnTo>
                  <a:lnTo>
                    <a:pt x="213" y="401"/>
                  </a:lnTo>
                  <a:lnTo>
                    <a:pt x="223" y="438"/>
                  </a:lnTo>
                  <a:lnTo>
                    <a:pt x="230" y="477"/>
                  </a:lnTo>
                  <a:lnTo>
                    <a:pt x="236" y="518"/>
                  </a:lnTo>
                  <a:lnTo>
                    <a:pt x="240" y="559"/>
                  </a:lnTo>
                  <a:lnTo>
                    <a:pt x="242" y="601"/>
                  </a:lnTo>
                  <a:lnTo>
                    <a:pt x="240" y="642"/>
                  </a:lnTo>
                  <a:lnTo>
                    <a:pt x="236" y="683"/>
                  </a:lnTo>
                  <a:lnTo>
                    <a:pt x="230" y="723"/>
                  </a:lnTo>
                  <a:lnTo>
                    <a:pt x="223" y="761"/>
                  </a:lnTo>
                  <a:lnTo>
                    <a:pt x="213" y="798"/>
                  </a:lnTo>
                  <a:lnTo>
                    <a:pt x="202" y="835"/>
                  </a:lnTo>
                  <a:lnTo>
                    <a:pt x="188" y="870"/>
                  </a:lnTo>
                  <a:lnTo>
                    <a:pt x="173" y="902"/>
                  </a:lnTo>
                  <a:lnTo>
                    <a:pt x="156" y="932"/>
                  </a:lnTo>
                  <a:lnTo>
                    <a:pt x="138" y="961"/>
                  </a:lnTo>
                  <a:lnTo>
                    <a:pt x="118" y="988"/>
                  </a:lnTo>
                  <a:lnTo>
                    <a:pt x="98" y="1012"/>
                  </a:lnTo>
                  <a:lnTo>
                    <a:pt x="75" y="1033"/>
                  </a:lnTo>
                  <a:lnTo>
                    <a:pt x="52" y="1052"/>
                  </a:lnTo>
                  <a:lnTo>
                    <a:pt x="28" y="1067"/>
                  </a:lnTo>
                  <a:lnTo>
                    <a:pt x="3" y="1080"/>
                  </a:lnTo>
                  <a:lnTo>
                    <a:pt x="77" y="1200"/>
                  </a:lnTo>
                  <a:lnTo>
                    <a:pt x="94" y="1191"/>
                  </a:lnTo>
                  <a:lnTo>
                    <a:pt x="109" y="1181"/>
                  </a:lnTo>
                  <a:lnTo>
                    <a:pt x="141" y="1160"/>
                  </a:lnTo>
                  <a:lnTo>
                    <a:pt x="171" y="1134"/>
                  </a:lnTo>
                  <a:lnTo>
                    <a:pt x="199" y="1107"/>
                  </a:lnTo>
                  <a:lnTo>
                    <a:pt x="226" y="1076"/>
                  </a:lnTo>
                  <a:lnTo>
                    <a:pt x="252" y="1043"/>
                  </a:lnTo>
                  <a:lnTo>
                    <a:pt x="274" y="1008"/>
                  </a:lnTo>
                  <a:lnTo>
                    <a:pt x="296" y="969"/>
                  </a:lnTo>
                  <a:lnTo>
                    <a:pt x="314" y="929"/>
                  </a:lnTo>
                  <a:lnTo>
                    <a:pt x="331" y="887"/>
                  </a:lnTo>
                  <a:lnTo>
                    <a:pt x="346" y="843"/>
                  </a:lnTo>
                  <a:lnTo>
                    <a:pt x="358" y="797"/>
                  </a:lnTo>
                  <a:lnTo>
                    <a:pt x="368" y="750"/>
                  </a:lnTo>
                  <a:lnTo>
                    <a:pt x="376" y="702"/>
                  </a:lnTo>
                  <a:lnTo>
                    <a:pt x="380" y="652"/>
                  </a:lnTo>
                  <a:lnTo>
                    <a:pt x="381" y="601"/>
                  </a:lnTo>
                  <a:lnTo>
                    <a:pt x="380" y="549"/>
                  </a:lnTo>
                  <a:lnTo>
                    <a:pt x="376" y="500"/>
                  </a:lnTo>
                  <a:lnTo>
                    <a:pt x="368" y="451"/>
                  </a:lnTo>
                  <a:lnTo>
                    <a:pt x="358" y="403"/>
                  </a:lnTo>
                  <a:lnTo>
                    <a:pt x="346" y="357"/>
                  </a:lnTo>
                  <a:lnTo>
                    <a:pt x="331" y="313"/>
                  </a:lnTo>
                  <a:lnTo>
                    <a:pt x="314" y="270"/>
                  </a:lnTo>
                  <a:lnTo>
                    <a:pt x="294" y="231"/>
                  </a:lnTo>
                  <a:lnTo>
                    <a:pt x="273" y="192"/>
                  </a:lnTo>
                  <a:lnTo>
                    <a:pt x="250" y="157"/>
                  </a:lnTo>
                  <a:lnTo>
                    <a:pt x="225" y="124"/>
                  </a:lnTo>
                  <a:lnTo>
                    <a:pt x="198" y="93"/>
                  </a:lnTo>
                  <a:lnTo>
                    <a:pt x="169" y="65"/>
                  </a:lnTo>
                  <a:lnTo>
                    <a:pt x="139" y="40"/>
                  </a:lnTo>
                  <a:lnTo>
                    <a:pt x="108" y="19"/>
                  </a:lnTo>
                  <a:lnTo>
                    <a:pt x="91" y="9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78" name="Freeform 8"/>
            <p:cNvSpPr>
              <a:spLocks/>
            </p:cNvSpPr>
            <p:nvPr/>
          </p:nvSpPr>
          <p:spPr bwMode="auto">
            <a:xfrm>
              <a:off x="1877683" y="3759422"/>
              <a:ext cx="128588" cy="387350"/>
            </a:xfrm>
            <a:custGeom>
              <a:avLst/>
              <a:gdLst>
                <a:gd name="T0" fmla="*/ 0 w 244"/>
                <a:gd name="T1" fmla="*/ 60688 h 734"/>
                <a:gd name="T2" fmla="*/ 6324 w 244"/>
                <a:gd name="T3" fmla="*/ 67021 h 734"/>
                <a:gd name="T4" fmla="*/ 17391 w 244"/>
                <a:gd name="T5" fmla="*/ 79686 h 734"/>
                <a:gd name="T6" fmla="*/ 26877 w 244"/>
                <a:gd name="T7" fmla="*/ 93935 h 734"/>
                <a:gd name="T8" fmla="*/ 35309 w 244"/>
                <a:gd name="T9" fmla="*/ 109767 h 734"/>
                <a:gd name="T10" fmla="*/ 42687 w 244"/>
                <a:gd name="T11" fmla="*/ 127182 h 734"/>
                <a:gd name="T12" fmla="*/ 47957 w 244"/>
                <a:gd name="T13" fmla="*/ 145124 h 734"/>
                <a:gd name="T14" fmla="*/ 51646 w 244"/>
                <a:gd name="T15" fmla="*/ 164650 h 734"/>
                <a:gd name="T16" fmla="*/ 54281 w 244"/>
                <a:gd name="T17" fmla="*/ 184176 h 734"/>
                <a:gd name="T18" fmla="*/ 54281 w 244"/>
                <a:gd name="T19" fmla="*/ 194730 h 734"/>
                <a:gd name="T20" fmla="*/ 53227 w 244"/>
                <a:gd name="T21" fmla="*/ 214256 h 734"/>
                <a:gd name="T22" fmla="*/ 50592 w 244"/>
                <a:gd name="T23" fmla="*/ 233782 h 734"/>
                <a:gd name="T24" fmla="*/ 40579 w 244"/>
                <a:gd name="T25" fmla="*/ 268612 h 734"/>
                <a:gd name="T26" fmla="*/ 24242 w 244"/>
                <a:gd name="T27" fmla="*/ 300275 h 734"/>
                <a:gd name="T28" fmla="*/ 14229 w 244"/>
                <a:gd name="T29" fmla="*/ 313996 h 734"/>
                <a:gd name="T30" fmla="*/ 3162 w 244"/>
                <a:gd name="T31" fmla="*/ 325078 h 734"/>
                <a:gd name="T32" fmla="*/ 41106 w 244"/>
                <a:gd name="T33" fmla="*/ 387350 h 734"/>
                <a:gd name="T34" fmla="*/ 60078 w 244"/>
                <a:gd name="T35" fmla="*/ 370991 h 734"/>
                <a:gd name="T36" fmla="*/ 77469 w 244"/>
                <a:gd name="T37" fmla="*/ 351465 h 734"/>
                <a:gd name="T38" fmla="*/ 91698 w 244"/>
                <a:gd name="T39" fmla="*/ 329828 h 734"/>
                <a:gd name="T40" fmla="*/ 104346 w 244"/>
                <a:gd name="T41" fmla="*/ 305553 h 734"/>
                <a:gd name="T42" fmla="*/ 114359 w 244"/>
                <a:gd name="T43" fmla="*/ 280222 h 734"/>
                <a:gd name="T44" fmla="*/ 121737 w 244"/>
                <a:gd name="T45" fmla="*/ 253308 h 734"/>
                <a:gd name="T46" fmla="*/ 125953 w 244"/>
                <a:gd name="T47" fmla="*/ 224811 h 734"/>
                <a:gd name="T48" fmla="*/ 128588 w 244"/>
                <a:gd name="T49" fmla="*/ 194730 h 734"/>
                <a:gd name="T50" fmla="*/ 127534 w 244"/>
                <a:gd name="T51" fmla="*/ 179426 h 734"/>
                <a:gd name="T52" fmla="*/ 124372 w 244"/>
                <a:gd name="T53" fmla="*/ 149346 h 734"/>
                <a:gd name="T54" fmla="*/ 118048 w 244"/>
                <a:gd name="T55" fmla="*/ 120849 h 734"/>
                <a:gd name="T56" fmla="*/ 109089 w 244"/>
                <a:gd name="T57" fmla="*/ 94463 h 734"/>
                <a:gd name="T58" fmla="*/ 97495 w 244"/>
                <a:gd name="T59" fmla="*/ 69132 h 734"/>
                <a:gd name="T60" fmla="*/ 83266 w 244"/>
                <a:gd name="T61" fmla="*/ 46440 h 734"/>
                <a:gd name="T62" fmla="*/ 67456 w 244"/>
                <a:gd name="T63" fmla="*/ 25331 h 734"/>
                <a:gd name="T64" fmla="*/ 49011 w 244"/>
                <a:gd name="T65" fmla="*/ 7388 h 734"/>
                <a:gd name="T66" fmla="*/ 38998 w 244"/>
                <a:gd name="T67" fmla="*/ 0 h 73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44" h="734">
                  <a:moveTo>
                    <a:pt x="74" y="0"/>
                  </a:moveTo>
                  <a:lnTo>
                    <a:pt x="0" y="115"/>
                  </a:lnTo>
                  <a:lnTo>
                    <a:pt x="12" y="127"/>
                  </a:lnTo>
                  <a:lnTo>
                    <a:pt x="23" y="138"/>
                  </a:lnTo>
                  <a:lnTo>
                    <a:pt x="33" y="151"/>
                  </a:lnTo>
                  <a:lnTo>
                    <a:pt x="43" y="164"/>
                  </a:lnTo>
                  <a:lnTo>
                    <a:pt x="51" y="178"/>
                  </a:lnTo>
                  <a:lnTo>
                    <a:pt x="60" y="192"/>
                  </a:lnTo>
                  <a:lnTo>
                    <a:pt x="67" y="208"/>
                  </a:lnTo>
                  <a:lnTo>
                    <a:pt x="74" y="223"/>
                  </a:lnTo>
                  <a:lnTo>
                    <a:pt x="81" y="241"/>
                  </a:lnTo>
                  <a:lnTo>
                    <a:pt x="87" y="258"/>
                  </a:lnTo>
                  <a:lnTo>
                    <a:pt x="91" y="275"/>
                  </a:lnTo>
                  <a:lnTo>
                    <a:pt x="96" y="293"/>
                  </a:lnTo>
                  <a:lnTo>
                    <a:pt x="98" y="312"/>
                  </a:lnTo>
                  <a:lnTo>
                    <a:pt x="101" y="330"/>
                  </a:lnTo>
                  <a:lnTo>
                    <a:pt x="103" y="349"/>
                  </a:lnTo>
                  <a:lnTo>
                    <a:pt x="103" y="369"/>
                  </a:lnTo>
                  <a:lnTo>
                    <a:pt x="103" y="387"/>
                  </a:lnTo>
                  <a:lnTo>
                    <a:pt x="101" y="406"/>
                  </a:lnTo>
                  <a:lnTo>
                    <a:pt x="98" y="424"/>
                  </a:lnTo>
                  <a:lnTo>
                    <a:pt x="96" y="443"/>
                  </a:lnTo>
                  <a:lnTo>
                    <a:pt x="87" y="477"/>
                  </a:lnTo>
                  <a:lnTo>
                    <a:pt x="77" y="509"/>
                  </a:lnTo>
                  <a:lnTo>
                    <a:pt x="63" y="541"/>
                  </a:lnTo>
                  <a:lnTo>
                    <a:pt x="46" y="569"/>
                  </a:lnTo>
                  <a:lnTo>
                    <a:pt x="37" y="582"/>
                  </a:lnTo>
                  <a:lnTo>
                    <a:pt x="27" y="595"/>
                  </a:lnTo>
                  <a:lnTo>
                    <a:pt x="17" y="606"/>
                  </a:lnTo>
                  <a:lnTo>
                    <a:pt x="6" y="616"/>
                  </a:lnTo>
                  <a:lnTo>
                    <a:pt x="78" y="734"/>
                  </a:lnTo>
                  <a:lnTo>
                    <a:pt x="97" y="719"/>
                  </a:lnTo>
                  <a:lnTo>
                    <a:pt x="114" y="703"/>
                  </a:lnTo>
                  <a:lnTo>
                    <a:pt x="131" y="685"/>
                  </a:lnTo>
                  <a:lnTo>
                    <a:pt x="147" y="666"/>
                  </a:lnTo>
                  <a:lnTo>
                    <a:pt x="161" y="646"/>
                  </a:lnTo>
                  <a:lnTo>
                    <a:pt x="174" y="625"/>
                  </a:lnTo>
                  <a:lnTo>
                    <a:pt x="187" y="603"/>
                  </a:lnTo>
                  <a:lnTo>
                    <a:pt x="198" y="579"/>
                  </a:lnTo>
                  <a:lnTo>
                    <a:pt x="208" y="556"/>
                  </a:lnTo>
                  <a:lnTo>
                    <a:pt x="217" y="531"/>
                  </a:lnTo>
                  <a:lnTo>
                    <a:pt x="225" y="505"/>
                  </a:lnTo>
                  <a:lnTo>
                    <a:pt x="231" y="480"/>
                  </a:lnTo>
                  <a:lnTo>
                    <a:pt x="236" y="453"/>
                  </a:lnTo>
                  <a:lnTo>
                    <a:pt x="239" y="426"/>
                  </a:lnTo>
                  <a:lnTo>
                    <a:pt x="242" y="397"/>
                  </a:lnTo>
                  <a:lnTo>
                    <a:pt x="244" y="369"/>
                  </a:lnTo>
                  <a:lnTo>
                    <a:pt x="242" y="340"/>
                  </a:lnTo>
                  <a:lnTo>
                    <a:pt x="239" y="312"/>
                  </a:lnTo>
                  <a:lnTo>
                    <a:pt x="236" y="283"/>
                  </a:lnTo>
                  <a:lnTo>
                    <a:pt x="231" y="256"/>
                  </a:lnTo>
                  <a:lnTo>
                    <a:pt x="224" y="229"/>
                  </a:lnTo>
                  <a:lnTo>
                    <a:pt x="217" y="204"/>
                  </a:lnTo>
                  <a:lnTo>
                    <a:pt x="207" y="179"/>
                  </a:lnTo>
                  <a:lnTo>
                    <a:pt x="197" y="155"/>
                  </a:lnTo>
                  <a:lnTo>
                    <a:pt x="185" y="131"/>
                  </a:lnTo>
                  <a:lnTo>
                    <a:pt x="172" y="110"/>
                  </a:lnTo>
                  <a:lnTo>
                    <a:pt x="158" y="88"/>
                  </a:lnTo>
                  <a:lnTo>
                    <a:pt x="144" y="68"/>
                  </a:lnTo>
                  <a:lnTo>
                    <a:pt x="128" y="48"/>
                  </a:lnTo>
                  <a:lnTo>
                    <a:pt x="111" y="31"/>
                  </a:lnTo>
                  <a:lnTo>
                    <a:pt x="93" y="14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79" name="Freeform 9"/>
            <p:cNvSpPr>
              <a:spLocks/>
            </p:cNvSpPr>
            <p:nvPr/>
          </p:nvSpPr>
          <p:spPr bwMode="auto">
            <a:xfrm>
              <a:off x="1072820" y="3635597"/>
              <a:ext cx="201613" cy="635000"/>
            </a:xfrm>
            <a:custGeom>
              <a:avLst/>
              <a:gdLst>
                <a:gd name="T0" fmla="*/ 73554 w 381"/>
                <a:gd name="T1" fmla="*/ 318029 h 1200"/>
                <a:gd name="T2" fmla="*/ 76729 w 381"/>
                <a:gd name="T3" fmla="*/ 274108 h 1200"/>
                <a:gd name="T4" fmla="*/ 83609 w 381"/>
                <a:gd name="T5" fmla="*/ 231775 h 1200"/>
                <a:gd name="T6" fmla="*/ 95779 w 381"/>
                <a:gd name="T7" fmla="*/ 192617 h 1200"/>
                <a:gd name="T8" fmla="*/ 110596 w 381"/>
                <a:gd name="T9" fmla="*/ 157163 h 1200"/>
                <a:gd name="T10" fmla="*/ 129646 w 381"/>
                <a:gd name="T11" fmla="*/ 125942 h 1200"/>
                <a:gd name="T12" fmla="*/ 151342 w 381"/>
                <a:gd name="T13" fmla="*/ 99483 h 1200"/>
                <a:gd name="T14" fmla="*/ 175684 w 381"/>
                <a:gd name="T15" fmla="*/ 78317 h 1200"/>
                <a:gd name="T16" fmla="*/ 201613 w 381"/>
                <a:gd name="T17" fmla="*/ 63500 h 1200"/>
                <a:gd name="T18" fmla="*/ 161925 w 381"/>
                <a:gd name="T19" fmla="*/ 0 h 1200"/>
                <a:gd name="T20" fmla="*/ 144463 w 381"/>
                <a:gd name="T21" fmla="*/ 10054 h 1200"/>
                <a:gd name="T22" fmla="*/ 112184 w 381"/>
                <a:gd name="T23" fmla="*/ 34396 h 1200"/>
                <a:gd name="T24" fmla="*/ 83079 w 381"/>
                <a:gd name="T25" fmla="*/ 65617 h 1200"/>
                <a:gd name="T26" fmla="*/ 56621 w 381"/>
                <a:gd name="T27" fmla="*/ 101600 h 1200"/>
                <a:gd name="T28" fmla="*/ 35454 w 381"/>
                <a:gd name="T29" fmla="*/ 142875 h 1200"/>
                <a:gd name="T30" fmla="*/ 19050 w 381"/>
                <a:gd name="T31" fmla="*/ 188913 h 1200"/>
                <a:gd name="T32" fmla="*/ 6879 w 381"/>
                <a:gd name="T33" fmla="*/ 238654 h 1200"/>
                <a:gd name="T34" fmla="*/ 529 w 381"/>
                <a:gd name="T35" fmla="*/ 290513 h 1200"/>
                <a:gd name="T36" fmla="*/ 0 w 381"/>
                <a:gd name="T37" fmla="*/ 318029 h 1200"/>
                <a:gd name="T38" fmla="*/ 3175 w 381"/>
                <a:gd name="T39" fmla="*/ 371475 h 1200"/>
                <a:gd name="T40" fmla="*/ 12171 w 381"/>
                <a:gd name="T41" fmla="*/ 421746 h 1200"/>
                <a:gd name="T42" fmla="*/ 26458 w 381"/>
                <a:gd name="T43" fmla="*/ 469371 h 1200"/>
                <a:gd name="T44" fmla="*/ 44979 w 381"/>
                <a:gd name="T45" fmla="*/ 512762 h 1200"/>
                <a:gd name="T46" fmla="*/ 68792 w 381"/>
                <a:gd name="T47" fmla="*/ 551921 h 1200"/>
                <a:gd name="T48" fmla="*/ 96309 w 381"/>
                <a:gd name="T49" fmla="*/ 585788 h 1200"/>
                <a:gd name="T50" fmla="*/ 127529 w 381"/>
                <a:gd name="T51" fmla="*/ 613833 h 1200"/>
                <a:gd name="T52" fmla="*/ 152400 w 381"/>
                <a:gd name="T53" fmla="*/ 630238 h 1200"/>
                <a:gd name="T54" fmla="*/ 200555 w 381"/>
                <a:gd name="T55" fmla="*/ 571500 h 1200"/>
                <a:gd name="T56" fmla="*/ 186796 w 381"/>
                <a:gd name="T57" fmla="*/ 564621 h 1200"/>
                <a:gd name="T58" fmla="*/ 161925 w 381"/>
                <a:gd name="T59" fmla="*/ 546629 h 1200"/>
                <a:gd name="T60" fmla="*/ 139171 w 381"/>
                <a:gd name="T61" fmla="*/ 522817 h 1200"/>
                <a:gd name="T62" fmla="*/ 119063 w 381"/>
                <a:gd name="T63" fmla="*/ 493183 h 1200"/>
                <a:gd name="T64" fmla="*/ 102659 w 381"/>
                <a:gd name="T65" fmla="*/ 460375 h 1200"/>
                <a:gd name="T66" fmla="*/ 88900 w 381"/>
                <a:gd name="T67" fmla="*/ 422275 h 1200"/>
                <a:gd name="T68" fmla="*/ 78846 w 381"/>
                <a:gd name="T69" fmla="*/ 382588 h 1200"/>
                <a:gd name="T70" fmla="*/ 74613 w 381"/>
                <a:gd name="T71" fmla="*/ 339725 h 1200"/>
                <a:gd name="T72" fmla="*/ 73554 w 381"/>
                <a:gd name="T73" fmla="*/ 318029 h 120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381" h="1200">
                  <a:moveTo>
                    <a:pt x="139" y="601"/>
                  </a:moveTo>
                  <a:lnTo>
                    <a:pt x="139" y="601"/>
                  </a:lnTo>
                  <a:lnTo>
                    <a:pt x="141" y="559"/>
                  </a:lnTo>
                  <a:lnTo>
                    <a:pt x="145" y="518"/>
                  </a:lnTo>
                  <a:lnTo>
                    <a:pt x="151" y="477"/>
                  </a:lnTo>
                  <a:lnTo>
                    <a:pt x="158" y="438"/>
                  </a:lnTo>
                  <a:lnTo>
                    <a:pt x="168" y="401"/>
                  </a:lnTo>
                  <a:lnTo>
                    <a:pt x="181" y="364"/>
                  </a:lnTo>
                  <a:lnTo>
                    <a:pt x="194" y="330"/>
                  </a:lnTo>
                  <a:lnTo>
                    <a:pt x="209" y="297"/>
                  </a:lnTo>
                  <a:lnTo>
                    <a:pt x="226" y="266"/>
                  </a:lnTo>
                  <a:lnTo>
                    <a:pt x="245" y="238"/>
                  </a:lnTo>
                  <a:lnTo>
                    <a:pt x="265" y="212"/>
                  </a:lnTo>
                  <a:lnTo>
                    <a:pt x="286" y="188"/>
                  </a:lnTo>
                  <a:lnTo>
                    <a:pt x="309" y="167"/>
                  </a:lnTo>
                  <a:lnTo>
                    <a:pt x="332" y="148"/>
                  </a:lnTo>
                  <a:lnTo>
                    <a:pt x="356" y="132"/>
                  </a:lnTo>
                  <a:lnTo>
                    <a:pt x="381" y="120"/>
                  </a:lnTo>
                  <a:lnTo>
                    <a:pt x="306" y="0"/>
                  </a:lnTo>
                  <a:lnTo>
                    <a:pt x="289" y="9"/>
                  </a:lnTo>
                  <a:lnTo>
                    <a:pt x="273" y="19"/>
                  </a:lnTo>
                  <a:lnTo>
                    <a:pt x="242" y="40"/>
                  </a:lnTo>
                  <a:lnTo>
                    <a:pt x="212" y="65"/>
                  </a:lnTo>
                  <a:lnTo>
                    <a:pt x="182" y="93"/>
                  </a:lnTo>
                  <a:lnTo>
                    <a:pt x="157" y="124"/>
                  </a:lnTo>
                  <a:lnTo>
                    <a:pt x="131" y="157"/>
                  </a:lnTo>
                  <a:lnTo>
                    <a:pt x="107" y="192"/>
                  </a:lnTo>
                  <a:lnTo>
                    <a:pt x="85" y="231"/>
                  </a:lnTo>
                  <a:lnTo>
                    <a:pt x="67" y="270"/>
                  </a:lnTo>
                  <a:lnTo>
                    <a:pt x="50" y="313"/>
                  </a:lnTo>
                  <a:lnTo>
                    <a:pt x="36" y="357"/>
                  </a:lnTo>
                  <a:lnTo>
                    <a:pt x="23" y="403"/>
                  </a:lnTo>
                  <a:lnTo>
                    <a:pt x="13" y="451"/>
                  </a:lnTo>
                  <a:lnTo>
                    <a:pt x="6" y="500"/>
                  </a:lnTo>
                  <a:lnTo>
                    <a:pt x="1" y="549"/>
                  </a:lnTo>
                  <a:lnTo>
                    <a:pt x="0" y="601"/>
                  </a:lnTo>
                  <a:lnTo>
                    <a:pt x="1" y="652"/>
                  </a:lnTo>
                  <a:lnTo>
                    <a:pt x="6" y="702"/>
                  </a:lnTo>
                  <a:lnTo>
                    <a:pt x="13" y="750"/>
                  </a:lnTo>
                  <a:lnTo>
                    <a:pt x="23" y="797"/>
                  </a:lnTo>
                  <a:lnTo>
                    <a:pt x="34" y="843"/>
                  </a:lnTo>
                  <a:lnTo>
                    <a:pt x="50" y="887"/>
                  </a:lnTo>
                  <a:lnTo>
                    <a:pt x="67" y="929"/>
                  </a:lnTo>
                  <a:lnTo>
                    <a:pt x="85" y="969"/>
                  </a:lnTo>
                  <a:lnTo>
                    <a:pt x="107" y="1008"/>
                  </a:lnTo>
                  <a:lnTo>
                    <a:pt x="130" y="1043"/>
                  </a:lnTo>
                  <a:lnTo>
                    <a:pt x="155" y="1076"/>
                  </a:lnTo>
                  <a:lnTo>
                    <a:pt x="182" y="1107"/>
                  </a:lnTo>
                  <a:lnTo>
                    <a:pt x="211" y="1134"/>
                  </a:lnTo>
                  <a:lnTo>
                    <a:pt x="241" y="1160"/>
                  </a:lnTo>
                  <a:lnTo>
                    <a:pt x="272" y="1181"/>
                  </a:lnTo>
                  <a:lnTo>
                    <a:pt x="288" y="1191"/>
                  </a:lnTo>
                  <a:lnTo>
                    <a:pt x="305" y="1200"/>
                  </a:lnTo>
                  <a:lnTo>
                    <a:pt x="379" y="1080"/>
                  </a:lnTo>
                  <a:lnTo>
                    <a:pt x="353" y="1067"/>
                  </a:lnTo>
                  <a:lnTo>
                    <a:pt x="329" y="1052"/>
                  </a:lnTo>
                  <a:lnTo>
                    <a:pt x="306" y="1033"/>
                  </a:lnTo>
                  <a:lnTo>
                    <a:pt x="283" y="1012"/>
                  </a:lnTo>
                  <a:lnTo>
                    <a:pt x="263" y="988"/>
                  </a:lnTo>
                  <a:lnTo>
                    <a:pt x="243" y="961"/>
                  </a:lnTo>
                  <a:lnTo>
                    <a:pt x="225" y="932"/>
                  </a:lnTo>
                  <a:lnTo>
                    <a:pt x="208" y="902"/>
                  </a:lnTo>
                  <a:lnTo>
                    <a:pt x="194" y="870"/>
                  </a:lnTo>
                  <a:lnTo>
                    <a:pt x="179" y="835"/>
                  </a:lnTo>
                  <a:lnTo>
                    <a:pt x="168" y="798"/>
                  </a:lnTo>
                  <a:lnTo>
                    <a:pt x="158" y="761"/>
                  </a:lnTo>
                  <a:lnTo>
                    <a:pt x="149" y="723"/>
                  </a:lnTo>
                  <a:lnTo>
                    <a:pt x="144" y="683"/>
                  </a:lnTo>
                  <a:lnTo>
                    <a:pt x="141" y="642"/>
                  </a:lnTo>
                  <a:lnTo>
                    <a:pt x="139" y="60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80" name="Freeform 10"/>
            <p:cNvSpPr>
              <a:spLocks/>
            </p:cNvSpPr>
            <p:nvPr/>
          </p:nvSpPr>
          <p:spPr bwMode="auto">
            <a:xfrm>
              <a:off x="1223633" y="3759422"/>
              <a:ext cx="128588" cy="387350"/>
            </a:xfrm>
            <a:custGeom>
              <a:avLst/>
              <a:gdLst>
                <a:gd name="T0" fmla="*/ 89268 w 242"/>
                <a:gd name="T1" fmla="*/ 0 h 734"/>
                <a:gd name="T2" fmla="*/ 70139 w 242"/>
                <a:gd name="T3" fmla="*/ 16359 h 734"/>
                <a:gd name="T4" fmla="*/ 52604 w 242"/>
                <a:gd name="T5" fmla="*/ 35885 h 734"/>
                <a:gd name="T6" fmla="*/ 37726 w 242"/>
                <a:gd name="T7" fmla="*/ 58050 h 734"/>
                <a:gd name="T8" fmla="*/ 24974 w 242"/>
                <a:gd name="T9" fmla="*/ 81797 h 734"/>
                <a:gd name="T10" fmla="*/ 14347 w 242"/>
                <a:gd name="T11" fmla="*/ 107656 h 734"/>
                <a:gd name="T12" fmla="*/ 6376 w 242"/>
                <a:gd name="T13" fmla="*/ 135098 h 734"/>
                <a:gd name="T14" fmla="*/ 1594 w 242"/>
                <a:gd name="T15" fmla="*/ 164650 h 734"/>
                <a:gd name="T16" fmla="*/ 0 w 242"/>
                <a:gd name="T17" fmla="*/ 194730 h 734"/>
                <a:gd name="T18" fmla="*/ 531 w 242"/>
                <a:gd name="T19" fmla="*/ 209507 h 734"/>
                <a:gd name="T20" fmla="*/ 3719 w 242"/>
                <a:gd name="T21" fmla="*/ 239059 h 734"/>
                <a:gd name="T22" fmla="*/ 9564 w 242"/>
                <a:gd name="T23" fmla="*/ 266501 h 734"/>
                <a:gd name="T24" fmla="*/ 18597 w 242"/>
                <a:gd name="T25" fmla="*/ 293415 h 734"/>
                <a:gd name="T26" fmla="*/ 30287 w 242"/>
                <a:gd name="T27" fmla="*/ 318218 h 734"/>
                <a:gd name="T28" fmla="*/ 43571 w 242"/>
                <a:gd name="T29" fmla="*/ 340910 h 734"/>
                <a:gd name="T30" fmla="*/ 59512 w 242"/>
                <a:gd name="T31" fmla="*/ 361491 h 734"/>
                <a:gd name="T32" fmla="*/ 77578 w 242"/>
                <a:gd name="T33" fmla="*/ 379434 h 734"/>
                <a:gd name="T34" fmla="*/ 125931 w 242"/>
                <a:gd name="T35" fmla="*/ 325078 h 734"/>
                <a:gd name="T36" fmla="*/ 120086 w 242"/>
                <a:gd name="T37" fmla="*/ 319801 h 734"/>
                <a:gd name="T38" fmla="*/ 109459 w 242"/>
                <a:gd name="T39" fmla="*/ 307136 h 734"/>
                <a:gd name="T40" fmla="*/ 95644 w 242"/>
                <a:gd name="T41" fmla="*/ 285499 h 734"/>
                <a:gd name="T42" fmla="*/ 82360 w 242"/>
                <a:gd name="T43" fmla="*/ 251725 h 734"/>
                <a:gd name="T44" fmla="*/ 75984 w 242"/>
                <a:gd name="T45" fmla="*/ 223755 h 734"/>
                <a:gd name="T46" fmla="*/ 74921 w 242"/>
                <a:gd name="T47" fmla="*/ 204229 h 734"/>
                <a:gd name="T48" fmla="*/ 74921 w 242"/>
                <a:gd name="T49" fmla="*/ 194730 h 734"/>
                <a:gd name="T50" fmla="*/ 75452 w 242"/>
                <a:gd name="T51" fmla="*/ 174149 h 734"/>
                <a:gd name="T52" fmla="*/ 78641 w 242"/>
                <a:gd name="T53" fmla="*/ 154623 h 734"/>
                <a:gd name="T54" fmla="*/ 82891 w 242"/>
                <a:gd name="T55" fmla="*/ 136153 h 734"/>
                <a:gd name="T56" fmla="*/ 89268 w 242"/>
                <a:gd name="T57" fmla="*/ 117683 h 734"/>
                <a:gd name="T58" fmla="*/ 97238 w 242"/>
                <a:gd name="T59" fmla="*/ 101323 h 734"/>
                <a:gd name="T60" fmla="*/ 106271 w 242"/>
                <a:gd name="T61" fmla="*/ 86547 h 734"/>
                <a:gd name="T62" fmla="*/ 116898 w 242"/>
                <a:gd name="T63" fmla="*/ 72826 h 734"/>
                <a:gd name="T64" fmla="*/ 128588 w 242"/>
                <a:gd name="T65" fmla="*/ 60688 h 73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42" h="734">
                  <a:moveTo>
                    <a:pt x="168" y="0"/>
                  </a:moveTo>
                  <a:lnTo>
                    <a:pt x="168" y="0"/>
                  </a:lnTo>
                  <a:lnTo>
                    <a:pt x="149" y="14"/>
                  </a:lnTo>
                  <a:lnTo>
                    <a:pt x="132" y="31"/>
                  </a:lnTo>
                  <a:lnTo>
                    <a:pt x="115" y="48"/>
                  </a:lnTo>
                  <a:lnTo>
                    <a:pt x="99" y="68"/>
                  </a:lnTo>
                  <a:lnTo>
                    <a:pt x="85" y="88"/>
                  </a:lnTo>
                  <a:lnTo>
                    <a:pt x="71" y="110"/>
                  </a:lnTo>
                  <a:lnTo>
                    <a:pt x="58" y="131"/>
                  </a:lnTo>
                  <a:lnTo>
                    <a:pt x="47" y="155"/>
                  </a:lnTo>
                  <a:lnTo>
                    <a:pt x="35" y="179"/>
                  </a:lnTo>
                  <a:lnTo>
                    <a:pt x="27" y="204"/>
                  </a:lnTo>
                  <a:lnTo>
                    <a:pt x="18" y="229"/>
                  </a:lnTo>
                  <a:lnTo>
                    <a:pt x="12" y="256"/>
                  </a:lnTo>
                  <a:lnTo>
                    <a:pt x="7" y="283"/>
                  </a:lnTo>
                  <a:lnTo>
                    <a:pt x="3" y="312"/>
                  </a:lnTo>
                  <a:lnTo>
                    <a:pt x="1" y="340"/>
                  </a:lnTo>
                  <a:lnTo>
                    <a:pt x="0" y="369"/>
                  </a:lnTo>
                  <a:lnTo>
                    <a:pt x="1" y="397"/>
                  </a:lnTo>
                  <a:lnTo>
                    <a:pt x="3" y="426"/>
                  </a:lnTo>
                  <a:lnTo>
                    <a:pt x="7" y="453"/>
                  </a:lnTo>
                  <a:lnTo>
                    <a:pt x="11" y="480"/>
                  </a:lnTo>
                  <a:lnTo>
                    <a:pt x="18" y="505"/>
                  </a:lnTo>
                  <a:lnTo>
                    <a:pt x="25" y="531"/>
                  </a:lnTo>
                  <a:lnTo>
                    <a:pt x="35" y="556"/>
                  </a:lnTo>
                  <a:lnTo>
                    <a:pt x="45" y="579"/>
                  </a:lnTo>
                  <a:lnTo>
                    <a:pt x="57" y="603"/>
                  </a:lnTo>
                  <a:lnTo>
                    <a:pt x="68" y="625"/>
                  </a:lnTo>
                  <a:lnTo>
                    <a:pt x="82" y="646"/>
                  </a:lnTo>
                  <a:lnTo>
                    <a:pt x="96" y="666"/>
                  </a:lnTo>
                  <a:lnTo>
                    <a:pt x="112" y="685"/>
                  </a:lnTo>
                  <a:lnTo>
                    <a:pt x="129" y="703"/>
                  </a:lnTo>
                  <a:lnTo>
                    <a:pt x="146" y="719"/>
                  </a:lnTo>
                  <a:lnTo>
                    <a:pt x="163" y="734"/>
                  </a:lnTo>
                  <a:lnTo>
                    <a:pt x="237" y="616"/>
                  </a:lnTo>
                  <a:lnTo>
                    <a:pt x="226" y="606"/>
                  </a:lnTo>
                  <a:lnTo>
                    <a:pt x="216" y="595"/>
                  </a:lnTo>
                  <a:lnTo>
                    <a:pt x="206" y="582"/>
                  </a:lnTo>
                  <a:lnTo>
                    <a:pt x="198" y="569"/>
                  </a:lnTo>
                  <a:lnTo>
                    <a:pt x="180" y="541"/>
                  </a:lnTo>
                  <a:lnTo>
                    <a:pt x="166" y="509"/>
                  </a:lnTo>
                  <a:lnTo>
                    <a:pt x="155" y="477"/>
                  </a:lnTo>
                  <a:lnTo>
                    <a:pt x="146" y="443"/>
                  </a:lnTo>
                  <a:lnTo>
                    <a:pt x="143" y="424"/>
                  </a:lnTo>
                  <a:lnTo>
                    <a:pt x="142" y="406"/>
                  </a:lnTo>
                  <a:lnTo>
                    <a:pt x="141" y="387"/>
                  </a:lnTo>
                  <a:lnTo>
                    <a:pt x="141" y="369"/>
                  </a:lnTo>
                  <a:lnTo>
                    <a:pt x="141" y="349"/>
                  </a:lnTo>
                  <a:lnTo>
                    <a:pt x="142" y="330"/>
                  </a:lnTo>
                  <a:lnTo>
                    <a:pt x="143" y="312"/>
                  </a:lnTo>
                  <a:lnTo>
                    <a:pt x="148" y="293"/>
                  </a:lnTo>
                  <a:lnTo>
                    <a:pt x="152" y="275"/>
                  </a:lnTo>
                  <a:lnTo>
                    <a:pt x="156" y="258"/>
                  </a:lnTo>
                  <a:lnTo>
                    <a:pt x="162" y="241"/>
                  </a:lnTo>
                  <a:lnTo>
                    <a:pt x="168" y="223"/>
                  </a:lnTo>
                  <a:lnTo>
                    <a:pt x="175" y="208"/>
                  </a:lnTo>
                  <a:lnTo>
                    <a:pt x="183" y="192"/>
                  </a:lnTo>
                  <a:lnTo>
                    <a:pt x="192" y="178"/>
                  </a:lnTo>
                  <a:lnTo>
                    <a:pt x="200" y="164"/>
                  </a:lnTo>
                  <a:lnTo>
                    <a:pt x="210" y="151"/>
                  </a:lnTo>
                  <a:lnTo>
                    <a:pt x="220" y="138"/>
                  </a:lnTo>
                  <a:lnTo>
                    <a:pt x="232" y="127"/>
                  </a:lnTo>
                  <a:lnTo>
                    <a:pt x="242" y="115"/>
                  </a:lnTo>
                  <a:lnTo>
                    <a:pt x="168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81" name="Freeform 11"/>
            <p:cNvSpPr>
              <a:spLocks/>
            </p:cNvSpPr>
            <p:nvPr/>
          </p:nvSpPr>
          <p:spPr bwMode="auto">
            <a:xfrm>
              <a:off x="1426833" y="3922935"/>
              <a:ext cx="385763" cy="698500"/>
            </a:xfrm>
            <a:custGeom>
              <a:avLst/>
              <a:gdLst>
                <a:gd name="T0" fmla="*/ 0 w 729"/>
                <a:gd name="T1" fmla="*/ 94120 h 1321"/>
                <a:gd name="T2" fmla="*/ 146579 w 729"/>
                <a:gd name="T3" fmla="*/ 94120 h 1321"/>
                <a:gd name="T4" fmla="*/ 146579 w 729"/>
                <a:gd name="T5" fmla="*/ 313030 h 1321"/>
                <a:gd name="T6" fmla="*/ 65088 w 729"/>
                <a:gd name="T7" fmla="*/ 313030 h 1321"/>
                <a:gd name="T8" fmla="*/ 65088 w 729"/>
                <a:gd name="T9" fmla="*/ 698500 h 1321"/>
                <a:gd name="T10" fmla="*/ 321205 w 729"/>
                <a:gd name="T11" fmla="*/ 698500 h 1321"/>
                <a:gd name="T12" fmla="*/ 321205 w 729"/>
                <a:gd name="T13" fmla="*/ 313030 h 1321"/>
                <a:gd name="T14" fmla="*/ 240242 w 729"/>
                <a:gd name="T15" fmla="*/ 313030 h 1321"/>
                <a:gd name="T16" fmla="*/ 240242 w 729"/>
                <a:gd name="T17" fmla="*/ 94120 h 1321"/>
                <a:gd name="T18" fmla="*/ 385763 w 729"/>
                <a:gd name="T19" fmla="*/ 94120 h 1321"/>
                <a:gd name="T20" fmla="*/ 385763 w 729"/>
                <a:gd name="T21" fmla="*/ 0 h 1321"/>
                <a:gd name="T22" fmla="*/ 0 w 729"/>
                <a:gd name="T23" fmla="*/ 0 h 1321"/>
                <a:gd name="T24" fmla="*/ 0 w 729"/>
                <a:gd name="T25" fmla="*/ 94120 h 13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29" h="1321">
                  <a:moveTo>
                    <a:pt x="0" y="178"/>
                  </a:moveTo>
                  <a:lnTo>
                    <a:pt x="277" y="178"/>
                  </a:lnTo>
                  <a:lnTo>
                    <a:pt x="277" y="592"/>
                  </a:lnTo>
                  <a:lnTo>
                    <a:pt x="123" y="592"/>
                  </a:lnTo>
                  <a:lnTo>
                    <a:pt x="123" y="1321"/>
                  </a:lnTo>
                  <a:lnTo>
                    <a:pt x="607" y="1321"/>
                  </a:lnTo>
                  <a:lnTo>
                    <a:pt x="607" y="592"/>
                  </a:lnTo>
                  <a:lnTo>
                    <a:pt x="454" y="592"/>
                  </a:lnTo>
                  <a:lnTo>
                    <a:pt x="454" y="178"/>
                  </a:lnTo>
                  <a:lnTo>
                    <a:pt x="729" y="178"/>
                  </a:lnTo>
                  <a:lnTo>
                    <a:pt x="729" y="0"/>
                  </a:lnTo>
                  <a:lnTo>
                    <a:pt x="0" y="0"/>
                  </a:lnTo>
                  <a:lnTo>
                    <a:pt x="0" y="17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</p:grpSp>
      <p:grpSp>
        <p:nvGrpSpPr>
          <p:cNvPr id="82" name="Group 48"/>
          <p:cNvGrpSpPr>
            <a:grpSpLocks/>
          </p:cNvGrpSpPr>
          <p:nvPr/>
        </p:nvGrpSpPr>
        <p:grpSpPr bwMode="auto">
          <a:xfrm>
            <a:off x="439904" y="2933859"/>
            <a:ext cx="267209" cy="247491"/>
            <a:chOff x="1169658" y="1870297"/>
            <a:chExt cx="901700" cy="1042987"/>
          </a:xfrm>
        </p:grpSpPr>
        <p:sp>
          <p:nvSpPr>
            <p:cNvPr id="83" name="Freeform 12"/>
            <p:cNvSpPr>
              <a:spLocks/>
            </p:cNvSpPr>
            <p:nvPr/>
          </p:nvSpPr>
          <p:spPr bwMode="auto">
            <a:xfrm>
              <a:off x="1534783" y="2100485"/>
              <a:ext cx="180975" cy="179387"/>
            </a:xfrm>
            <a:custGeom>
              <a:avLst/>
              <a:gdLst>
                <a:gd name="T0" fmla="*/ 180975 w 342"/>
                <a:gd name="T1" fmla="*/ 89430 h 341"/>
                <a:gd name="T2" fmla="*/ 178329 w 342"/>
                <a:gd name="T3" fmla="*/ 107843 h 341"/>
                <a:gd name="T4" fmla="*/ 173038 w 342"/>
                <a:gd name="T5" fmla="*/ 124151 h 341"/>
                <a:gd name="T6" fmla="*/ 165100 w 342"/>
                <a:gd name="T7" fmla="*/ 139932 h 341"/>
                <a:gd name="T8" fmla="*/ 154517 w 342"/>
                <a:gd name="T9" fmla="*/ 153084 h 341"/>
                <a:gd name="T10" fmla="*/ 140758 w 342"/>
                <a:gd name="T11" fmla="*/ 163605 h 341"/>
                <a:gd name="T12" fmla="*/ 124883 w 342"/>
                <a:gd name="T13" fmla="*/ 172022 h 341"/>
                <a:gd name="T14" fmla="*/ 108479 w 342"/>
                <a:gd name="T15" fmla="*/ 177283 h 341"/>
                <a:gd name="T16" fmla="*/ 90488 w 342"/>
                <a:gd name="T17" fmla="*/ 179387 h 341"/>
                <a:gd name="T18" fmla="*/ 80433 w 342"/>
                <a:gd name="T19" fmla="*/ 178861 h 341"/>
                <a:gd name="T20" fmla="*/ 63500 w 342"/>
                <a:gd name="T21" fmla="*/ 175179 h 341"/>
                <a:gd name="T22" fmla="*/ 46567 w 342"/>
                <a:gd name="T23" fmla="*/ 168340 h 341"/>
                <a:gd name="T24" fmla="*/ 32279 w 342"/>
                <a:gd name="T25" fmla="*/ 158345 h 341"/>
                <a:gd name="T26" fmla="*/ 20108 w 342"/>
                <a:gd name="T27" fmla="*/ 146771 h 341"/>
                <a:gd name="T28" fmla="*/ 10583 w 342"/>
                <a:gd name="T29" fmla="*/ 132568 h 341"/>
                <a:gd name="T30" fmla="*/ 3704 w 342"/>
                <a:gd name="T31" fmla="*/ 115734 h 341"/>
                <a:gd name="T32" fmla="*/ 0 w 342"/>
                <a:gd name="T33" fmla="*/ 98900 h 341"/>
                <a:gd name="T34" fmla="*/ 0 w 342"/>
                <a:gd name="T35" fmla="*/ 89430 h 341"/>
                <a:gd name="T36" fmla="*/ 1588 w 342"/>
                <a:gd name="T37" fmla="*/ 71544 h 341"/>
                <a:gd name="T38" fmla="*/ 6879 w 342"/>
                <a:gd name="T39" fmla="*/ 54710 h 341"/>
                <a:gd name="T40" fmla="*/ 14817 w 342"/>
                <a:gd name="T41" fmla="*/ 39455 h 341"/>
                <a:gd name="T42" fmla="*/ 26458 w 342"/>
                <a:gd name="T43" fmla="*/ 25777 h 341"/>
                <a:gd name="T44" fmla="*/ 39688 w 342"/>
                <a:gd name="T45" fmla="*/ 14730 h 341"/>
                <a:gd name="T46" fmla="*/ 55033 w 342"/>
                <a:gd name="T47" fmla="*/ 6313 h 341"/>
                <a:gd name="T48" fmla="*/ 71438 w 342"/>
                <a:gd name="T49" fmla="*/ 1052 h 341"/>
                <a:gd name="T50" fmla="*/ 90488 w 342"/>
                <a:gd name="T51" fmla="*/ 0 h 341"/>
                <a:gd name="T52" fmla="*/ 99483 w 342"/>
                <a:gd name="T53" fmla="*/ 0 h 341"/>
                <a:gd name="T54" fmla="*/ 116946 w 342"/>
                <a:gd name="T55" fmla="*/ 3682 h 341"/>
                <a:gd name="T56" fmla="*/ 133350 w 342"/>
                <a:gd name="T57" fmla="*/ 10521 h 341"/>
                <a:gd name="T58" fmla="*/ 147638 w 342"/>
                <a:gd name="T59" fmla="*/ 19990 h 341"/>
                <a:gd name="T60" fmla="*/ 159808 w 342"/>
                <a:gd name="T61" fmla="*/ 32090 h 341"/>
                <a:gd name="T62" fmla="*/ 169333 w 342"/>
                <a:gd name="T63" fmla="*/ 46293 h 341"/>
                <a:gd name="T64" fmla="*/ 176213 w 342"/>
                <a:gd name="T65" fmla="*/ 62601 h 341"/>
                <a:gd name="T66" fmla="*/ 179917 w 342"/>
                <a:gd name="T67" fmla="*/ 79961 h 341"/>
                <a:gd name="T68" fmla="*/ 180975 w 342"/>
                <a:gd name="T69" fmla="*/ 89430 h 34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42" h="341">
                  <a:moveTo>
                    <a:pt x="342" y="170"/>
                  </a:moveTo>
                  <a:lnTo>
                    <a:pt x="342" y="170"/>
                  </a:lnTo>
                  <a:lnTo>
                    <a:pt x="340" y="188"/>
                  </a:lnTo>
                  <a:lnTo>
                    <a:pt x="337" y="205"/>
                  </a:lnTo>
                  <a:lnTo>
                    <a:pt x="333" y="220"/>
                  </a:lnTo>
                  <a:lnTo>
                    <a:pt x="327" y="236"/>
                  </a:lnTo>
                  <a:lnTo>
                    <a:pt x="320" y="252"/>
                  </a:lnTo>
                  <a:lnTo>
                    <a:pt x="312" y="266"/>
                  </a:lnTo>
                  <a:lnTo>
                    <a:pt x="302" y="279"/>
                  </a:lnTo>
                  <a:lnTo>
                    <a:pt x="292" y="291"/>
                  </a:lnTo>
                  <a:lnTo>
                    <a:pt x="279" y="301"/>
                  </a:lnTo>
                  <a:lnTo>
                    <a:pt x="266" y="311"/>
                  </a:lnTo>
                  <a:lnTo>
                    <a:pt x="252" y="320"/>
                  </a:lnTo>
                  <a:lnTo>
                    <a:pt x="236" y="327"/>
                  </a:lnTo>
                  <a:lnTo>
                    <a:pt x="221" y="333"/>
                  </a:lnTo>
                  <a:lnTo>
                    <a:pt x="205" y="337"/>
                  </a:lnTo>
                  <a:lnTo>
                    <a:pt x="188" y="340"/>
                  </a:lnTo>
                  <a:lnTo>
                    <a:pt x="171" y="341"/>
                  </a:lnTo>
                  <a:lnTo>
                    <a:pt x="152" y="340"/>
                  </a:lnTo>
                  <a:lnTo>
                    <a:pt x="135" y="337"/>
                  </a:lnTo>
                  <a:lnTo>
                    <a:pt x="120" y="333"/>
                  </a:lnTo>
                  <a:lnTo>
                    <a:pt x="104" y="327"/>
                  </a:lnTo>
                  <a:lnTo>
                    <a:pt x="88" y="320"/>
                  </a:lnTo>
                  <a:lnTo>
                    <a:pt x="75" y="311"/>
                  </a:lnTo>
                  <a:lnTo>
                    <a:pt x="61" y="301"/>
                  </a:lnTo>
                  <a:lnTo>
                    <a:pt x="50" y="291"/>
                  </a:lnTo>
                  <a:lnTo>
                    <a:pt x="38" y="279"/>
                  </a:lnTo>
                  <a:lnTo>
                    <a:pt x="28" y="266"/>
                  </a:lnTo>
                  <a:lnTo>
                    <a:pt x="20" y="252"/>
                  </a:lnTo>
                  <a:lnTo>
                    <a:pt x="13" y="236"/>
                  </a:lnTo>
                  <a:lnTo>
                    <a:pt x="7" y="220"/>
                  </a:lnTo>
                  <a:lnTo>
                    <a:pt x="3" y="205"/>
                  </a:lnTo>
                  <a:lnTo>
                    <a:pt x="0" y="188"/>
                  </a:lnTo>
                  <a:lnTo>
                    <a:pt x="0" y="170"/>
                  </a:lnTo>
                  <a:lnTo>
                    <a:pt x="0" y="152"/>
                  </a:lnTo>
                  <a:lnTo>
                    <a:pt x="3" y="136"/>
                  </a:lnTo>
                  <a:lnTo>
                    <a:pt x="7" y="119"/>
                  </a:lnTo>
                  <a:lnTo>
                    <a:pt x="13" y="104"/>
                  </a:lnTo>
                  <a:lnTo>
                    <a:pt x="20" y="88"/>
                  </a:lnTo>
                  <a:lnTo>
                    <a:pt x="28" y="75"/>
                  </a:lnTo>
                  <a:lnTo>
                    <a:pt x="38" y="61"/>
                  </a:lnTo>
                  <a:lnTo>
                    <a:pt x="50" y="49"/>
                  </a:lnTo>
                  <a:lnTo>
                    <a:pt x="61" y="38"/>
                  </a:lnTo>
                  <a:lnTo>
                    <a:pt x="75" y="28"/>
                  </a:lnTo>
                  <a:lnTo>
                    <a:pt x="88" y="20"/>
                  </a:lnTo>
                  <a:lnTo>
                    <a:pt x="104" y="12"/>
                  </a:lnTo>
                  <a:lnTo>
                    <a:pt x="120" y="7"/>
                  </a:lnTo>
                  <a:lnTo>
                    <a:pt x="135" y="2"/>
                  </a:lnTo>
                  <a:lnTo>
                    <a:pt x="152" y="0"/>
                  </a:lnTo>
                  <a:lnTo>
                    <a:pt x="171" y="0"/>
                  </a:lnTo>
                  <a:lnTo>
                    <a:pt x="188" y="0"/>
                  </a:lnTo>
                  <a:lnTo>
                    <a:pt x="205" y="2"/>
                  </a:lnTo>
                  <a:lnTo>
                    <a:pt x="221" y="7"/>
                  </a:lnTo>
                  <a:lnTo>
                    <a:pt x="236" y="12"/>
                  </a:lnTo>
                  <a:lnTo>
                    <a:pt x="252" y="20"/>
                  </a:lnTo>
                  <a:lnTo>
                    <a:pt x="266" y="28"/>
                  </a:lnTo>
                  <a:lnTo>
                    <a:pt x="279" y="38"/>
                  </a:lnTo>
                  <a:lnTo>
                    <a:pt x="292" y="49"/>
                  </a:lnTo>
                  <a:lnTo>
                    <a:pt x="302" y="61"/>
                  </a:lnTo>
                  <a:lnTo>
                    <a:pt x="312" y="75"/>
                  </a:lnTo>
                  <a:lnTo>
                    <a:pt x="320" y="88"/>
                  </a:lnTo>
                  <a:lnTo>
                    <a:pt x="327" y="104"/>
                  </a:lnTo>
                  <a:lnTo>
                    <a:pt x="333" y="119"/>
                  </a:lnTo>
                  <a:lnTo>
                    <a:pt x="337" y="136"/>
                  </a:lnTo>
                  <a:lnTo>
                    <a:pt x="340" y="152"/>
                  </a:lnTo>
                  <a:lnTo>
                    <a:pt x="342" y="17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84" name="Freeform 13"/>
            <p:cNvSpPr>
              <a:spLocks/>
            </p:cNvSpPr>
            <p:nvPr/>
          </p:nvSpPr>
          <p:spPr bwMode="auto">
            <a:xfrm>
              <a:off x="1410958" y="2036985"/>
              <a:ext cx="109538" cy="312737"/>
            </a:xfrm>
            <a:custGeom>
              <a:avLst/>
              <a:gdLst>
                <a:gd name="T0" fmla="*/ 61844 w 209"/>
                <a:gd name="T1" fmla="*/ 312737 h 590"/>
                <a:gd name="T2" fmla="*/ 109538 w 209"/>
                <a:gd name="T3" fmla="*/ 263971 h 590"/>
                <a:gd name="T4" fmla="*/ 109538 w 209"/>
                <a:gd name="T5" fmla="*/ 263971 h 590"/>
                <a:gd name="T6" fmla="*/ 99056 w 209"/>
                <a:gd name="T7" fmla="*/ 251780 h 590"/>
                <a:gd name="T8" fmla="*/ 89098 w 209"/>
                <a:gd name="T9" fmla="*/ 239058 h 590"/>
                <a:gd name="T10" fmla="*/ 81236 w 209"/>
                <a:gd name="T11" fmla="*/ 225277 h 590"/>
                <a:gd name="T12" fmla="*/ 74423 w 209"/>
                <a:gd name="T13" fmla="*/ 211495 h 590"/>
                <a:gd name="T14" fmla="*/ 69706 w 209"/>
                <a:gd name="T15" fmla="*/ 197183 h 590"/>
                <a:gd name="T16" fmla="*/ 66037 w 209"/>
                <a:gd name="T17" fmla="*/ 182872 h 590"/>
                <a:gd name="T18" fmla="*/ 63941 w 209"/>
                <a:gd name="T19" fmla="*/ 168030 h 590"/>
                <a:gd name="T20" fmla="*/ 63417 w 209"/>
                <a:gd name="T21" fmla="*/ 153718 h 590"/>
                <a:gd name="T22" fmla="*/ 63941 w 209"/>
                <a:gd name="T23" fmla="*/ 138346 h 590"/>
                <a:gd name="T24" fmla="*/ 66037 w 209"/>
                <a:gd name="T25" fmla="*/ 124035 h 590"/>
                <a:gd name="T26" fmla="*/ 69706 w 209"/>
                <a:gd name="T27" fmla="*/ 110783 h 590"/>
                <a:gd name="T28" fmla="*/ 74423 w 209"/>
                <a:gd name="T29" fmla="*/ 96471 h 590"/>
                <a:gd name="T30" fmla="*/ 81236 w 209"/>
                <a:gd name="T31" fmla="*/ 83220 h 590"/>
                <a:gd name="T32" fmla="*/ 89098 w 209"/>
                <a:gd name="T33" fmla="*/ 70498 h 590"/>
                <a:gd name="T34" fmla="*/ 99056 w 209"/>
                <a:gd name="T35" fmla="*/ 59367 h 590"/>
                <a:gd name="T36" fmla="*/ 109538 w 209"/>
                <a:gd name="T37" fmla="*/ 48236 h 590"/>
                <a:gd name="T38" fmla="*/ 61844 w 209"/>
                <a:gd name="T39" fmla="*/ 0 h 590"/>
                <a:gd name="T40" fmla="*/ 61844 w 209"/>
                <a:gd name="T41" fmla="*/ 0 h 590"/>
                <a:gd name="T42" fmla="*/ 54507 w 209"/>
                <a:gd name="T43" fmla="*/ 7421 h 590"/>
                <a:gd name="T44" fmla="*/ 46645 w 209"/>
                <a:gd name="T45" fmla="*/ 15372 h 590"/>
                <a:gd name="T46" fmla="*/ 40356 w 209"/>
                <a:gd name="T47" fmla="*/ 24383 h 590"/>
                <a:gd name="T48" fmla="*/ 34067 w 209"/>
                <a:gd name="T49" fmla="*/ 33924 h 590"/>
                <a:gd name="T50" fmla="*/ 28826 w 209"/>
                <a:gd name="T51" fmla="*/ 42935 h 590"/>
                <a:gd name="T52" fmla="*/ 23585 w 209"/>
                <a:gd name="T53" fmla="*/ 52476 h 590"/>
                <a:gd name="T54" fmla="*/ 19392 w 209"/>
                <a:gd name="T55" fmla="*/ 61487 h 590"/>
                <a:gd name="T56" fmla="*/ 14675 w 209"/>
                <a:gd name="T57" fmla="*/ 72089 h 590"/>
                <a:gd name="T58" fmla="*/ 11006 w 209"/>
                <a:gd name="T59" fmla="*/ 82160 h 590"/>
                <a:gd name="T60" fmla="*/ 7862 w 209"/>
                <a:gd name="T61" fmla="*/ 92761 h 590"/>
                <a:gd name="T62" fmla="*/ 5765 w 209"/>
                <a:gd name="T63" fmla="*/ 102832 h 590"/>
                <a:gd name="T64" fmla="*/ 3669 w 209"/>
                <a:gd name="T65" fmla="*/ 113433 h 590"/>
                <a:gd name="T66" fmla="*/ 1572 w 209"/>
                <a:gd name="T67" fmla="*/ 124035 h 590"/>
                <a:gd name="T68" fmla="*/ 524 w 209"/>
                <a:gd name="T69" fmla="*/ 134636 h 590"/>
                <a:gd name="T70" fmla="*/ 0 w 209"/>
                <a:gd name="T71" fmla="*/ 145237 h 590"/>
                <a:gd name="T72" fmla="*/ 0 w 209"/>
                <a:gd name="T73" fmla="*/ 155838 h 590"/>
                <a:gd name="T74" fmla="*/ 0 w 209"/>
                <a:gd name="T75" fmla="*/ 166970 h 590"/>
                <a:gd name="T76" fmla="*/ 524 w 209"/>
                <a:gd name="T77" fmla="*/ 177571 h 590"/>
                <a:gd name="T78" fmla="*/ 1572 w 209"/>
                <a:gd name="T79" fmla="*/ 188172 h 590"/>
                <a:gd name="T80" fmla="*/ 3669 w 209"/>
                <a:gd name="T81" fmla="*/ 198774 h 590"/>
                <a:gd name="T82" fmla="*/ 5765 w 209"/>
                <a:gd name="T83" fmla="*/ 209375 h 590"/>
                <a:gd name="T84" fmla="*/ 7862 w 209"/>
                <a:gd name="T85" fmla="*/ 219976 h 590"/>
                <a:gd name="T86" fmla="*/ 11006 w 209"/>
                <a:gd name="T87" fmla="*/ 230577 h 590"/>
                <a:gd name="T88" fmla="*/ 14675 w 209"/>
                <a:gd name="T89" fmla="*/ 240648 h 590"/>
                <a:gd name="T90" fmla="*/ 19392 w 209"/>
                <a:gd name="T91" fmla="*/ 250190 h 590"/>
                <a:gd name="T92" fmla="*/ 23585 w 209"/>
                <a:gd name="T93" fmla="*/ 260261 h 590"/>
                <a:gd name="T94" fmla="*/ 28826 w 209"/>
                <a:gd name="T95" fmla="*/ 269802 h 590"/>
                <a:gd name="T96" fmla="*/ 34067 w 209"/>
                <a:gd name="T97" fmla="*/ 278813 h 590"/>
                <a:gd name="T98" fmla="*/ 40356 w 209"/>
                <a:gd name="T99" fmla="*/ 287824 h 590"/>
                <a:gd name="T100" fmla="*/ 46645 w 209"/>
                <a:gd name="T101" fmla="*/ 296305 h 590"/>
                <a:gd name="T102" fmla="*/ 54507 w 209"/>
                <a:gd name="T103" fmla="*/ 304256 h 590"/>
                <a:gd name="T104" fmla="*/ 61844 w 209"/>
                <a:gd name="T105" fmla="*/ 312737 h 590"/>
                <a:gd name="T106" fmla="*/ 61844 w 209"/>
                <a:gd name="T107" fmla="*/ 312737 h 59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9" h="590">
                  <a:moveTo>
                    <a:pt x="118" y="590"/>
                  </a:moveTo>
                  <a:lnTo>
                    <a:pt x="209" y="498"/>
                  </a:lnTo>
                  <a:lnTo>
                    <a:pt x="189" y="475"/>
                  </a:lnTo>
                  <a:lnTo>
                    <a:pt x="170" y="451"/>
                  </a:lnTo>
                  <a:lnTo>
                    <a:pt x="155" y="425"/>
                  </a:lnTo>
                  <a:lnTo>
                    <a:pt x="142" y="399"/>
                  </a:lnTo>
                  <a:lnTo>
                    <a:pt x="133" y="372"/>
                  </a:lnTo>
                  <a:lnTo>
                    <a:pt x="126" y="345"/>
                  </a:lnTo>
                  <a:lnTo>
                    <a:pt x="122" y="317"/>
                  </a:lnTo>
                  <a:lnTo>
                    <a:pt x="121" y="290"/>
                  </a:lnTo>
                  <a:lnTo>
                    <a:pt x="122" y="261"/>
                  </a:lnTo>
                  <a:lnTo>
                    <a:pt x="126" y="234"/>
                  </a:lnTo>
                  <a:lnTo>
                    <a:pt x="133" y="209"/>
                  </a:lnTo>
                  <a:lnTo>
                    <a:pt x="142" y="182"/>
                  </a:lnTo>
                  <a:lnTo>
                    <a:pt x="155" y="157"/>
                  </a:lnTo>
                  <a:lnTo>
                    <a:pt x="170" y="133"/>
                  </a:lnTo>
                  <a:lnTo>
                    <a:pt x="189" y="112"/>
                  </a:lnTo>
                  <a:lnTo>
                    <a:pt x="209" y="91"/>
                  </a:lnTo>
                  <a:lnTo>
                    <a:pt x="118" y="0"/>
                  </a:lnTo>
                  <a:lnTo>
                    <a:pt x="104" y="14"/>
                  </a:lnTo>
                  <a:lnTo>
                    <a:pt x="89" y="29"/>
                  </a:lnTo>
                  <a:lnTo>
                    <a:pt x="77" y="46"/>
                  </a:lnTo>
                  <a:lnTo>
                    <a:pt x="65" y="64"/>
                  </a:lnTo>
                  <a:lnTo>
                    <a:pt x="55" y="81"/>
                  </a:lnTo>
                  <a:lnTo>
                    <a:pt x="45" y="99"/>
                  </a:lnTo>
                  <a:lnTo>
                    <a:pt x="37" y="116"/>
                  </a:lnTo>
                  <a:lnTo>
                    <a:pt x="28" y="136"/>
                  </a:lnTo>
                  <a:lnTo>
                    <a:pt x="21" y="155"/>
                  </a:lnTo>
                  <a:lnTo>
                    <a:pt x="15" y="175"/>
                  </a:lnTo>
                  <a:lnTo>
                    <a:pt x="11" y="194"/>
                  </a:lnTo>
                  <a:lnTo>
                    <a:pt x="7" y="214"/>
                  </a:lnTo>
                  <a:lnTo>
                    <a:pt x="3" y="234"/>
                  </a:lnTo>
                  <a:lnTo>
                    <a:pt x="1" y="254"/>
                  </a:lnTo>
                  <a:lnTo>
                    <a:pt x="0" y="274"/>
                  </a:lnTo>
                  <a:lnTo>
                    <a:pt x="0" y="294"/>
                  </a:lnTo>
                  <a:lnTo>
                    <a:pt x="0" y="315"/>
                  </a:lnTo>
                  <a:lnTo>
                    <a:pt x="1" y="335"/>
                  </a:lnTo>
                  <a:lnTo>
                    <a:pt x="3" y="355"/>
                  </a:lnTo>
                  <a:lnTo>
                    <a:pt x="7" y="375"/>
                  </a:lnTo>
                  <a:lnTo>
                    <a:pt x="11" y="395"/>
                  </a:lnTo>
                  <a:lnTo>
                    <a:pt x="15" y="415"/>
                  </a:lnTo>
                  <a:lnTo>
                    <a:pt x="21" y="435"/>
                  </a:lnTo>
                  <a:lnTo>
                    <a:pt x="28" y="454"/>
                  </a:lnTo>
                  <a:lnTo>
                    <a:pt x="37" y="472"/>
                  </a:lnTo>
                  <a:lnTo>
                    <a:pt x="45" y="491"/>
                  </a:lnTo>
                  <a:lnTo>
                    <a:pt x="55" y="509"/>
                  </a:lnTo>
                  <a:lnTo>
                    <a:pt x="65" y="526"/>
                  </a:lnTo>
                  <a:lnTo>
                    <a:pt x="77" y="543"/>
                  </a:lnTo>
                  <a:lnTo>
                    <a:pt x="89" y="559"/>
                  </a:lnTo>
                  <a:lnTo>
                    <a:pt x="104" y="574"/>
                  </a:lnTo>
                  <a:lnTo>
                    <a:pt x="118" y="59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85" name="Freeform 14"/>
            <p:cNvSpPr>
              <a:spLocks/>
            </p:cNvSpPr>
            <p:nvPr/>
          </p:nvSpPr>
          <p:spPr bwMode="auto">
            <a:xfrm>
              <a:off x="1291895" y="1954435"/>
              <a:ext cx="146050" cy="479425"/>
            </a:xfrm>
            <a:custGeom>
              <a:avLst/>
              <a:gdLst>
                <a:gd name="T0" fmla="*/ 62669 w 275"/>
                <a:gd name="T1" fmla="*/ 236008 h 906"/>
                <a:gd name="T2" fmla="*/ 63731 w 275"/>
                <a:gd name="T3" fmla="*/ 207433 h 906"/>
                <a:gd name="T4" fmla="*/ 67980 w 275"/>
                <a:gd name="T5" fmla="*/ 181504 h 906"/>
                <a:gd name="T6" fmla="*/ 74353 w 275"/>
                <a:gd name="T7" fmla="*/ 155575 h 906"/>
                <a:gd name="T8" fmla="*/ 83381 w 275"/>
                <a:gd name="T9" fmla="*/ 130704 h 906"/>
                <a:gd name="T10" fmla="*/ 95596 w 275"/>
                <a:gd name="T11" fmla="*/ 107421 h 906"/>
                <a:gd name="T12" fmla="*/ 109936 w 275"/>
                <a:gd name="T13" fmla="*/ 84138 h 906"/>
                <a:gd name="T14" fmla="*/ 126400 w 275"/>
                <a:gd name="T15" fmla="*/ 62442 h 906"/>
                <a:gd name="T16" fmla="*/ 146050 w 275"/>
                <a:gd name="T17" fmla="*/ 41275 h 906"/>
                <a:gd name="T18" fmla="*/ 97721 w 275"/>
                <a:gd name="T19" fmla="*/ 0 h 906"/>
                <a:gd name="T20" fmla="*/ 74884 w 275"/>
                <a:gd name="T21" fmla="*/ 23813 h 906"/>
                <a:gd name="T22" fmla="*/ 56296 w 275"/>
                <a:gd name="T23" fmla="*/ 50271 h 906"/>
                <a:gd name="T24" fmla="*/ 38770 w 275"/>
                <a:gd name="T25" fmla="*/ 78317 h 906"/>
                <a:gd name="T26" fmla="*/ 24961 w 275"/>
                <a:gd name="T27" fmla="*/ 107421 h 906"/>
                <a:gd name="T28" fmla="*/ 14339 w 275"/>
                <a:gd name="T29" fmla="*/ 138113 h 906"/>
                <a:gd name="T30" fmla="*/ 6373 w 275"/>
                <a:gd name="T31" fmla="*/ 169863 h 906"/>
                <a:gd name="T32" fmla="*/ 1593 w 275"/>
                <a:gd name="T33" fmla="*/ 202142 h 906"/>
                <a:gd name="T34" fmla="*/ 0 w 275"/>
                <a:gd name="T35" fmla="*/ 236008 h 906"/>
                <a:gd name="T36" fmla="*/ 0 w 275"/>
                <a:gd name="T37" fmla="*/ 252942 h 906"/>
                <a:gd name="T38" fmla="*/ 3187 w 275"/>
                <a:gd name="T39" fmla="*/ 286808 h 906"/>
                <a:gd name="T40" fmla="*/ 10091 w 275"/>
                <a:gd name="T41" fmla="*/ 319617 h 906"/>
                <a:gd name="T42" fmla="*/ 19119 w 275"/>
                <a:gd name="T43" fmla="*/ 352425 h 906"/>
                <a:gd name="T44" fmla="*/ 31865 w 275"/>
                <a:gd name="T45" fmla="*/ 383646 h 906"/>
                <a:gd name="T46" fmla="*/ 46736 w 275"/>
                <a:gd name="T47" fmla="*/ 413279 h 906"/>
                <a:gd name="T48" fmla="*/ 65324 w 275"/>
                <a:gd name="T49" fmla="*/ 441325 h 906"/>
                <a:gd name="T50" fmla="*/ 86037 w 275"/>
                <a:gd name="T51" fmla="*/ 467254 h 906"/>
                <a:gd name="T52" fmla="*/ 146050 w 275"/>
                <a:gd name="T53" fmla="*/ 430742 h 906"/>
                <a:gd name="T54" fmla="*/ 137553 w 275"/>
                <a:gd name="T55" fmla="*/ 421746 h 906"/>
                <a:gd name="T56" fmla="*/ 120558 w 275"/>
                <a:gd name="T57" fmla="*/ 401108 h 906"/>
                <a:gd name="T58" fmla="*/ 105156 w 275"/>
                <a:gd name="T59" fmla="*/ 379413 h 906"/>
                <a:gd name="T60" fmla="*/ 92410 w 275"/>
                <a:gd name="T61" fmla="*/ 356129 h 906"/>
                <a:gd name="T62" fmla="*/ 80726 w 275"/>
                <a:gd name="T63" fmla="*/ 331258 h 906"/>
                <a:gd name="T64" fmla="*/ 71697 w 275"/>
                <a:gd name="T65" fmla="*/ 305329 h 906"/>
                <a:gd name="T66" fmla="*/ 65855 w 275"/>
                <a:gd name="T67" fmla="*/ 278342 h 906"/>
                <a:gd name="T68" fmla="*/ 62669 w 275"/>
                <a:gd name="T69" fmla="*/ 250296 h 906"/>
                <a:gd name="T70" fmla="*/ 62669 w 275"/>
                <a:gd name="T71" fmla="*/ 236008 h 90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75" h="906">
                  <a:moveTo>
                    <a:pt x="118" y="446"/>
                  </a:moveTo>
                  <a:lnTo>
                    <a:pt x="118" y="446"/>
                  </a:lnTo>
                  <a:lnTo>
                    <a:pt x="118" y="419"/>
                  </a:lnTo>
                  <a:lnTo>
                    <a:pt x="120" y="392"/>
                  </a:lnTo>
                  <a:lnTo>
                    <a:pt x="124" y="367"/>
                  </a:lnTo>
                  <a:lnTo>
                    <a:pt x="128" y="343"/>
                  </a:lnTo>
                  <a:lnTo>
                    <a:pt x="133" y="318"/>
                  </a:lnTo>
                  <a:lnTo>
                    <a:pt x="140" y="294"/>
                  </a:lnTo>
                  <a:lnTo>
                    <a:pt x="148" y="270"/>
                  </a:lnTo>
                  <a:lnTo>
                    <a:pt x="157" y="247"/>
                  </a:lnTo>
                  <a:lnTo>
                    <a:pt x="168" y="224"/>
                  </a:lnTo>
                  <a:lnTo>
                    <a:pt x="180" y="203"/>
                  </a:lnTo>
                  <a:lnTo>
                    <a:pt x="192" y="180"/>
                  </a:lnTo>
                  <a:lnTo>
                    <a:pt x="207" y="159"/>
                  </a:lnTo>
                  <a:lnTo>
                    <a:pt x="222" y="139"/>
                  </a:lnTo>
                  <a:lnTo>
                    <a:pt x="238" y="118"/>
                  </a:lnTo>
                  <a:lnTo>
                    <a:pt x="256" y="98"/>
                  </a:lnTo>
                  <a:lnTo>
                    <a:pt x="275" y="78"/>
                  </a:lnTo>
                  <a:lnTo>
                    <a:pt x="184" y="0"/>
                  </a:lnTo>
                  <a:lnTo>
                    <a:pt x="162" y="22"/>
                  </a:lnTo>
                  <a:lnTo>
                    <a:pt x="141" y="45"/>
                  </a:lnTo>
                  <a:lnTo>
                    <a:pt x="123" y="69"/>
                  </a:lnTo>
                  <a:lnTo>
                    <a:pt x="106" y="95"/>
                  </a:lnTo>
                  <a:lnTo>
                    <a:pt x="88" y="121"/>
                  </a:lnTo>
                  <a:lnTo>
                    <a:pt x="73" y="148"/>
                  </a:lnTo>
                  <a:lnTo>
                    <a:pt x="60" y="175"/>
                  </a:lnTo>
                  <a:lnTo>
                    <a:pt x="47" y="203"/>
                  </a:lnTo>
                  <a:lnTo>
                    <a:pt x="36" y="232"/>
                  </a:lnTo>
                  <a:lnTo>
                    <a:pt x="27" y="261"/>
                  </a:lnTo>
                  <a:lnTo>
                    <a:pt x="19" y="290"/>
                  </a:lnTo>
                  <a:lnTo>
                    <a:pt x="12" y="321"/>
                  </a:lnTo>
                  <a:lnTo>
                    <a:pt x="6" y="351"/>
                  </a:lnTo>
                  <a:lnTo>
                    <a:pt x="3" y="382"/>
                  </a:lnTo>
                  <a:lnTo>
                    <a:pt x="0" y="414"/>
                  </a:lnTo>
                  <a:lnTo>
                    <a:pt x="0" y="446"/>
                  </a:lnTo>
                  <a:lnTo>
                    <a:pt x="0" y="478"/>
                  </a:lnTo>
                  <a:lnTo>
                    <a:pt x="3" y="510"/>
                  </a:lnTo>
                  <a:lnTo>
                    <a:pt x="6" y="542"/>
                  </a:lnTo>
                  <a:lnTo>
                    <a:pt x="12" y="573"/>
                  </a:lnTo>
                  <a:lnTo>
                    <a:pt x="19" y="604"/>
                  </a:lnTo>
                  <a:lnTo>
                    <a:pt x="27" y="636"/>
                  </a:lnTo>
                  <a:lnTo>
                    <a:pt x="36" y="666"/>
                  </a:lnTo>
                  <a:lnTo>
                    <a:pt x="47" y="695"/>
                  </a:lnTo>
                  <a:lnTo>
                    <a:pt x="60" y="725"/>
                  </a:lnTo>
                  <a:lnTo>
                    <a:pt x="73" y="754"/>
                  </a:lnTo>
                  <a:lnTo>
                    <a:pt x="88" y="781"/>
                  </a:lnTo>
                  <a:lnTo>
                    <a:pt x="106" y="808"/>
                  </a:lnTo>
                  <a:lnTo>
                    <a:pt x="123" y="834"/>
                  </a:lnTo>
                  <a:lnTo>
                    <a:pt x="141" y="859"/>
                  </a:lnTo>
                  <a:lnTo>
                    <a:pt x="162" y="883"/>
                  </a:lnTo>
                  <a:lnTo>
                    <a:pt x="184" y="906"/>
                  </a:lnTo>
                  <a:lnTo>
                    <a:pt x="275" y="814"/>
                  </a:lnTo>
                  <a:lnTo>
                    <a:pt x="259" y="797"/>
                  </a:lnTo>
                  <a:lnTo>
                    <a:pt x="242" y="778"/>
                  </a:lnTo>
                  <a:lnTo>
                    <a:pt x="227" y="758"/>
                  </a:lnTo>
                  <a:lnTo>
                    <a:pt x="212" y="738"/>
                  </a:lnTo>
                  <a:lnTo>
                    <a:pt x="198" y="717"/>
                  </a:lnTo>
                  <a:lnTo>
                    <a:pt x="185" y="695"/>
                  </a:lnTo>
                  <a:lnTo>
                    <a:pt x="174" y="673"/>
                  </a:lnTo>
                  <a:lnTo>
                    <a:pt x="162" y="650"/>
                  </a:lnTo>
                  <a:lnTo>
                    <a:pt x="152" y="626"/>
                  </a:lnTo>
                  <a:lnTo>
                    <a:pt x="144" y="602"/>
                  </a:lnTo>
                  <a:lnTo>
                    <a:pt x="135" y="577"/>
                  </a:lnTo>
                  <a:lnTo>
                    <a:pt x="130" y="552"/>
                  </a:lnTo>
                  <a:lnTo>
                    <a:pt x="124" y="526"/>
                  </a:lnTo>
                  <a:lnTo>
                    <a:pt x="121" y="499"/>
                  </a:lnTo>
                  <a:lnTo>
                    <a:pt x="118" y="473"/>
                  </a:lnTo>
                  <a:lnTo>
                    <a:pt x="118" y="44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86" name="Freeform 15"/>
            <p:cNvSpPr>
              <a:spLocks/>
            </p:cNvSpPr>
            <p:nvPr/>
          </p:nvSpPr>
          <p:spPr bwMode="auto">
            <a:xfrm>
              <a:off x="1169658" y="1870297"/>
              <a:ext cx="184150" cy="646112"/>
            </a:xfrm>
            <a:custGeom>
              <a:avLst/>
              <a:gdLst>
                <a:gd name="T0" fmla="*/ 135467 w 348"/>
                <a:gd name="T1" fmla="*/ 0 h 1222"/>
                <a:gd name="T2" fmla="*/ 118533 w 348"/>
                <a:gd name="T3" fmla="*/ 16919 h 1222"/>
                <a:gd name="T4" fmla="*/ 89429 w 348"/>
                <a:gd name="T5" fmla="*/ 53402 h 1222"/>
                <a:gd name="T6" fmla="*/ 64029 w 348"/>
                <a:gd name="T7" fmla="*/ 91471 h 1222"/>
                <a:gd name="T8" fmla="*/ 42863 w 348"/>
                <a:gd name="T9" fmla="*/ 131655 h 1222"/>
                <a:gd name="T10" fmla="*/ 25929 w 348"/>
                <a:gd name="T11" fmla="*/ 171838 h 1222"/>
                <a:gd name="T12" fmla="*/ 13229 w 348"/>
                <a:gd name="T13" fmla="*/ 214137 h 1222"/>
                <a:gd name="T14" fmla="*/ 4233 w 348"/>
                <a:gd name="T15" fmla="*/ 258022 h 1222"/>
                <a:gd name="T16" fmla="*/ 529 w 348"/>
                <a:gd name="T17" fmla="*/ 300849 h 1222"/>
                <a:gd name="T18" fmla="*/ 529 w 348"/>
                <a:gd name="T19" fmla="*/ 344205 h 1222"/>
                <a:gd name="T20" fmla="*/ 4233 w 348"/>
                <a:gd name="T21" fmla="*/ 388090 h 1222"/>
                <a:gd name="T22" fmla="*/ 13229 w 348"/>
                <a:gd name="T23" fmla="*/ 430918 h 1222"/>
                <a:gd name="T24" fmla="*/ 25929 w 348"/>
                <a:gd name="T25" fmla="*/ 473216 h 1222"/>
                <a:gd name="T26" fmla="*/ 42863 w 348"/>
                <a:gd name="T27" fmla="*/ 514457 h 1222"/>
                <a:gd name="T28" fmla="*/ 64029 w 348"/>
                <a:gd name="T29" fmla="*/ 554112 h 1222"/>
                <a:gd name="T30" fmla="*/ 89429 w 348"/>
                <a:gd name="T31" fmla="*/ 592710 h 1222"/>
                <a:gd name="T32" fmla="*/ 118533 w 348"/>
                <a:gd name="T33" fmla="*/ 628664 h 1222"/>
                <a:gd name="T34" fmla="*/ 184150 w 348"/>
                <a:gd name="T35" fmla="*/ 597469 h 1222"/>
                <a:gd name="T36" fmla="*/ 170921 w 348"/>
                <a:gd name="T37" fmla="*/ 583193 h 1222"/>
                <a:gd name="T38" fmla="*/ 146579 w 348"/>
                <a:gd name="T39" fmla="*/ 551997 h 1222"/>
                <a:gd name="T40" fmla="*/ 126471 w 348"/>
                <a:gd name="T41" fmla="*/ 519745 h 1222"/>
                <a:gd name="T42" fmla="*/ 109008 w 348"/>
                <a:gd name="T43" fmla="*/ 485906 h 1222"/>
                <a:gd name="T44" fmla="*/ 95250 w 348"/>
                <a:gd name="T45" fmla="*/ 450481 h 1222"/>
                <a:gd name="T46" fmla="*/ 84667 w 348"/>
                <a:gd name="T47" fmla="*/ 415056 h 1222"/>
                <a:gd name="T48" fmla="*/ 78317 w 348"/>
                <a:gd name="T49" fmla="*/ 378044 h 1222"/>
                <a:gd name="T50" fmla="*/ 75142 w 348"/>
                <a:gd name="T51" fmla="*/ 341562 h 1222"/>
                <a:gd name="T52" fmla="*/ 75142 w 348"/>
                <a:gd name="T53" fmla="*/ 304550 h 1222"/>
                <a:gd name="T54" fmla="*/ 78317 w 348"/>
                <a:gd name="T55" fmla="*/ 267539 h 1222"/>
                <a:gd name="T56" fmla="*/ 84667 w 348"/>
                <a:gd name="T57" fmla="*/ 230528 h 1222"/>
                <a:gd name="T58" fmla="*/ 95250 w 348"/>
                <a:gd name="T59" fmla="*/ 194574 h 1222"/>
                <a:gd name="T60" fmla="*/ 109008 w 348"/>
                <a:gd name="T61" fmla="*/ 160206 h 1222"/>
                <a:gd name="T62" fmla="*/ 126471 w 348"/>
                <a:gd name="T63" fmla="*/ 126367 h 1222"/>
                <a:gd name="T64" fmla="*/ 146579 w 348"/>
                <a:gd name="T65" fmla="*/ 93586 h 1222"/>
                <a:gd name="T66" fmla="*/ 170921 w 348"/>
                <a:gd name="T67" fmla="*/ 62919 h 1222"/>
                <a:gd name="T68" fmla="*/ 184150 w 348"/>
                <a:gd name="T69" fmla="*/ 48643 h 122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48" h="1222">
                  <a:moveTo>
                    <a:pt x="348" y="92"/>
                  </a:moveTo>
                  <a:lnTo>
                    <a:pt x="256" y="0"/>
                  </a:lnTo>
                  <a:lnTo>
                    <a:pt x="224" y="32"/>
                  </a:lnTo>
                  <a:lnTo>
                    <a:pt x="196" y="66"/>
                  </a:lnTo>
                  <a:lnTo>
                    <a:pt x="169" y="101"/>
                  </a:lnTo>
                  <a:lnTo>
                    <a:pt x="143" y="136"/>
                  </a:lnTo>
                  <a:lnTo>
                    <a:pt x="121" y="173"/>
                  </a:lnTo>
                  <a:lnTo>
                    <a:pt x="99" y="210"/>
                  </a:lnTo>
                  <a:lnTo>
                    <a:pt x="81" y="249"/>
                  </a:lnTo>
                  <a:lnTo>
                    <a:pt x="64" y="287"/>
                  </a:lnTo>
                  <a:lnTo>
                    <a:pt x="49" y="325"/>
                  </a:lnTo>
                  <a:lnTo>
                    <a:pt x="35" y="365"/>
                  </a:lnTo>
                  <a:lnTo>
                    <a:pt x="25" y="405"/>
                  </a:lnTo>
                  <a:lnTo>
                    <a:pt x="15" y="446"/>
                  </a:lnTo>
                  <a:lnTo>
                    <a:pt x="8" y="488"/>
                  </a:lnTo>
                  <a:lnTo>
                    <a:pt x="4" y="528"/>
                  </a:lnTo>
                  <a:lnTo>
                    <a:pt x="1" y="569"/>
                  </a:lnTo>
                  <a:lnTo>
                    <a:pt x="0" y="610"/>
                  </a:lnTo>
                  <a:lnTo>
                    <a:pt x="1" y="651"/>
                  </a:lnTo>
                  <a:lnTo>
                    <a:pt x="4" y="693"/>
                  </a:lnTo>
                  <a:lnTo>
                    <a:pt x="8" y="734"/>
                  </a:lnTo>
                  <a:lnTo>
                    <a:pt x="15" y="775"/>
                  </a:lnTo>
                  <a:lnTo>
                    <a:pt x="25" y="815"/>
                  </a:lnTo>
                  <a:lnTo>
                    <a:pt x="35" y="855"/>
                  </a:lnTo>
                  <a:lnTo>
                    <a:pt x="49" y="895"/>
                  </a:lnTo>
                  <a:lnTo>
                    <a:pt x="64" y="935"/>
                  </a:lnTo>
                  <a:lnTo>
                    <a:pt x="81" y="973"/>
                  </a:lnTo>
                  <a:lnTo>
                    <a:pt x="99" y="1011"/>
                  </a:lnTo>
                  <a:lnTo>
                    <a:pt x="121" y="1048"/>
                  </a:lnTo>
                  <a:lnTo>
                    <a:pt x="143" y="1085"/>
                  </a:lnTo>
                  <a:lnTo>
                    <a:pt x="169" y="1121"/>
                  </a:lnTo>
                  <a:lnTo>
                    <a:pt x="196" y="1155"/>
                  </a:lnTo>
                  <a:lnTo>
                    <a:pt x="224" y="1189"/>
                  </a:lnTo>
                  <a:lnTo>
                    <a:pt x="256" y="1222"/>
                  </a:lnTo>
                  <a:lnTo>
                    <a:pt x="348" y="1130"/>
                  </a:lnTo>
                  <a:lnTo>
                    <a:pt x="323" y="1103"/>
                  </a:lnTo>
                  <a:lnTo>
                    <a:pt x="300" y="1073"/>
                  </a:lnTo>
                  <a:lnTo>
                    <a:pt x="277" y="1044"/>
                  </a:lnTo>
                  <a:lnTo>
                    <a:pt x="257" y="1014"/>
                  </a:lnTo>
                  <a:lnTo>
                    <a:pt x="239" y="983"/>
                  </a:lnTo>
                  <a:lnTo>
                    <a:pt x="222" y="952"/>
                  </a:lnTo>
                  <a:lnTo>
                    <a:pt x="206" y="919"/>
                  </a:lnTo>
                  <a:lnTo>
                    <a:pt x="193" y="886"/>
                  </a:lnTo>
                  <a:lnTo>
                    <a:pt x="180" y="852"/>
                  </a:lnTo>
                  <a:lnTo>
                    <a:pt x="170" y="819"/>
                  </a:lnTo>
                  <a:lnTo>
                    <a:pt x="160" y="785"/>
                  </a:lnTo>
                  <a:lnTo>
                    <a:pt x="153" y="750"/>
                  </a:lnTo>
                  <a:lnTo>
                    <a:pt x="148" y="715"/>
                  </a:lnTo>
                  <a:lnTo>
                    <a:pt x="145" y="681"/>
                  </a:lnTo>
                  <a:lnTo>
                    <a:pt x="142" y="646"/>
                  </a:lnTo>
                  <a:lnTo>
                    <a:pt x="141" y="610"/>
                  </a:lnTo>
                  <a:lnTo>
                    <a:pt x="142" y="576"/>
                  </a:lnTo>
                  <a:lnTo>
                    <a:pt x="145" y="540"/>
                  </a:lnTo>
                  <a:lnTo>
                    <a:pt x="148" y="506"/>
                  </a:lnTo>
                  <a:lnTo>
                    <a:pt x="153" y="471"/>
                  </a:lnTo>
                  <a:lnTo>
                    <a:pt x="160" y="436"/>
                  </a:lnTo>
                  <a:lnTo>
                    <a:pt x="170" y="402"/>
                  </a:lnTo>
                  <a:lnTo>
                    <a:pt x="180" y="368"/>
                  </a:lnTo>
                  <a:lnTo>
                    <a:pt x="193" y="335"/>
                  </a:lnTo>
                  <a:lnTo>
                    <a:pt x="206" y="303"/>
                  </a:lnTo>
                  <a:lnTo>
                    <a:pt x="222" y="270"/>
                  </a:lnTo>
                  <a:lnTo>
                    <a:pt x="239" y="239"/>
                  </a:lnTo>
                  <a:lnTo>
                    <a:pt x="257" y="207"/>
                  </a:lnTo>
                  <a:lnTo>
                    <a:pt x="277" y="177"/>
                  </a:lnTo>
                  <a:lnTo>
                    <a:pt x="300" y="148"/>
                  </a:lnTo>
                  <a:lnTo>
                    <a:pt x="323" y="119"/>
                  </a:lnTo>
                  <a:lnTo>
                    <a:pt x="348" y="9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87" name="Freeform 16"/>
            <p:cNvSpPr>
              <a:spLocks/>
            </p:cNvSpPr>
            <p:nvPr/>
          </p:nvSpPr>
          <p:spPr bwMode="auto">
            <a:xfrm>
              <a:off x="1730045" y="2029047"/>
              <a:ext cx="111125" cy="320675"/>
            </a:xfrm>
            <a:custGeom>
              <a:avLst/>
              <a:gdLst>
                <a:gd name="T0" fmla="*/ 0 w 211"/>
                <a:gd name="T1" fmla="*/ 271911 h 605"/>
                <a:gd name="T2" fmla="*/ 48979 w 211"/>
                <a:gd name="T3" fmla="*/ 320675 h 605"/>
                <a:gd name="T4" fmla="*/ 48979 w 211"/>
                <a:gd name="T5" fmla="*/ 320675 h 605"/>
                <a:gd name="T6" fmla="*/ 56352 w 211"/>
                <a:gd name="T7" fmla="*/ 312194 h 605"/>
                <a:gd name="T8" fmla="*/ 63199 w 211"/>
                <a:gd name="T9" fmla="*/ 304244 h 605"/>
                <a:gd name="T10" fmla="*/ 70046 w 211"/>
                <a:gd name="T11" fmla="*/ 295763 h 605"/>
                <a:gd name="T12" fmla="*/ 75839 w 211"/>
                <a:gd name="T13" fmla="*/ 286752 h 605"/>
                <a:gd name="T14" fmla="*/ 81632 w 211"/>
                <a:gd name="T15" fmla="*/ 277742 h 605"/>
                <a:gd name="T16" fmla="*/ 86372 w 211"/>
                <a:gd name="T17" fmla="*/ 268201 h 605"/>
                <a:gd name="T18" fmla="*/ 91639 w 211"/>
                <a:gd name="T19" fmla="*/ 258130 h 605"/>
                <a:gd name="T20" fmla="*/ 95325 w 211"/>
                <a:gd name="T21" fmla="*/ 248589 h 605"/>
                <a:gd name="T22" fmla="*/ 99012 w 211"/>
                <a:gd name="T23" fmla="*/ 238519 h 605"/>
                <a:gd name="T24" fmla="*/ 102172 w 211"/>
                <a:gd name="T25" fmla="*/ 227918 h 605"/>
                <a:gd name="T26" fmla="*/ 104805 w 211"/>
                <a:gd name="T27" fmla="*/ 217317 h 605"/>
                <a:gd name="T28" fmla="*/ 107438 w 211"/>
                <a:gd name="T29" fmla="*/ 206186 h 605"/>
                <a:gd name="T30" fmla="*/ 109018 w 211"/>
                <a:gd name="T31" fmla="*/ 194525 h 605"/>
                <a:gd name="T32" fmla="*/ 110072 w 211"/>
                <a:gd name="T33" fmla="*/ 183394 h 605"/>
                <a:gd name="T34" fmla="*/ 110072 w 211"/>
                <a:gd name="T35" fmla="*/ 172263 h 605"/>
                <a:gd name="T36" fmla="*/ 111125 w 211"/>
                <a:gd name="T37" fmla="*/ 160603 h 605"/>
                <a:gd name="T38" fmla="*/ 111125 w 211"/>
                <a:gd name="T39" fmla="*/ 160603 h 605"/>
                <a:gd name="T40" fmla="*/ 110072 w 211"/>
                <a:gd name="T41" fmla="*/ 148942 h 605"/>
                <a:gd name="T42" fmla="*/ 110072 w 211"/>
                <a:gd name="T43" fmla="*/ 137281 h 605"/>
                <a:gd name="T44" fmla="*/ 109018 w 211"/>
                <a:gd name="T45" fmla="*/ 126150 h 605"/>
                <a:gd name="T46" fmla="*/ 107438 w 211"/>
                <a:gd name="T47" fmla="*/ 115019 h 605"/>
                <a:gd name="T48" fmla="*/ 104805 w 211"/>
                <a:gd name="T49" fmla="*/ 104418 h 605"/>
                <a:gd name="T50" fmla="*/ 102172 w 211"/>
                <a:gd name="T51" fmla="*/ 93817 h 605"/>
                <a:gd name="T52" fmla="*/ 99012 w 211"/>
                <a:gd name="T53" fmla="*/ 83216 h 605"/>
                <a:gd name="T54" fmla="*/ 95325 w 211"/>
                <a:gd name="T55" fmla="*/ 72616 h 605"/>
                <a:gd name="T56" fmla="*/ 91639 w 211"/>
                <a:gd name="T57" fmla="*/ 62545 h 605"/>
                <a:gd name="T58" fmla="*/ 86372 w 211"/>
                <a:gd name="T59" fmla="*/ 53004 h 605"/>
                <a:gd name="T60" fmla="*/ 81632 w 211"/>
                <a:gd name="T61" fmla="*/ 42933 h 605"/>
                <a:gd name="T62" fmla="*/ 75839 w 211"/>
                <a:gd name="T63" fmla="*/ 33923 h 605"/>
                <a:gd name="T64" fmla="*/ 70046 w 211"/>
                <a:gd name="T65" fmla="*/ 24912 h 605"/>
                <a:gd name="T66" fmla="*/ 63199 w 211"/>
                <a:gd name="T67" fmla="*/ 16961 h 605"/>
                <a:gd name="T68" fmla="*/ 56352 w 211"/>
                <a:gd name="T69" fmla="*/ 8481 h 605"/>
                <a:gd name="T70" fmla="*/ 48979 w 211"/>
                <a:gd name="T71" fmla="*/ 0 h 605"/>
                <a:gd name="T72" fmla="*/ 0 w 211"/>
                <a:gd name="T73" fmla="*/ 56184 h 605"/>
                <a:gd name="T74" fmla="*/ 0 w 211"/>
                <a:gd name="T75" fmla="*/ 56184 h 605"/>
                <a:gd name="T76" fmla="*/ 10007 w 211"/>
                <a:gd name="T77" fmla="*/ 67315 h 605"/>
                <a:gd name="T78" fmla="*/ 17906 w 211"/>
                <a:gd name="T79" fmla="*/ 79506 h 605"/>
                <a:gd name="T80" fmla="*/ 25806 w 211"/>
                <a:gd name="T81" fmla="*/ 92757 h 605"/>
                <a:gd name="T82" fmla="*/ 32126 w 211"/>
                <a:gd name="T83" fmla="*/ 106538 h 605"/>
                <a:gd name="T84" fmla="*/ 37393 w 211"/>
                <a:gd name="T85" fmla="*/ 121379 h 605"/>
                <a:gd name="T86" fmla="*/ 42133 w 211"/>
                <a:gd name="T87" fmla="*/ 136751 h 605"/>
                <a:gd name="T88" fmla="*/ 45819 w 211"/>
                <a:gd name="T89" fmla="*/ 151592 h 605"/>
                <a:gd name="T90" fmla="*/ 48979 w 211"/>
                <a:gd name="T91" fmla="*/ 167493 h 605"/>
                <a:gd name="T92" fmla="*/ 48979 w 211"/>
                <a:gd name="T93" fmla="*/ 167493 h 605"/>
                <a:gd name="T94" fmla="*/ 45819 w 211"/>
                <a:gd name="T95" fmla="*/ 181274 h 605"/>
                <a:gd name="T96" fmla="*/ 42133 w 211"/>
                <a:gd name="T97" fmla="*/ 194525 h 605"/>
                <a:gd name="T98" fmla="*/ 37393 w 211"/>
                <a:gd name="T99" fmla="*/ 208306 h 605"/>
                <a:gd name="T100" fmla="*/ 32126 w 211"/>
                <a:gd name="T101" fmla="*/ 222617 h 605"/>
                <a:gd name="T102" fmla="*/ 25806 w 211"/>
                <a:gd name="T103" fmla="*/ 236398 h 605"/>
                <a:gd name="T104" fmla="*/ 17906 w 211"/>
                <a:gd name="T105" fmla="*/ 249119 h 605"/>
                <a:gd name="T106" fmla="*/ 10007 w 211"/>
                <a:gd name="T107" fmla="*/ 261310 h 605"/>
                <a:gd name="T108" fmla="*/ 0 w 211"/>
                <a:gd name="T109" fmla="*/ 271911 h 605"/>
                <a:gd name="T110" fmla="*/ 0 w 211"/>
                <a:gd name="T111" fmla="*/ 271911 h 60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11" h="605">
                  <a:moveTo>
                    <a:pt x="0" y="513"/>
                  </a:moveTo>
                  <a:lnTo>
                    <a:pt x="93" y="605"/>
                  </a:lnTo>
                  <a:lnTo>
                    <a:pt x="107" y="589"/>
                  </a:lnTo>
                  <a:lnTo>
                    <a:pt x="120" y="574"/>
                  </a:lnTo>
                  <a:lnTo>
                    <a:pt x="133" y="558"/>
                  </a:lnTo>
                  <a:lnTo>
                    <a:pt x="144" y="541"/>
                  </a:lnTo>
                  <a:lnTo>
                    <a:pt x="155" y="524"/>
                  </a:lnTo>
                  <a:lnTo>
                    <a:pt x="164" y="506"/>
                  </a:lnTo>
                  <a:lnTo>
                    <a:pt x="174" y="487"/>
                  </a:lnTo>
                  <a:lnTo>
                    <a:pt x="181" y="469"/>
                  </a:lnTo>
                  <a:lnTo>
                    <a:pt x="188" y="450"/>
                  </a:lnTo>
                  <a:lnTo>
                    <a:pt x="194" y="430"/>
                  </a:lnTo>
                  <a:lnTo>
                    <a:pt x="199" y="410"/>
                  </a:lnTo>
                  <a:lnTo>
                    <a:pt x="204" y="389"/>
                  </a:lnTo>
                  <a:lnTo>
                    <a:pt x="207" y="367"/>
                  </a:lnTo>
                  <a:lnTo>
                    <a:pt x="209" y="346"/>
                  </a:lnTo>
                  <a:lnTo>
                    <a:pt x="209" y="325"/>
                  </a:lnTo>
                  <a:lnTo>
                    <a:pt x="211" y="303"/>
                  </a:lnTo>
                  <a:lnTo>
                    <a:pt x="209" y="281"/>
                  </a:lnTo>
                  <a:lnTo>
                    <a:pt x="209" y="259"/>
                  </a:lnTo>
                  <a:lnTo>
                    <a:pt x="207" y="238"/>
                  </a:lnTo>
                  <a:lnTo>
                    <a:pt x="204" y="217"/>
                  </a:lnTo>
                  <a:lnTo>
                    <a:pt x="199" y="197"/>
                  </a:lnTo>
                  <a:lnTo>
                    <a:pt x="194" y="177"/>
                  </a:lnTo>
                  <a:lnTo>
                    <a:pt x="188" y="157"/>
                  </a:lnTo>
                  <a:lnTo>
                    <a:pt x="181" y="137"/>
                  </a:lnTo>
                  <a:lnTo>
                    <a:pt x="174" y="118"/>
                  </a:lnTo>
                  <a:lnTo>
                    <a:pt x="164" y="100"/>
                  </a:lnTo>
                  <a:lnTo>
                    <a:pt x="155" y="81"/>
                  </a:lnTo>
                  <a:lnTo>
                    <a:pt x="144" y="64"/>
                  </a:lnTo>
                  <a:lnTo>
                    <a:pt x="133" y="47"/>
                  </a:lnTo>
                  <a:lnTo>
                    <a:pt x="120" y="32"/>
                  </a:lnTo>
                  <a:lnTo>
                    <a:pt x="107" y="16"/>
                  </a:lnTo>
                  <a:lnTo>
                    <a:pt x="93" y="0"/>
                  </a:lnTo>
                  <a:lnTo>
                    <a:pt x="0" y="106"/>
                  </a:lnTo>
                  <a:lnTo>
                    <a:pt x="19" y="127"/>
                  </a:lnTo>
                  <a:lnTo>
                    <a:pt x="34" y="150"/>
                  </a:lnTo>
                  <a:lnTo>
                    <a:pt x="49" y="175"/>
                  </a:lnTo>
                  <a:lnTo>
                    <a:pt x="61" y="201"/>
                  </a:lnTo>
                  <a:lnTo>
                    <a:pt x="71" y="229"/>
                  </a:lnTo>
                  <a:lnTo>
                    <a:pt x="80" y="258"/>
                  </a:lnTo>
                  <a:lnTo>
                    <a:pt x="87" y="286"/>
                  </a:lnTo>
                  <a:lnTo>
                    <a:pt x="93" y="316"/>
                  </a:lnTo>
                  <a:lnTo>
                    <a:pt x="87" y="342"/>
                  </a:lnTo>
                  <a:lnTo>
                    <a:pt x="80" y="367"/>
                  </a:lnTo>
                  <a:lnTo>
                    <a:pt x="71" y="393"/>
                  </a:lnTo>
                  <a:lnTo>
                    <a:pt x="61" y="420"/>
                  </a:lnTo>
                  <a:lnTo>
                    <a:pt x="49" y="446"/>
                  </a:lnTo>
                  <a:lnTo>
                    <a:pt x="34" y="470"/>
                  </a:lnTo>
                  <a:lnTo>
                    <a:pt x="19" y="493"/>
                  </a:lnTo>
                  <a:lnTo>
                    <a:pt x="0" y="51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88" name="Freeform 17"/>
            <p:cNvSpPr>
              <a:spLocks/>
            </p:cNvSpPr>
            <p:nvPr/>
          </p:nvSpPr>
          <p:spPr bwMode="auto">
            <a:xfrm>
              <a:off x="1812595" y="1954435"/>
              <a:ext cx="146050" cy="485775"/>
            </a:xfrm>
            <a:custGeom>
              <a:avLst/>
              <a:gdLst>
                <a:gd name="T0" fmla="*/ 0 w 276"/>
                <a:gd name="T1" fmla="*/ 48102 h 919"/>
                <a:gd name="T2" fmla="*/ 8996 w 276"/>
                <a:gd name="T3" fmla="*/ 57616 h 919"/>
                <a:gd name="T4" fmla="*/ 25929 w 276"/>
                <a:gd name="T5" fmla="*/ 78231 h 919"/>
                <a:gd name="T6" fmla="*/ 40746 w 276"/>
                <a:gd name="T7" fmla="*/ 99904 h 919"/>
                <a:gd name="T8" fmla="*/ 54504 w 276"/>
                <a:gd name="T9" fmla="*/ 123162 h 919"/>
                <a:gd name="T10" fmla="*/ 65087 w 276"/>
                <a:gd name="T11" fmla="*/ 146948 h 919"/>
                <a:gd name="T12" fmla="*/ 74083 w 276"/>
                <a:gd name="T13" fmla="*/ 173378 h 919"/>
                <a:gd name="T14" fmla="*/ 79904 w 276"/>
                <a:gd name="T15" fmla="*/ 200865 h 919"/>
                <a:gd name="T16" fmla="*/ 83079 w 276"/>
                <a:gd name="T17" fmla="*/ 228351 h 919"/>
                <a:gd name="T18" fmla="*/ 83608 w 276"/>
                <a:gd name="T19" fmla="*/ 242623 h 919"/>
                <a:gd name="T20" fmla="*/ 82021 w 276"/>
                <a:gd name="T21" fmla="*/ 270639 h 919"/>
                <a:gd name="T22" fmla="*/ 78317 w 276"/>
                <a:gd name="T23" fmla="*/ 297597 h 919"/>
                <a:gd name="T24" fmla="*/ 71438 w 276"/>
                <a:gd name="T25" fmla="*/ 323498 h 919"/>
                <a:gd name="T26" fmla="*/ 62442 w 276"/>
                <a:gd name="T27" fmla="*/ 347813 h 919"/>
                <a:gd name="T28" fmla="*/ 50800 w 276"/>
                <a:gd name="T29" fmla="*/ 371599 h 919"/>
                <a:gd name="T30" fmla="*/ 36513 w 276"/>
                <a:gd name="T31" fmla="*/ 393800 h 919"/>
                <a:gd name="T32" fmla="*/ 19579 w 276"/>
                <a:gd name="T33" fmla="*/ 416001 h 919"/>
                <a:gd name="T34" fmla="*/ 0 w 276"/>
                <a:gd name="T35" fmla="*/ 436616 h 919"/>
                <a:gd name="T36" fmla="*/ 48154 w 276"/>
                <a:gd name="T37" fmla="*/ 485775 h 919"/>
                <a:gd name="T38" fmla="*/ 70908 w 276"/>
                <a:gd name="T39" fmla="*/ 460931 h 919"/>
                <a:gd name="T40" fmla="*/ 90488 w 276"/>
                <a:gd name="T41" fmla="*/ 433973 h 919"/>
                <a:gd name="T42" fmla="*/ 106892 w 276"/>
                <a:gd name="T43" fmla="*/ 405429 h 919"/>
                <a:gd name="T44" fmla="*/ 120650 w 276"/>
                <a:gd name="T45" fmla="*/ 374242 h 919"/>
                <a:gd name="T46" fmla="*/ 131763 w 276"/>
                <a:gd name="T47" fmla="*/ 343055 h 919"/>
                <a:gd name="T48" fmla="*/ 139700 w 276"/>
                <a:gd name="T49" fmla="*/ 309754 h 919"/>
                <a:gd name="T50" fmla="*/ 144463 w 276"/>
                <a:gd name="T51" fmla="*/ 276453 h 919"/>
                <a:gd name="T52" fmla="*/ 146050 w 276"/>
                <a:gd name="T53" fmla="*/ 242623 h 919"/>
                <a:gd name="T54" fmla="*/ 145521 w 276"/>
                <a:gd name="T55" fmla="*/ 224651 h 919"/>
                <a:gd name="T56" fmla="*/ 142346 w 276"/>
                <a:gd name="T57" fmla="*/ 189236 h 919"/>
                <a:gd name="T58" fmla="*/ 135467 w 276"/>
                <a:gd name="T59" fmla="*/ 155406 h 919"/>
                <a:gd name="T60" fmla="*/ 126471 w 276"/>
                <a:gd name="T61" fmla="*/ 123690 h 919"/>
                <a:gd name="T62" fmla="*/ 114829 w 276"/>
                <a:gd name="T63" fmla="*/ 93032 h 919"/>
                <a:gd name="T64" fmla="*/ 98954 w 276"/>
                <a:gd name="T65" fmla="*/ 64488 h 919"/>
                <a:gd name="T66" fmla="*/ 80433 w 276"/>
                <a:gd name="T67" fmla="*/ 36473 h 919"/>
                <a:gd name="T68" fmla="*/ 60325 w 276"/>
                <a:gd name="T69" fmla="*/ 11629 h 919"/>
                <a:gd name="T70" fmla="*/ 48154 w 276"/>
                <a:gd name="T71" fmla="*/ 0 h 91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76" h="919">
                  <a:moveTo>
                    <a:pt x="91" y="0"/>
                  </a:moveTo>
                  <a:lnTo>
                    <a:pt x="0" y="91"/>
                  </a:lnTo>
                  <a:lnTo>
                    <a:pt x="17" y="109"/>
                  </a:lnTo>
                  <a:lnTo>
                    <a:pt x="33" y="128"/>
                  </a:lnTo>
                  <a:lnTo>
                    <a:pt x="49" y="148"/>
                  </a:lnTo>
                  <a:lnTo>
                    <a:pt x="63" y="167"/>
                  </a:lnTo>
                  <a:lnTo>
                    <a:pt x="77" y="189"/>
                  </a:lnTo>
                  <a:lnTo>
                    <a:pt x="90" y="210"/>
                  </a:lnTo>
                  <a:lnTo>
                    <a:pt x="103" y="233"/>
                  </a:lnTo>
                  <a:lnTo>
                    <a:pt x="113" y="256"/>
                  </a:lnTo>
                  <a:lnTo>
                    <a:pt x="123" y="278"/>
                  </a:lnTo>
                  <a:lnTo>
                    <a:pt x="133" y="304"/>
                  </a:lnTo>
                  <a:lnTo>
                    <a:pt x="140" y="328"/>
                  </a:lnTo>
                  <a:lnTo>
                    <a:pt x="145" y="354"/>
                  </a:lnTo>
                  <a:lnTo>
                    <a:pt x="151" y="380"/>
                  </a:lnTo>
                  <a:lnTo>
                    <a:pt x="155" y="405"/>
                  </a:lnTo>
                  <a:lnTo>
                    <a:pt x="157" y="432"/>
                  </a:lnTo>
                  <a:lnTo>
                    <a:pt x="158" y="459"/>
                  </a:lnTo>
                  <a:lnTo>
                    <a:pt x="157" y="486"/>
                  </a:lnTo>
                  <a:lnTo>
                    <a:pt x="155" y="512"/>
                  </a:lnTo>
                  <a:lnTo>
                    <a:pt x="152" y="538"/>
                  </a:lnTo>
                  <a:lnTo>
                    <a:pt x="148" y="563"/>
                  </a:lnTo>
                  <a:lnTo>
                    <a:pt x="143" y="587"/>
                  </a:lnTo>
                  <a:lnTo>
                    <a:pt x="135" y="612"/>
                  </a:lnTo>
                  <a:lnTo>
                    <a:pt x="127" y="634"/>
                  </a:lnTo>
                  <a:lnTo>
                    <a:pt x="118" y="658"/>
                  </a:lnTo>
                  <a:lnTo>
                    <a:pt x="108" y="680"/>
                  </a:lnTo>
                  <a:lnTo>
                    <a:pt x="96" y="703"/>
                  </a:lnTo>
                  <a:lnTo>
                    <a:pt x="83" y="724"/>
                  </a:lnTo>
                  <a:lnTo>
                    <a:pt x="69" y="745"/>
                  </a:lnTo>
                  <a:lnTo>
                    <a:pt x="54" y="767"/>
                  </a:lnTo>
                  <a:lnTo>
                    <a:pt x="37" y="787"/>
                  </a:lnTo>
                  <a:lnTo>
                    <a:pt x="19" y="807"/>
                  </a:lnTo>
                  <a:lnTo>
                    <a:pt x="0" y="826"/>
                  </a:lnTo>
                  <a:lnTo>
                    <a:pt x="91" y="919"/>
                  </a:lnTo>
                  <a:lnTo>
                    <a:pt x="114" y="896"/>
                  </a:lnTo>
                  <a:lnTo>
                    <a:pt x="134" y="872"/>
                  </a:lnTo>
                  <a:lnTo>
                    <a:pt x="152" y="848"/>
                  </a:lnTo>
                  <a:lnTo>
                    <a:pt x="171" y="821"/>
                  </a:lnTo>
                  <a:lnTo>
                    <a:pt x="187" y="794"/>
                  </a:lnTo>
                  <a:lnTo>
                    <a:pt x="202" y="767"/>
                  </a:lnTo>
                  <a:lnTo>
                    <a:pt x="217" y="738"/>
                  </a:lnTo>
                  <a:lnTo>
                    <a:pt x="228" y="708"/>
                  </a:lnTo>
                  <a:lnTo>
                    <a:pt x="239" y="678"/>
                  </a:lnTo>
                  <a:lnTo>
                    <a:pt x="249" y="649"/>
                  </a:lnTo>
                  <a:lnTo>
                    <a:pt x="256" y="617"/>
                  </a:lnTo>
                  <a:lnTo>
                    <a:pt x="264" y="586"/>
                  </a:lnTo>
                  <a:lnTo>
                    <a:pt x="269" y="555"/>
                  </a:lnTo>
                  <a:lnTo>
                    <a:pt x="273" y="523"/>
                  </a:lnTo>
                  <a:lnTo>
                    <a:pt x="275" y="491"/>
                  </a:lnTo>
                  <a:lnTo>
                    <a:pt x="276" y="459"/>
                  </a:lnTo>
                  <a:lnTo>
                    <a:pt x="275" y="425"/>
                  </a:lnTo>
                  <a:lnTo>
                    <a:pt x="273" y="391"/>
                  </a:lnTo>
                  <a:lnTo>
                    <a:pt x="269" y="358"/>
                  </a:lnTo>
                  <a:lnTo>
                    <a:pt x="264" y="327"/>
                  </a:lnTo>
                  <a:lnTo>
                    <a:pt x="256" y="294"/>
                  </a:lnTo>
                  <a:lnTo>
                    <a:pt x="249" y="264"/>
                  </a:lnTo>
                  <a:lnTo>
                    <a:pt x="239" y="234"/>
                  </a:lnTo>
                  <a:lnTo>
                    <a:pt x="228" y="204"/>
                  </a:lnTo>
                  <a:lnTo>
                    <a:pt x="217" y="176"/>
                  </a:lnTo>
                  <a:lnTo>
                    <a:pt x="202" y="149"/>
                  </a:lnTo>
                  <a:lnTo>
                    <a:pt x="187" y="122"/>
                  </a:lnTo>
                  <a:lnTo>
                    <a:pt x="171" y="95"/>
                  </a:lnTo>
                  <a:lnTo>
                    <a:pt x="152" y="69"/>
                  </a:lnTo>
                  <a:lnTo>
                    <a:pt x="134" y="45"/>
                  </a:lnTo>
                  <a:lnTo>
                    <a:pt x="114" y="22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89" name="Freeform 18"/>
            <p:cNvSpPr>
              <a:spLocks/>
            </p:cNvSpPr>
            <p:nvPr/>
          </p:nvSpPr>
          <p:spPr bwMode="auto">
            <a:xfrm>
              <a:off x="1888795" y="1870297"/>
              <a:ext cx="182563" cy="654050"/>
            </a:xfrm>
            <a:custGeom>
              <a:avLst/>
              <a:gdLst>
                <a:gd name="T0" fmla="*/ 0 w 343"/>
                <a:gd name="T1" fmla="*/ 48723 h 1235"/>
                <a:gd name="T2" fmla="*/ 14371 w 343"/>
                <a:gd name="T3" fmla="*/ 63022 h 1235"/>
                <a:gd name="T4" fmla="*/ 39387 w 343"/>
                <a:gd name="T5" fmla="*/ 93738 h 1235"/>
                <a:gd name="T6" fmla="*/ 60677 w 343"/>
                <a:gd name="T7" fmla="*/ 125514 h 1235"/>
                <a:gd name="T8" fmla="*/ 78241 w 343"/>
                <a:gd name="T9" fmla="*/ 159408 h 1235"/>
                <a:gd name="T10" fmla="*/ 91548 w 343"/>
                <a:gd name="T11" fmla="*/ 194891 h 1235"/>
                <a:gd name="T12" fmla="*/ 101660 w 343"/>
                <a:gd name="T13" fmla="*/ 230903 h 1235"/>
                <a:gd name="T14" fmla="*/ 108047 w 343"/>
                <a:gd name="T15" fmla="*/ 269034 h 1235"/>
                <a:gd name="T16" fmla="*/ 112306 w 343"/>
                <a:gd name="T17" fmla="*/ 307165 h 1235"/>
                <a:gd name="T18" fmla="*/ 112306 w 343"/>
                <a:gd name="T19" fmla="*/ 326760 h 1235"/>
                <a:gd name="T20" fmla="*/ 110709 w 343"/>
                <a:gd name="T21" fmla="*/ 365421 h 1235"/>
                <a:gd name="T22" fmla="*/ 104322 w 343"/>
                <a:gd name="T23" fmla="*/ 403551 h 1235"/>
                <a:gd name="T24" fmla="*/ 95273 w 343"/>
                <a:gd name="T25" fmla="*/ 440623 h 1235"/>
                <a:gd name="T26" fmla="*/ 82499 w 343"/>
                <a:gd name="T27" fmla="*/ 476106 h 1235"/>
                <a:gd name="T28" fmla="*/ 66532 w 343"/>
                <a:gd name="T29" fmla="*/ 511059 h 1235"/>
                <a:gd name="T30" fmla="*/ 46838 w 343"/>
                <a:gd name="T31" fmla="*/ 543894 h 1235"/>
                <a:gd name="T32" fmla="*/ 25016 w 343"/>
                <a:gd name="T33" fmla="*/ 575670 h 1235"/>
                <a:gd name="T34" fmla="*/ 0 w 343"/>
                <a:gd name="T35" fmla="*/ 604798 h 1235"/>
                <a:gd name="T36" fmla="*/ 48967 w 343"/>
                <a:gd name="T37" fmla="*/ 654050 h 1235"/>
                <a:gd name="T38" fmla="*/ 78774 w 343"/>
                <a:gd name="T39" fmla="*/ 620686 h 1235"/>
                <a:gd name="T40" fmla="*/ 105386 w 343"/>
                <a:gd name="T41" fmla="*/ 585203 h 1235"/>
                <a:gd name="T42" fmla="*/ 127741 w 343"/>
                <a:gd name="T43" fmla="*/ 547072 h 1235"/>
                <a:gd name="T44" fmla="*/ 146902 w 343"/>
                <a:gd name="T45" fmla="*/ 506823 h 1235"/>
                <a:gd name="T46" fmla="*/ 162337 w 343"/>
                <a:gd name="T47" fmla="*/ 464985 h 1235"/>
                <a:gd name="T48" fmla="*/ 173515 w 343"/>
                <a:gd name="T49" fmla="*/ 422087 h 1235"/>
                <a:gd name="T50" fmla="*/ 179369 w 343"/>
                <a:gd name="T51" fmla="*/ 378131 h 1235"/>
                <a:gd name="T52" fmla="*/ 182031 w 343"/>
                <a:gd name="T53" fmla="*/ 333645 h 1235"/>
                <a:gd name="T54" fmla="*/ 182563 w 343"/>
                <a:gd name="T55" fmla="*/ 308754 h 1235"/>
                <a:gd name="T56" fmla="*/ 180434 w 343"/>
                <a:gd name="T57" fmla="*/ 261090 h 1235"/>
                <a:gd name="T58" fmla="*/ 172450 w 343"/>
                <a:gd name="T59" fmla="*/ 214486 h 1235"/>
                <a:gd name="T60" fmla="*/ 160741 w 343"/>
                <a:gd name="T61" fmla="*/ 170000 h 1235"/>
                <a:gd name="T62" fmla="*/ 143176 w 343"/>
                <a:gd name="T63" fmla="*/ 128162 h 1235"/>
                <a:gd name="T64" fmla="*/ 121886 w 343"/>
                <a:gd name="T65" fmla="*/ 87913 h 1235"/>
                <a:gd name="T66" fmla="*/ 96338 w 343"/>
                <a:gd name="T67" fmla="*/ 50312 h 1235"/>
                <a:gd name="T68" fmla="*/ 65999 w 343"/>
                <a:gd name="T69" fmla="*/ 15358 h 1235"/>
                <a:gd name="T70" fmla="*/ 48967 w 343"/>
                <a:gd name="T71" fmla="*/ 0 h 12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343" h="1235">
                  <a:moveTo>
                    <a:pt x="92" y="0"/>
                  </a:moveTo>
                  <a:lnTo>
                    <a:pt x="0" y="92"/>
                  </a:lnTo>
                  <a:lnTo>
                    <a:pt x="27" y="119"/>
                  </a:lnTo>
                  <a:lnTo>
                    <a:pt x="51" y="148"/>
                  </a:lnTo>
                  <a:lnTo>
                    <a:pt x="74" y="177"/>
                  </a:lnTo>
                  <a:lnTo>
                    <a:pt x="94" y="207"/>
                  </a:lnTo>
                  <a:lnTo>
                    <a:pt x="114" y="237"/>
                  </a:lnTo>
                  <a:lnTo>
                    <a:pt x="131" y="270"/>
                  </a:lnTo>
                  <a:lnTo>
                    <a:pt x="147" y="301"/>
                  </a:lnTo>
                  <a:lnTo>
                    <a:pt x="159" y="334"/>
                  </a:lnTo>
                  <a:lnTo>
                    <a:pt x="172" y="368"/>
                  </a:lnTo>
                  <a:lnTo>
                    <a:pt x="182" y="402"/>
                  </a:lnTo>
                  <a:lnTo>
                    <a:pt x="191" y="436"/>
                  </a:lnTo>
                  <a:lnTo>
                    <a:pt x="198" y="472"/>
                  </a:lnTo>
                  <a:lnTo>
                    <a:pt x="203" y="508"/>
                  </a:lnTo>
                  <a:lnTo>
                    <a:pt x="208" y="543"/>
                  </a:lnTo>
                  <a:lnTo>
                    <a:pt x="211" y="580"/>
                  </a:lnTo>
                  <a:lnTo>
                    <a:pt x="211" y="617"/>
                  </a:lnTo>
                  <a:lnTo>
                    <a:pt x="209" y="654"/>
                  </a:lnTo>
                  <a:lnTo>
                    <a:pt x="208" y="690"/>
                  </a:lnTo>
                  <a:lnTo>
                    <a:pt x="202" y="727"/>
                  </a:lnTo>
                  <a:lnTo>
                    <a:pt x="196" y="762"/>
                  </a:lnTo>
                  <a:lnTo>
                    <a:pt x="188" y="797"/>
                  </a:lnTo>
                  <a:lnTo>
                    <a:pt x="179" y="832"/>
                  </a:lnTo>
                  <a:lnTo>
                    <a:pt x="168" y="866"/>
                  </a:lnTo>
                  <a:lnTo>
                    <a:pt x="155" y="899"/>
                  </a:lnTo>
                  <a:lnTo>
                    <a:pt x="141" y="933"/>
                  </a:lnTo>
                  <a:lnTo>
                    <a:pt x="125" y="965"/>
                  </a:lnTo>
                  <a:lnTo>
                    <a:pt x="108" y="996"/>
                  </a:lnTo>
                  <a:lnTo>
                    <a:pt x="88" y="1027"/>
                  </a:lnTo>
                  <a:lnTo>
                    <a:pt x="68" y="1057"/>
                  </a:lnTo>
                  <a:lnTo>
                    <a:pt x="47" y="1087"/>
                  </a:lnTo>
                  <a:lnTo>
                    <a:pt x="24" y="1115"/>
                  </a:lnTo>
                  <a:lnTo>
                    <a:pt x="0" y="1142"/>
                  </a:lnTo>
                  <a:lnTo>
                    <a:pt x="92" y="1235"/>
                  </a:lnTo>
                  <a:lnTo>
                    <a:pt x="121" y="1204"/>
                  </a:lnTo>
                  <a:lnTo>
                    <a:pt x="148" y="1172"/>
                  </a:lnTo>
                  <a:lnTo>
                    <a:pt x="174" y="1140"/>
                  </a:lnTo>
                  <a:lnTo>
                    <a:pt x="198" y="1105"/>
                  </a:lnTo>
                  <a:lnTo>
                    <a:pt x="221" y="1070"/>
                  </a:lnTo>
                  <a:lnTo>
                    <a:pt x="240" y="1033"/>
                  </a:lnTo>
                  <a:lnTo>
                    <a:pt x="259" y="996"/>
                  </a:lnTo>
                  <a:lnTo>
                    <a:pt x="276" y="957"/>
                  </a:lnTo>
                  <a:lnTo>
                    <a:pt x="292" y="918"/>
                  </a:lnTo>
                  <a:lnTo>
                    <a:pt x="305" y="878"/>
                  </a:lnTo>
                  <a:lnTo>
                    <a:pt x="316" y="838"/>
                  </a:lnTo>
                  <a:lnTo>
                    <a:pt x="326" y="797"/>
                  </a:lnTo>
                  <a:lnTo>
                    <a:pt x="333" y="755"/>
                  </a:lnTo>
                  <a:lnTo>
                    <a:pt x="337" y="714"/>
                  </a:lnTo>
                  <a:lnTo>
                    <a:pt x="342" y="673"/>
                  </a:lnTo>
                  <a:lnTo>
                    <a:pt x="342" y="630"/>
                  </a:lnTo>
                  <a:lnTo>
                    <a:pt x="343" y="583"/>
                  </a:lnTo>
                  <a:lnTo>
                    <a:pt x="342" y="538"/>
                  </a:lnTo>
                  <a:lnTo>
                    <a:pt x="339" y="493"/>
                  </a:lnTo>
                  <a:lnTo>
                    <a:pt x="333" y="449"/>
                  </a:lnTo>
                  <a:lnTo>
                    <a:pt x="324" y="405"/>
                  </a:lnTo>
                  <a:lnTo>
                    <a:pt x="315" y="362"/>
                  </a:lnTo>
                  <a:lnTo>
                    <a:pt x="302" y="321"/>
                  </a:lnTo>
                  <a:lnTo>
                    <a:pt x="286" y="280"/>
                  </a:lnTo>
                  <a:lnTo>
                    <a:pt x="269" y="242"/>
                  </a:lnTo>
                  <a:lnTo>
                    <a:pt x="250" y="203"/>
                  </a:lnTo>
                  <a:lnTo>
                    <a:pt x="229" y="166"/>
                  </a:lnTo>
                  <a:lnTo>
                    <a:pt x="205" y="129"/>
                  </a:lnTo>
                  <a:lnTo>
                    <a:pt x="181" y="95"/>
                  </a:lnTo>
                  <a:lnTo>
                    <a:pt x="152" y="62"/>
                  </a:lnTo>
                  <a:lnTo>
                    <a:pt x="124" y="29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90" name="Freeform 19"/>
            <p:cNvSpPr>
              <a:spLocks noEditPoints="1"/>
            </p:cNvSpPr>
            <p:nvPr/>
          </p:nvSpPr>
          <p:spPr bwMode="auto">
            <a:xfrm>
              <a:off x="1417308" y="2314797"/>
              <a:ext cx="409575" cy="598487"/>
            </a:xfrm>
            <a:custGeom>
              <a:avLst/>
              <a:gdLst>
                <a:gd name="T0" fmla="*/ 125251 w 775"/>
                <a:gd name="T1" fmla="*/ 431122 h 1130"/>
                <a:gd name="T2" fmla="*/ 159602 w 775"/>
                <a:gd name="T3" fmla="*/ 319370 h 1130"/>
                <a:gd name="T4" fmla="*/ 264242 w 775"/>
                <a:gd name="T5" fmla="*/ 319370 h 1130"/>
                <a:gd name="T6" fmla="*/ 299122 w 775"/>
                <a:gd name="T7" fmla="*/ 431122 h 1130"/>
                <a:gd name="T8" fmla="*/ 125251 w 775"/>
                <a:gd name="T9" fmla="*/ 431122 h 1130"/>
                <a:gd name="T10" fmla="*/ 208751 w 775"/>
                <a:gd name="T11" fmla="*/ 153064 h 1130"/>
                <a:gd name="T12" fmla="*/ 236232 w 775"/>
                <a:gd name="T13" fmla="*/ 256873 h 1130"/>
                <a:gd name="T14" fmla="*/ 180741 w 775"/>
                <a:gd name="T15" fmla="*/ 256873 h 1130"/>
                <a:gd name="T16" fmla="*/ 208751 w 775"/>
                <a:gd name="T17" fmla="*/ 153064 h 1130"/>
                <a:gd name="T18" fmla="*/ 173871 w 775"/>
                <a:gd name="T19" fmla="*/ 21185 h 1130"/>
                <a:gd name="T20" fmla="*/ 0 w 775"/>
                <a:gd name="T21" fmla="*/ 598487 h 1130"/>
                <a:gd name="T22" fmla="*/ 69231 w 775"/>
                <a:gd name="T23" fmla="*/ 598487 h 1130"/>
                <a:gd name="T24" fmla="*/ 104111 w 775"/>
                <a:gd name="T25" fmla="*/ 493619 h 1130"/>
                <a:gd name="T26" fmla="*/ 312334 w 775"/>
                <a:gd name="T27" fmla="*/ 493619 h 1130"/>
                <a:gd name="T28" fmla="*/ 340344 w 775"/>
                <a:gd name="T29" fmla="*/ 598487 h 1130"/>
                <a:gd name="T30" fmla="*/ 409575 w 775"/>
                <a:gd name="T31" fmla="*/ 598487 h 1130"/>
                <a:gd name="T32" fmla="*/ 243103 w 775"/>
                <a:gd name="T33" fmla="*/ 21185 h 1130"/>
                <a:gd name="T34" fmla="*/ 243103 w 775"/>
                <a:gd name="T35" fmla="*/ 21185 h 1130"/>
                <a:gd name="T36" fmla="*/ 240460 w 775"/>
                <a:gd name="T37" fmla="*/ 15889 h 1130"/>
                <a:gd name="T38" fmla="*/ 236232 w 775"/>
                <a:gd name="T39" fmla="*/ 11122 h 1130"/>
                <a:gd name="T40" fmla="*/ 232533 w 775"/>
                <a:gd name="T41" fmla="*/ 7945 h 1130"/>
                <a:gd name="T42" fmla="*/ 228305 w 775"/>
                <a:gd name="T43" fmla="*/ 5296 h 1130"/>
                <a:gd name="T44" fmla="*/ 223549 w 775"/>
                <a:gd name="T45" fmla="*/ 2648 h 1130"/>
                <a:gd name="T46" fmla="*/ 218264 w 775"/>
                <a:gd name="T47" fmla="*/ 1589 h 1130"/>
                <a:gd name="T48" fmla="*/ 214036 w 775"/>
                <a:gd name="T49" fmla="*/ 0 h 1130"/>
                <a:gd name="T50" fmla="*/ 208751 w 775"/>
                <a:gd name="T51" fmla="*/ 0 h 1130"/>
                <a:gd name="T52" fmla="*/ 203466 w 775"/>
                <a:gd name="T53" fmla="*/ 0 h 1130"/>
                <a:gd name="T54" fmla="*/ 198181 w 775"/>
                <a:gd name="T55" fmla="*/ 1589 h 1130"/>
                <a:gd name="T56" fmla="*/ 192897 w 775"/>
                <a:gd name="T57" fmla="*/ 2648 h 1130"/>
                <a:gd name="T58" fmla="*/ 188140 w 775"/>
                <a:gd name="T59" fmla="*/ 5296 h 1130"/>
                <a:gd name="T60" fmla="*/ 183912 w 775"/>
                <a:gd name="T61" fmla="*/ 7945 h 1130"/>
                <a:gd name="T62" fmla="*/ 180213 w 775"/>
                <a:gd name="T63" fmla="*/ 11122 h 1130"/>
                <a:gd name="T64" fmla="*/ 176514 w 775"/>
                <a:gd name="T65" fmla="*/ 15889 h 1130"/>
                <a:gd name="T66" fmla="*/ 173871 w 775"/>
                <a:gd name="T67" fmla="*/ 21185 h 1130"/>
                <a:gd name="T68" fmla="*/ 173871 w 775"/>
                <a:gd name="T69" fmla="*/ 21185 h 113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775" h="1130">
                  <a:moveTo>
                    <a:pt x="237" y="814"/>
                  </a:moveTo>
                  <a:lnTo>
                    <a:pt x="302" y="603"/>
                  </a:lnTo>
                  <a:lnTo>
                    <a:pt x="500" y="603"/>
                  </a:lnTo>
                  <a:lnTo>
                    <a:pt x="566" y="814"/>
                  </a:lnTo>
                  <a:lnTo>
                    <a:pt x="237" y="814"/>
                  </a:lnTo>
                  <a:close/>
                  <a:moveTo>
                    <a:pt x="395" y="289"/>
                  </a:moveTo>
                  <a:lnTo>
                    <a:pt x="447" y="485"/>
                  </a:lnTo>
                  <a:lnTo>
                    <a:pt x="342" y="485"/>
                  </a:lnTo>
                  <a:lnTo>
                    <a:pt x="395" y="289"/>
                  </a:lnTo>
                  <a:close/>
                  <a:moveTo>
                    <a:pt x="329" y="40"/>
                  </a:moveTo>
                  <a:lnTo>
                    <a:pt x="0" y="1130"/>
                  </a:lnTo>
                  <a:lnTo>
                    <a:pt x="131" y="1130"/>
                  </a:lnTo>
                  <a:lnTo>
                    <a:pt x="197" y="932"/>
                  </a:lnTo>
                  <a:lnTo>
                    <a:pt x="591" y="932"/>
                  </a:lnTo>
                  <a:lnTo>
                    <a:pt x="644" y="1130"/>
                  </a:lnTo>
                  <a:lnTo>
                    <a:pt x="775" y="1130"/>
                  </a:lnTo>
                  <a:lnTo>
                    <a:pt x="460" y="40"/>
                  </a:lnTo>
                  <a:lnTo>
                    <a:pt x="455" y="30"/>
                  </a:lnTo>
                  <a:lnTo>
                    <a:pt x="447" y="21"/>
                  </a:lnTo>
                  <a:lnTo>
                    <a:pt x="440" y="15"/>
                  </a:lnTo>
                  <a:lnTo>
                    <a:pt x="432" y="10"/>
                  </a:lnTo>
                  <a:lnTo>
                    <a:pt x="423" y="5"/>
                  </a:lnTo>
                  <a:lnTo>
                    <a:pt x="413" y="3"/>
                  </a:lnTo>
                  <a:lnTo>
                    <a:pt x="405" y="0"/>
                  </a:lnTo>
                  <a:lnTo>
                    <a:pt x="395" y="0"/>
                  </a:lnTo>
                  <a:lnTo>
                    <a:pt x="385" y="0"/>
                  </a:lnTo>
                  <a:lnTo>
                    <a:pt x="375" y="3"/>
                  </a:lnTo>
                  <a:lnTo>
                    <a:pt x="365" y="5"/>
                  </a:lnTo>
                  <a:lnTo>
                    <a:pt x="356" y="10"/>
                  </a:lnTo>
                  <a:lnTo>
                    <a:pt x="348" y="15"/>
                  </a:lnTo>
                  <a:lnTo>
                    <a:pt x="341" y="21"/>
                  </a:lnTo>
                  <a:lnTo>
                    <a:pt x="334" y="30"/>
                  </a:lnTo>
                  <a:lnTo>
                    <a:pt x="329" y="4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</p:grpSp>
      <p:sp>
        <p:nvSpPr>
          <p:cNvPr id="91" name="Freeform 20"/>
          <p:cNvSpPr>
            <a:spLocks noEditPoints="1"/>
          </p:cNvSpPr>
          <p:nvPr/>
        </p:nvSpPr>
        <p:spPr bwMode="auto">
          <a:xfrm>
            <a:off x="5973288" y="1971271"/>
            <a:ext cx="455612" cy="306388"/>
          </a:xfrm>
          <a:custGeom>
            <a:avLst/>
            <a:gdLst>
              <a:gd name="T0" fmla="*/ 399671 w 2142"/>
              <a:gd name="T1" fmla="*/ 198514 h 1440"/>
              <a:gd name="T2" fmla="*/ 414773 w 2142"/>
              <a:gd name="T3" fmla="*/ 183407 h 1440"/>
              <a:gd name="T4" fmla="*/ 414773 w 2142"/>
              <a:gd name="T5" fmla="*/ 228302 h 1440"/>
              <a:gd name="T6" fmla="*/ 399671 w 2142"/>
              <a:gd name="T7" fmla="*/ 212982 h 1440"/>
              <a:gd name="T8" fmla="*/ 414773 w 2142"/>
              <a:gd name="T9" fmla="*/ 228302 h 1440"/>
              <a:gd name="T10" fmla="*/ 399671 w 2142"/>
              <a:gd name="T11" fmla="*/ 257877 h 1440"/>
              <a:gd name="T12" fmla="*/ 414773 w 2142"/>
              <a:gd name="T13" fmla="*/ 242770 h 1440"/>
              <a:gd name="T14" fmla="*/ 384994 w 2142"/>
              <a:gd name="T15" fmla="*/ 198514 h 1440"/>
              <a:gd name="T16" fmla="*/ 369892 w 2142"/>
              <a:gd name="T17" fmla="*/ 183407 h 1440"/>
              <a:gd name="T18" fmla="*/ 384994 w 2142"/>
              <a:gd name="T19" fmla="*/ 198514 h 1440"/>
              <a:gd name="T20" fmla="*/ 369892 w 2142"/>
              <a:gd name="T21" fmla="*/ 228302 h 1440"/>
              <a:gd name="T22" fmla="*/ 384994 w 2142"/>
              <a:gd name="T23" fmla="*/ 212982 h 1440"/>
              <a:gd name="T24" fmla="*/ 384994 w 2142"/>
              <a:gd name="T25" fmla="*/ 257877 h 1440"/>
              <a:gd name="T26" fmla="*/ 369892 w 2142"/>
              <a:gd name="T27" fmla="*/ 242770 h 1440"/>
              <a:gd name="T28" fmla="*/ 384994 w 2142"/>
              <a:gd name="T29" fmla="*/ 257877 h 1440"/>
              <a:gd name="T30" fmla="*/ 267369 w 2142"/>
              <a:gd name="T31" fmla="*/ 198514 h 1440"/>
              <a:gd name="T32" fmla="*/ 282471 w 2142"/>
              <a:gd name="T33" fmla="*/ 183407 h 1440"/>
              <a:gd name="T34" fmla="*/ 282471 w 2142"/>
              <a:gd name="T35" fmla="*/ 228302 h 1440"/>
              <a:gd name="T36" fmla="*/ 267369 w 2142"/>
              <a:gd name="T37" fmla="*/ 212982 h 1440"/>
              <a:gd name="T38" fmla="*/ 282471 w 2142"/>
              <a:gd name="T39" fmla="*/ 228302 h 1440"/>
              <a:gd name="T40" fmla="*/ 237590 w 2142"/>
              <a:gd name="T41" fmla="*/ 198514 h 1440"/>
              <a:gd name="T42" fmla="*/ 252692 w 2142"/>
              <a:gd name="T43" fmla="*/ 183407 h 1440"/>
              <a:gd name="T44" fmla="*/ 252692 w 2142"/>
              <a:gd name="T45" fmla="*/ 228302 h 1440"/>
              <a:gd name="T46" fmla="*/ 237590 w 2142"/>
              <a:gd name="T47" fmla="*/ 212982 h 1440"/>
              <a:gd name="T48" fmla="*/ 252692 w 2142"/>
              <a:gd name="T49" fmla="*/ 228302 h 1440"/>
              <a:gd name="T50" fmla="*/ 208025 w 2142"/>
              <a:gd name="T51" fmla="*/ 198514 h 1440"/>
              <a:gd name="T52" fmla="*/ 223127 w 2142"/>
              <a:gd name="T53" fmla="*/ 183407 h 1440"/>
              <a:gd name="T54" fmla="*/ 223127 w 2142"/>
              <a:gd name="T55" fmla="*/ 228302 h 1440"/>
              <a:gd name="T56" fmla="*/ 208025 w 2142"/>
              <a:gd name="T57" fmla="*/ 212982 h 1440"/>
              <a:gd name="T58" fmla="*/ 223127 w 2142"/>
              <a:gd name="T59" fmla="*/ 228302 h 1440"/>
              <a:gd name="T60" fmla="*/ 122518 w 2142"/>
              <a:gd name="T61" fmla="*/ 198514 h 1440"/>
              <a:gd name="T62" fmla="*/ 137619 w 2142"/>
              <a:gd name="T63" fmla="*/ 183407 h 1440"/>
              <a:gd name="T64" fmla="*/ 137619 w 2142"/>
              <a:gd name="T65" fmla="*/ 228302 h 1440"/>
              <a:gd name="T66" fmla="*/ 122518 w 2142"/>
              <a:gd name="T67" fmla="*/ 212982 h 1440"/>
              <a:gd name="T68" fmla="*/ 137619 w 2142"/>
              <a:gd name="T69" fmla="*/ 228302 h 1440"/>
              <a:gd name="T70" fmla="*/ 92952 w 2142"/>
              <a:gd name="T71" fmla="*/ 198514 h 1440"/>
              <a:gd name="T72" fmla="*/ 108054 w 2142"/>
              <a:gd name="T73" fmla="*/ 183407 h 1440"/>
              <a:gd name="T74" fmla="*/ 108054 w 2142"/>
              <a:gd name="T75" fmla="*/ 228302 h 1440"/>
              <a:gd name="T76" fmla="*/ 92952 w 2142"/>
              <a:gd name="T77" fmla="*/ 212982 h 1440"/>
              <a:gd name="T78" fmla="*/ 108054 w 2142"/>
              <a:gd name="T79" fmla="*/ 228302 h 1440"/>
              <a:gd name="T80" fmla="*/ 63173 w 2142"/>
              <a:gd name="T81" fmla="*/ 198514 h 1440"/>
              <a:gd name="T82" fmla="*/ 78275 w 2142"/>
              <a:gd name="T83" fmla="*/ 183407 h 1440"/>
              <a:gd name="T84" fmla="*/ 78275 w 2142"/>
              <a:gd name="T85" fmla="*/ 228302 h 1440"/>
              <a:gd name="T86" fmla="*/ 63173 w 2142"/>
              <a:gd name="T87" fmla="*/ 212982 h 1440"/>
              <a:gd name="T88" fmla="*/ 78275 w 2142"/>
              <a:gd name="T89" fmla="*/ 228302 h 1440"/>
              <a:gd name="T90" fmla="*/ 447104 w 2142"/>
              <a:gd name="T91" fmla="*/ 151066 h 1440"/>
              <a:gd name="T92" fmla="*/ 420090 w 2142"/>
              <a:gd name="T93" fmla="*/ 132768 h 1440"/>
              <a:gd name="T94" fmla="*/ 407754 w 2142"/>
              <a:gd name="T95" fmla="*/ 0 h 1440"/>
              <a:gd name="T96" fmla="*/ 384143 w 2142"/>
              <a:gd name="T97" fmla="*/ 132768 h 1440"/>
              <a:gd name="T98" fmla="*/ 371381 w 2142"/>
              <a:gd name="T99" fmla="*/ 151066 h 1440"/>
              <a:gd name="T100" fmla="*/ 344793 w 2142"/>
              <a:gd name="T101" fmla="*/ 65533 h 1440"/>
              <a:gd name="T102" fmla="*/ 236101 w 2142"/>
              <a:gd name="T103" fmla="*/ 65533 h 1440"/>
              <a:gd name="T104" fmla="*/ 127622 w 2142"/>
              <a:gd name="T105" fmla="*/ 65533 h 1440"/>
              <a:gd name="T106" fmla="*/ 8508 w 2142"/>
              <a:gd name="T107" fmla="*/ 294473 h 1440"/>
              <a:gd name="T108" fmla="*/ 0 w 2142"/>
              <a:gd name="T109" fmla="*/ 306388 h 1440"/>
              <a:gd name="T110" fmla="*/ 455612 w 2142"/>
              <a:gd name="T111" fmla="*/ 294473 h 1440"/>
              <a:gd name="T112" fmla="*/ 447104 w 2142"/>
              <a:gd name="T113" fmla="*/ 294473 h 144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142" h="1440">
                <a:moveTo>
                  <a:pt x="1950" y="933"/>
                </a:moveTo>
                <a:lnTo>
                  <a:pt x="1879" y="933"/>
                </a:lnTo>
                <a:lnTo>
                  <a:pt x="1879" y="862"/>
                </a:lnTo>
                <a:lnTo>
                  <a:pt x="1950" y="862"/>
                </a:lnTo>
                <a:lnTo>
                  <a:pt x="1950" y="933"/>
                </a:lnTo>
                <a:close/>
                <a:moveTo>
                  <a:pt x="1950" y="1073"/>
                </a:moveTo>
                <a:lnTo>
                  <a:pt x="1879" y="1073"/>
                </a:lnTo>
                <a:lnTo>
                  <a:pt x="1879" y="1001"/>
                </a:lnTo>
                <a:lnTo>
                  <a:pt x="1950" y="1001"/>
                </a:lnTo>
                <a:lnTo>
                  <a:pt x="1950" y="1073"/>
                </a:lnTo>
                <a:close/>
                <a:moveTo>
                  <a:pt x="1950" y="1212"/>
                </a:moveTo>
                <a:lnTo>
                  <a:pt x="1879" y="1212"/>
                </a:lnTo>
                <a:lnTo>
                  <a:pt x="1879" y="1141"/>
                </a:lnTo>
                <a:lnTo>
                  <a:pt x="1950" y="1141"/>
                </a:lnTo>
                <a:lnTo>
                  <a:pt x="1950" y="1212"/>
                </a:lnTo>
                <a:close/>
                <a:moveTo>
                  <a:pt x="1810" y="933"/>
                </a:moveTo>
                <a:lnTo>
                  <a:pt x="1739" y="933"/>
                </a:lnTo>
                <a:lnTo>
                  <a:pt x="1739" y="862"/>
                </a:lnTo>
                <a:lnTo>
                  <a:pt x="1810" y="862"/>
                </a:lnTo>
                <a:lnTo>
                  <a:pt x="1810" y="933"/>
                </a:lnTo>
                <a:close/>
                <a:moveTo>
                  <a:pt x="1810" y="1073"/>
                </a:moveTo>
                <a:lnTo>
                  <a:pt x="1739" y="1073"/>
                </a:lnTo>
                <a:lnTo>
                  <a:pt x="1739" y="1001"/>
                </a:lnTo>
                <a:lnTo>
                  <a:pt x="1810" y="1001"/>
                </a:lnTo>
                <a:lnTo>
                  <a:pt x="1810" y="1073"/>
                </a:lnTo>
                <a:close/>
                <a:moveTo>
                  <a:pt x="1810" y="1212"/>
                </a:moveTo>
                <a:lnTo>
                  <a:pt x="1739" y="1212"/>
                </a:lnTo>
                <a:lnTo>
                  <a:pt x="1739" y="1141"/>
                </a:lnTo>
                <a:lnTo>
                  <a:pt x="1810" y="1141"/>
                </a:lnTo>
                <a:lnTo>
                  <a:pt x="1810" y="1212"/>
                </a:lnTo>
                <a:close/>
                <a:moveTo>
                  <a:pt x="1328" y="933"/>
                </a:moveTo>
                <a:lnTo>
                  <a:pt x="1257" y="933"/>
                </a:lnTo>
                <a:lnTo>
                  <a:pt x="1257" y="862"/>
                </a:lnTo>
                <a:lnTo>
                  <a:pt x="1328" y="862"/>
                </a:lnTo>
                <a:lnTo>
                  <a:pt x="1328" y="933"/>
                </a:lnTo>
                <a:close/>
                <a:moveTo>
                  <a:pt x="1328" y="1073"/>
                </a:moveTo>
                <a:lnTo>
                  <a:pt x="1257" y="1073"/>
                </a:lnTo>
                <a:lnTo>
                  <a:pt x="1257" y="1001"/>
                </a:lnTo>
                <a:lnTo>
                  <a:pt x="1328" y="1001"/>
                </a:lnTo>
                <a:lnTo>
                  <a:pt x="1328" y="1073"/>
                </a:lnTo>
                <a:close/>
                <a:moveTo>
                  <a:pt x="1188" y="933"/>
                </a:moveTo>
                <a:lnTo>
                  <a:pt x="1117" y="933"/>
                </a:lnTo>
                <a:lnTo>
                  <a:pt x="1117" y="862"/>
                </a:lnTo>
                <a:lnTo>
                  <a:pt x="1188" y="862"/>
                </a:lnTo>
                <a:lnTo>
                  <a:pt x="1188" y="933"/>
                </a:lnTo>
                <a:close/>
                <a:moveTo>
                  <a:pt x="1188" y="1073"/>
                </a:moveTo>
                <a:lnTo>
                  <a:pt x="1117" y="1073"/>
                </a:lnTo>
                <a:lnTo>
                  <a:pt x="1117" y="1001"/>
                </a:lnTo>
                <a:lnTo>
                  <a:pt x="1188" y="1001"/>
                </a:lnTo>
                <a:lnTo>
                  <a:pt x="1188" y="1073"/>
                </a:lnTo>
                <a:close/>
                <a:moveTo>
                  <a:pt x="1049" y="933"/>
                </a:moveTo>
                <a:lnTo>
                  <a:pt x="978" y="933"/>
                </a:lnTo>
                <a:lnTo>
                  <a:pt x="978" y="862"/>
                </a:lnTo>
                <a:lnTo>
                  <a:pt x="1049" y="862"/>
                </a:lnTo>
                <a:lnTo>
                  <a:pt x="1049" y="933"/>
                </a:lnTo>
                <a:close/>
                <a:moveTo>
                  <a:pt x="1049" y="1073"/>
                </a:moveTo>
                <a:lnTo>
                  <a:pt x="978" y="1073"/>
                </a:lnTo>
                <a:lnTo>
                  <a:pt x="978" y="1001"/>
                </a:lnTo>
                <a:lnTo>
                  <a:pt x="1049" y="1001"/>
                </a:lnTo>
                <a:lnTo>
                  <a:pt x="1049" y="1073"/>
                </a:lnTo>
                <a:close/>
                <a:moveTo>
                  <a:pt x="647" y="933"/>
                </a:moveTo>
                <a:lnTo>
                  <a:pt x="576" y="933"/>
                </a:lnTo>
                <a:lnTo>
                  <a:pt x="576" y="862"/>
                </a:lnTo>
                <a:lnTo>
                  <a:pt x="647" y="862"/>
                </a:lnTo>
                <a:lnTo>
                  <a:pt x="647" y="933"/>
                </a:lnTo>
                <a:close/>
                <a:moveTo>
                  <a:pt x="647" y="1073"/>
                </a:moveTo>
                <a:lnTo>
                  <a:pt x="576" y="1073"/>
                </a:lnTo>
                <a:lnTo>
                  <a:pt x="576" y="1001"/>
                </a:lnTo>
                <a:lnTo>
                  <a:pt x="647" y="1001"/>
                </a:lnTo>
                <a:lnTo>
                  <a:pt x="647" y="1073"/>
                </a:lnTo>
                <a:close/>
                <a:moveTo>
                  <a:pt x="508" y="933"/>
                </a:moveTo>
                <a:lnTo>
                  <a:pt x="437" y="933"/>
                </a:lnTo>
                <a:lnTo>
                  <a:pt x="437" y="862"/>
                </a:lnTo>
                <a:lnTo>
                  <a:pt x="508" y="862"/>
                </a:lnTo>
                <a:lnTo>
                  <a:pt x="508" y="933"/>
                </a:lnTo>
                <a:close/>
                <a:moveTo>
                  <a:pt x="508" y="1073"/>
                </a:moveTo>
                <a:lnTo>
                  <a:pt x="437" y="1073"/>
                </a:lnTo>
                <a:lnTo>
                  <a:pt x="437" y="1001"/>
                </a:lnTo>
                <a:lnTo>
                  <a:pt x="508" y="1001"/>
                </a:lnTo>
                <a:lnTo>
                  <a:pt x="508" y="1073"/>
                </a:lnTo>
                <a:close/>
                <a:moveTo>
                  <a:pt x="368" y="933"/>
                </a:moveTo>
                <a:lnTo>
                  <a:pt x="297" y="933"/>
                </a:lnTo>
                <a:lnTo>
                  <a:pt x="297" y="862"/>
                </a:lnTo>
                <a:lnTo>
                  <a:pt x="368" y="862"/>
                </a:lnTo>
                <a:lnTo>
                  <a:pt x="368" y="933"/>
                </a:lnTo>
                <a:close/>
                <a:moveTo>
                  <a:pt x="368" y="1073"/>
                </a:moveTo>
                <a:lnTo>
                  <a:pt x="297" y="1073"/>
                </a:lnTo>
                <a:lnTo>
                  <a:pt x="297" y="1001"/>
                </a:lnTo>
                <a:lnTo>
                  <a:pt x="368" y="1001"/>
                </a:lnTo>
                <a:lnTo>
                  <a:pt x="368" y="1073"/>
                </a:lnTo>
                <a:close/>
                <a:moveTo>
                  <a:pt x="2102" y="1384"/>
                </a:moveTo>
                <a:lnTo>
                  <a:pt x="2102" y="710"/>
                </a:lnTo>
                <a:lnTo>
                  <a:pt x="1975" y="710"/>
                </a:lnTo>
                <a:lnTo>
                  <a:pt x="1975" y="624"/>
                </a:lnTo>
                <a:lnTo>
                  <a:pt x="1917" y="624"/>
                </a:lnTo>
                <a:lnTo>
                  <a:pt x="1917" y="0"/>
                </a:lnTo>
                <a:lnTo>
                  <a:pt x="1806" y="0"/>
                </a:lnTo>
                <a:lnTo>
                  <a:pt x="1806" y="624"/>
                </a:lnTo>
                <a:lnTo>
                  <a:pt x="1746" y="624"/>
                </a:lnTo>
                <a:lnTo>
                  <a:pt x="1746" y="710"/>
                </a:lnTo>
                <a:lnTo>
                  <a:pt x="1621" y="710"/>
                </a:lnTo>
                <a:lnTo>
                  <a:pt x="1621" y="308"/>
                </a:lnTo>
                <a:lnTo>
                  <a:pt x="1110" y="539"/>
                </a:lnTo>
                <a:lnTo>
                  <a:pt x="1110" y="308"/>
                </a:lnTo>
                <a:lnTo>
                  <a:pt x="600" y="539"/>
                </a:lnTo>
                <a:lnTo>
                  <a:pt x="600" y="308"/>
                </a:lnTo>
                <a:lnTo>
                  <a:pt x="40" y="563"/>
                </a:lnTo>
                <a:lnTo>
                  <a:pt x="40" y="1384"/>
                </a:lnTo>
                <a:lnTo>
                  <a:pt x="0" y="1384"/>
                </a:lnTo>
                <a:lnTo>
                  <a:pt x="0" y="1440"/>
                </a:lnTo>
                <a:lnTo>
                  <a:pt x="2142" y="1440"/>
                </a:lnTo>
                <a:lnTo>
                  <a:pt x="2142" y="1384"/>
                </a:lnTo>
                <a:lnTo>
                  <a:pt x="2102" y="138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latin typeface="HelvNeue for IBM Medium"/>
              <a:cs typeface="Helvetica Neue Light"/>
            </a:endParaRPr>
          </a:p>
        </p:txBody>
      </p:sp>
      <p:grpSp>
        <p:nvGrpSpPr>
          <p:cNvPr id="92" name="Group 65"/>
          <p:cNvGrpSpPr>
            <a:grpSpLocks/>
          </p:cNvGrpSpPr>
          <p:nvPr/>
        </p:nvGrpSpPr>
        <p:grpSpPr bwMode="auto">
          <a:xfrm>
            <a:off x="6978189" y="1925234"/>
            <a:ext cx="277813" cy="376237"/>
            <a:chOff x="5057445" y="262160"/>
            <a:chExt cx="698501" cy="947737"/>
          </a:xfrm>
        </p:grpSpPr>
        <p:sp>
          <p:nvSpPr>
            <p:cNvPr id="93" name="Freeform 21"/>
            <p:cNvSpPr>
              <a:spLocks noEditPoints="1"/>
            </p:cNvSpPr>
            <p:nvPr/>
          </p:nvSpPr>
          <p:spPr bwMode="auto">
            <a:xfrm>
              <a:off x="5057445" y="312960"/>
              <a:ext cx="249238" cy="896937"/>
            </a:xfrm>
            <a:custGeom>
              <a:avLst/>
              <a:gdLst>
                <a:gd name="T0" fmla="*/ 149754 w 471"/>
                <a:gd name="T1" fmla="*/ 399050 h 1697"/>
                <a:gd name="T2" fmla="*/ 199496 w 471"/>
                <a:gd name="T3" fmla="*/ 348310 h 1697"/>
                <a:gd name="T4" fmla="*/ 199496 w 471"/>
                <a:gd name="T5" fmla="*/ 498416 h 1697"/>
                <a:gd name="T6" fmla="*/ 149754 w 471"/>
                <a:gd name="T7" fmla="*/ 448733 h 1697"/>
                <a:gd name="T8" fmla="*/ 199496 w 471"/>
                <a:gd name="T9" fmla="*/ 498416 h 1697"/>
                <a:gd name="T10" fmla="*/ 149754 w 471"/>
                <a:gd name="T11" fmla="*/ 598310 h 1697"/>
                <a:gd name="T12" fmla="*/ 199496 w 471"/>
                <a:gd name="T13" fmla="*/ 547570 h 1697"/>
                <a:gd name="T14" fmla="*/ 199496 w 471"/>
                <a:gd name="T15" fmla="*/ 697676 h 1697"/>
                <a:gd name="T16" fmla="*/ 149754 w 471"/>
                <a:gd name="T17" fmla="*/ 647993 h 1697"/>
                <a:gd name="T18" fmla="*/ 199496 w 471"/>
                <a:gd name="T19" fmla="*/ 697676 h 1697"/>
                <a:gd name="T20" fmla="*/ 149754 w 471"/>
                <a:gd name="T21" fmla="*/ 797571 h 1697"/>
                <a:gd name="T22" fmla="*/ 199496 w 471"/>
                <a:gd name="T23" fmla="*/ 747359 h 1697"/>
                <a:gd name="T24" fmla="*/ 99484 w 471"/>
                <a:gd name="T25" fmla="*/ 399050 h 1697"/>
                <a:gd name="T26" fmla="*/ 49742 w 471"/>
                <a:gd name="T27" fmla="*/ 348310 h 1697"/>
                <a:gd name="T28" fmla="*/ 99484 w 471"/>
                <a:gd name="T29" fmla="*/ 399050 h 1697"/>
                <a:gd name="T30" fmla="*/ 49742 w 471"/>
                <a:gd name="T31" fmla="*/ 498416 h 1697"/>
                <a:gd name="T32" fmla="*/ 99484 w 471"/>
                <a:gd name="T33" fmla="*/ 448733 h 1697"/>
                <a:gd name="T34" fmla="*/ 99484 w 471"/>
                <a:gd name="T35" fmla="*/ 598310 h 1697"/>
                <a:gd name="T36" fmla="*/ 49742 w 471"/>
                <a:gd name="T37" fmla="*/ 547570 h 1697"/>
                <a:gd name="T38" fmla="*/ 99484 w 471"/>
                <a:gd name="T39" fmla="*/ 598310 h 1697"/>
                <a:gd name="T40" fmla="*/ 49742 w 471"/>
                <a:gd name="T41" fmla="*/ 697676 h 1697"/>
                <a:gd name="T42" fmla="*/ 99484 w 471"/>
                <a:gd name="T43" fmla="*/ 647993 h 1697"/>
                <a:gd name="T44" fmla="*/ 99484 w 471"/>
                <a:gd name="T45" fmla="*/ 797571 h 1697"/>
                <a:gd name="T46" fmla="*/ 49742 w 471"/>
                <a:gd name="T47" fmla="*/ 747359 h 1697"/>
                <a:gd name="T48" fmla="*/ 99484 w 471"/>
                <a:gd name="T49" fmla="*/ 797571 h 1697"/>
                <a:gd name="T50" fmla="*/ 199496 w 471"/>
                <a:gd name="T51" fmla="*/ 248944 h 1697"/>
                <a:gd name="T52" fmla="*/ 149754 w 471"/>
                <a:gd name="T53" fmla="*/ 149049 h 1697"/>
                <a:gd name="T54" fmla="*/ 149754 w 471"/>
                <a:gd name="T55" fmla="*/ 24842 h 1697"/>
                <a:gd name="T56" fmla="*/ 147638 w 471"/>
                <a:gd name="T57" fmla="*/ 15328 h 1697"/>
                <a:gd name="T58" fmla="*/ 142346 w 471"/>
                <a:gd name="T59" fmla="*/ 6871 h 1697"/>
                <a:gd name="T60" fmla="*/ 134409 w 471"/>
                <a:gd name="T61" fmla="*/ 1586 h 1697"/>
                <a:gd name="T62" fmla="*/ 124354 w 471"/>
                <a:gd name="T63" fmla="*/ 0 h 1697"/>
                <a:gd name="T64" fmla="*/ 119592 w 471"/>
                <a:gd name="T65" fmla="*/ 0 h 1697"/>
                <a:gd name="T66" fmla="*/ 110596 w 471"/>
                <a:gd name="T67" fmla="*/ 3700 h 1697"/>
                <a:gd name="T68" fmla="*/ 104246 w 471"/>
                <a:gd name="T69" fmla="*/ 10571 h 1697"/>
                <a:gd name="T70" fmla="*/ 100013 w 471"/>
                <a:gd name="T71" fmla="*/ 19556 h 1697"/>
                <a:gd name="T72" fmla="*/ 99484 w 471"/>
                <a:gd name="T73" fmla="*/ 149049 h 1697"/>
                <a:gd name="T74" fmla="*/ 49742 w 471"/>
                <a:gd name="T75" fmla="*/ 248944 h 1697"/>
                <a:gd name="T76" fmla="*/ 24871 w 471"/>
                <a:gd name="T77" fmla="*/ 298627 h 1697"/>
                <a:gd name="T78" fmla="*/ 0 w 471"/>
                <a:gd name="T79" fmla="*/ 697676 h 1697"/>
                <a:gd name="T80" fmla="*/ 0 w 471"/>
                <a:gd name="T81" fmla="*/ 896937 h 1697"/>
                <a:gd name="T82" fmla="*/ 249238 w 471"/>
                <a:gd name="T83" fmla="*/ 298627 h 1697"/>
                <a:gd name="T84" fmla="*/ 224367 w 471"/>
                <a:gd name="T85" fmla="*/ 248944 h 169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471" h="1697">
                  <a:moveTo>
                    <a:pt x="377" y="755"/>
                  </a:moveTo>
                  <a:lnTo>
                    <a:pt x="283" y="755"/>
                  </a:lnTo>
                  <a:lnTo>
                    <a:pt x="283" y="659"/>
                  </a:lnTo>
                  <a:lnTo>
                    <a:pt x="377" y="659"/>
                  </a:lnTo>
                  <a:lnTo>
                    <a:pt x="377" y="755"/>
                  </a:lnTo>
                  <a:close/>
                  <a:moveTo>
                    <a:pt x="377" y="943"/>
                  </a:moveTo>
                  <a:lnTo>
                    <a:pt x="283" y="943"/>
                  </a:lnTo>
                  <a:lnTo>
                    <a:pt x="283" y="849"/>
                  </a:lnTo>
                  <a:lnTo>
                    <a:pt x="377" y="849"/>
                  </a:lnTo>
                  <a:lnTo>
                    <a:pt x="377" y="943"/>
                  </a:lnTo>
                  <a:close/>
                  <a:moveTo>
                    <a:pt x="377" y="1132"/>
                  </a:moveTo>
                  <a:lnTo>
                    <a:pt x="283" y="1132"/>
                  </a:lnTo>
                  <a:lnTo>
                    <a:pt x="283" y="1036"/>
                  </a:lnTo>
                  <a:lnTo>
                    <a:pt x="377" y="1036"/>
                  </a:lnTo>
                  <a:lnTo>
                    <a:pt x="377" y="1132"/>
                  </a:lnTo>
                  <a:close/>
                  <a:moveTo>
                    <a:pt x="377" y="1320"/>
                  </a:moveTo>
                  <a:lnTo>
                    <a:pt x="283" y="1320"/>
                  </a:lnTo>
                  <a:lnTo>
                    <a:pt x="283" y="1226"/>
                  </a:lnTo>
                  <a:lnTo>
                    <a:pt x="377" y="1226"/>
                  </a:lnTo>
                  <a:lnTo>
                    <a:pt x="377" y="1320"/>
                  </a:lnTo>
                  <a:close/>
                  <a:moveTo>
                    <a:pt x="377" y="1509"/>
                  </a:moveTo>
                  <a:lnTo>
                    <a:pt x="283" y="1509"/>
                  </a:lnTo>
                  <a:lnTo>
                    <a:pt x="283" y="1414"/>
                  </a:lnTo>
                  <a:lnTo>
                    <a:pt x="377" y="1414"/>
                  </a:lnTo>
                  <a:lnTo>
                    <a:pt x="377" y="1509"/>
                  </a:lnTo>
                  <a:close/>
                  <a:moveTo>
                    <a:pt x="188" y="755"/>
                  </a:moveTo>
                  <a:lnTo>
                    <a:pt x="94" y="755"/>
                  </a:lnTo>
                  <a:lnTo>
                    <a:pt x="94" y="659"/>
                  </a:lnTo>
                  <a:lnTo>
                    <a:pt x="188" y="659"/>
                  </a:lnTo>
                  <a:lnTo>
                    <a:pt x="188" y="755"/>
                  </a:lnTo>
                  <a:close/>
                  <a:moveTo>
                    <a:pt x="188" y="943"/>
                  </a:moveTo>
                  <a:lnTo>
                    <a:pt x="94" y="943"/>
                  </a:lnTo>
                  <a:lnTo>
                    <a:pt x="94" y="849"/>
                  </a:lnTo>
                  <a:lnTo>
                    <a:pt x="188" y="849"/>
                  </a:lnTo>
                  <a:lnTo>
                    <a:pt x="188" y="943"/>
                  </a:lnTo>
                  <a:close/>
                  <a:moveTo>
                    <a:pt x="188" y="1132"/>
                  </a:moveTo>
                  <a:lnTo>
                    <a:pt x="94" y="1132"/>
                  </a:lnTo>
                  <a:lnTo>
                    <a:pt x="94" y="1036"/>
                  </a:lnTo>
                  <a:lnTo>
                    <a:pt x="188" y="1036"/>
                  </a:lnTo>
                  <a:lnTo>
                    <a:pt x="188" y="1132"/>
                  </a:lnTo>
                  <a:close/>
                  <a:moveTo>
                    <a:pt x="188" y="1320"/>
                  </a:moveTo>
                  <a:lnTo>
                    <a:pt x="94" y="1320"/>
                  </a:lnTo>
                  <a:lnTo>
                    <a:pt x="94" y="1226"/>
                  </a:lnTo>
                  <a:lnTo>
                    <a:pt x="188" y="1226"/>
                  </a:lnTo>
                  <a:lnTo>
                    <a:pt x="188" y="1320"/>
                  </a:lnTo>
                  <a:close/>
                  <a:moveTo>
                    <a:pt x="188" y="1509"/>
                  </a:moveTo>
                  <a:lnTo>
                    <a:pt x="94" y="1509"/>
                  </a:lnTo>
                  <a:lnTo>
                    <a:pt x="94" y="1414"/>
                  </a:lnTo>
                  <a:lnTo>
                    <a:pt x="188" y="1414"/>
                  </a:lnTo>
                  <a:lnTo>
                    <a:pt x="188" y="1509"/>
                  </a:lnTo>
                  <a:close/>
                  <a:moveTo>
                    <a:pt x="424" y="471"/>
                  </a:moveTo>
                  <a:lnTo>
                    <a:pt x="377" y="471"/>
                  </a:lnTo>
                  <a:lnTo>
                    <a:pt x="377" y="282"/>
                  </a:lnTo>
                  <a:lnTo>
                    <a:pt x="283" y="282"/>
                  </a:lnTo>
                  <a:lnTo>
                    <a:pt x="283" y="47"/>
                  </a:lnTo>
                  <a:lnTo>
                    <a:pt x="282" y="37"/>
                  </a:lnTo>
                  <a:lnTo>
                    <a:pt x="279" y="29"/>
                  </a:lnTo>
                  <a:lnTo>
                    <a:pt x="275" y="20"/>
                  </a:lnTo>
                  <a:lnTo>
                    <a:pt x="269" y="13"/>
                  </a:lnTo>
                  <a:lnTo>
                    <a:pt x="262" y="7"/>
                  </a:lnTo>
                  <a:lnTo>
                    <a:pt x="254" y="3"/>
                  </a:lnTo>
                  <a:lnTo>
                    <a:pt x="245" y="0"/>
                  </a:lnTo>
                  <a:lnTo>
                    <a:pt x="235" y="0"/>
                  </a:lnTo>
                  <a:lnTo>
                    <a:pt x="226" y="0"/>
                  </a:lnTo>
                  <a:lnTo>
                    <a:pt x="218" y="3"/>
                  </a:lnTo>
                  <a:lnTo>
                    <a:pt x="209" y="7"/>
                  </a:lnTo>
                  <a:lnTo>
                    <a:pt x="202" y="13"/>
                  </a:lnTo>
                  <a:lnTo>
                    <a:pt x="197" y="20"/>
                  </a:lnTo>
                  <a:lnTo>
                    <a:pt x="192" y="29"/>
                  </a:lnTo>
                  <a:lnTo>
                    <a:pt x="189" y="37"/>
                  </a:lnTo>
                  <a:lnTo>
                    <a:pt x="188" y="47"/>
                  </a:lnTo>
                  <a:lnTo>
                    <a:pt x="188" y="282"/>
                  </a:lnTo>
                  <a:lnTo>
                    <a:pt x="94" y="282"/>
                  </a:lnTo>
                  <a:lnTo>
                    <a:pt x="94" y="471"/>
                  </a:lnTo>
                  <a:lnTo>
                    <a:pt x="47" y="471"/>
                  </a:lnTo>
                  <a:lnTo>
                    <a:pt x="47" y="565"/>
                  </a:lnTo>
                  <a:lnTo>
                    <a:pt x="0" y="565"/>
                  </a:lnTo>
                  <a:lnTo>
                    <a:pt x="0" y="1320"/>
                  </a:lnTo>
                  <a:lnTo>
                    <a:pt x="0" y="1697"/>
                  </a:lnTo>
                  <a:lnTo>
                    <a:pt x="471" y="1697"/>
                  </a:lnTo>
                  <a:lnTo>
                    <a:pt x="471" y="565"/>
                  </a:lnTo>
                  <a:lnTo>
                    <a:pt x="424" y="565"/>
                  </a:lnTo>
                  <a:lnTo>
                    <a:pt x="424" y="47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94" name="Freeform 22"/>
            <p:cNvSpPr>
              <a:spLocks noEditPoints="1"/>
            </p:cNvSpPr>
            <p:nvPr/>
          </p:nvSpPr>
          <p:spPr bwMode="auto">
            <a:xfrm>
              <a:off x="5357483" y="611410"/>
              <a:ext cx="249238" cy="598487"/>
            </a:xfrm>
            <a:custGeom>
              <a:avLst/>
              <a:gdLst>
                <a:gd name="T0" fmla="*/ 199496 w 471"/>
                <a:gd name="T1" fmla="*/ 199848 h 1132"/>
                <a:gd name="T2" fmla="*/ 150284 w 471"/>
                <a:gd name="T3" fmla="*/ 199848 h 1132"/>
                <a:gd name="T4" fmla="*/ 150284 w 471"/>
                <a:gd name="T5" fmla="*/ 150150 h 1132"/>
                <a:gd name="T6" fmla="*/ 199496 w 471"/>
                <a:gd name="T7" fmla="*/ 150150 h 1132"/>
                <a:gd name="T8" fmla="*/ 199496 w 471"/>
                <a:gd name="T9" fmla="*/ 199848 h 1132"/>
                <a:gd name="T10" fmla="*/ 199496 w 471"/>
                <a:gd name="T11" fmla="*/ 299772 h 1132"/>
                <a:gd name="T12" fmla="*/ 150284 w 471"/>
                <a:gd name="T13" fmla="*/ 299772 h 1132"/>
                <a:gd name="T14" fmla="*/ 150284 w 471"/>
                <a:gd name="T15" fmla="*/ 249017 h 1132"/>
                <a:gd name="T16" fmla="*/ 199496 w 471"/>
                <a:gd name="T17" fmla="*/ 249017 h 1132"/>
                <a:gd name="T18" fmla="*/ 199496 w 471"/>
                <a:gd name="T19" fmla="*/ 299772 h 1132"/>
                <a:gd name="T20" fmla="*/ 199496 w 471"/>
                <a:gd name="T21" fmla="*/ 399168 h 1132"/>
                <a:gd name="T22" fmla="*/ 150284 w 471"/>
                <a:gd name="T23" fmla="*/ 399168 h 1132"/>
                <a:gd name="T24" fmla="*/ 150284 w 471"/>
                <a:gd name="T25" fmla="*/ 349470 h 1132"/>
                <a:gd name="T26" fmla="*/ 199496 w 471"/>
                <a:gd name="T27" fmla="*/ 349470 h 1132"/>
                <a:gd name="T28" fmla="*/ 199496 w 471"/>
                <a:gd name="T29" fmla="*/ 399168 h 1132"/>
                <a:gd name="T30" fmla="*/ 199496 w 471"/>
                <a:gd name="T31" fmla="*/ 499092 h 1132"/>
                <a:gd name="T32" fmla="*/ 150284 w 471"/>
                <a:gd name="T33" fmla="*/ 499092 h 1132"/>
                <a:gd name="T34" fmla="*/ 150284 w 471"/>
                <a:gd name="T35" fmla="*/ 448865 h 1132"/>
                <a:gd name="T36" fmla="*/ 199496 w 471"/>
                <a:gd name="T37" fmla="*/ 448865 h 1132"/>
                <a:gd name="T38" fmla="*/ 199496 w 471"/>
                <a:gd name="T39" fmla="*/ 499092 h 1132"/>
                <a:gd name="T40" fmla="*/ 100542 w 471"/>
                <a:gd name="T41" fmla="*/ 199848 h 1132"/>
                <a:gd name="T42" fmla="*/ 49742 w 471"/>
                <a:gd name="T43" fmla="*/ 199848 h 1132"/>
                <a:gd name="T44" fmla="*/ 49742 w 471"/>
                <a:gd name="T45" fmla="*/ 150150 h 1132"/>
                <a:gd name="T46" fmla="*/ 100542 w 471"/>
                <a:gd name="T47" fmla="*/ 150150 h 1132"/>
                <a:gd name="T48" fmla="*/ 100542 w 471"/>
                <a:gd name="T49" fmla="*/ 199848 h 1132"/>
                <a:gd name="T50" fmla="*/ 100542 w 471"/>
                <a:gd name="T51" fmla="*/ 299772 h 1132"/>
                <a:gd name="T52" fmla="*/ 49742 w 471"/>
                <a:gd name="T53" fmla="*/ 299772 h 1132"/>
                <a:gd name="T54" fmla="*/ 49742 w 471"/>
                <a:gd name="T55" fmla="*/ 249017 h 1132"/>
                <a:gd name="T56" fmla="*/ 100542 w 471"/>
                <a:gd name="T57" fmla="*/ 249017 h 1132"/>
                <a:gd name="T58" fmla="*/ 100542 w 471"/>
                <a:gd name="T59" fmla="*/ 299772 h 1132"/>
                <a:gd name="T60" fmla="*/ 100542 w 471"/>
                <a:gd name="T61" fmla="*/ 399168 h 1132"/>
                <a:gd name="T62" fmla="*/ 49742 w 471"/>
                <a:gd name="T63" fmla="*/ 399168 h 1132"/>
                <a:gd name="T64" fmla="*/ 49742 w 471"/>
                <a:gd name="T65" fmla="*/ 349470 h 1132"/>
                <a:gd name="T66" fmla="*/ 100542 w 471"/>
                <a:gd name="T67" fmla="*/ 349470 h 1132"/>
                <a:gd name="T68" fmla="*/ 100542 w 471"/>
                <a:gd name="T69" fmla="*/ 399168 h 1132"/>
                <a:gd name="T70" fmla="*/ 100542 w 471"/>
                <a:gd name="T71" fmla="*/ 499092 h 1132"/>
                <a:gd name="T72" fmla="*/ 49742 w 471"/>
                <a:gd name="T73" fmla="*/ 499092 h 1132"/>
                <a:gd name="T74" fmla="*/ 49742 w 471"/>
                <a:gd name="T75" fmla="*/ 448865 h 1132"/>
                <a:gd name="T76" fmla="*/ 100542 w 471"/>
                <a:gd name="T77" fmla="*/ 448865 h 1132"/>
                <a:gd name="T78" fmla="*/ 100542 w 471"/>
                <a:gd name="T79" fmla="*/ 499092 h 1132"/>
                <a:gd name="T80" fmla="*/ 199496 w 471"/>
                <a:gd name="T81" fmla="*/ 0 h 1132"/>
                <a:gd name="T82" fmla="*/ 49742 w 471"/>
                <a:gd name="T83" fmla="*/ 0 h 1132"/>
                <a:gd name="T84" fmla="*/ 49742 w 471"/>
                <a:gd name="T85" fmla="*/ 100453 h 1132"/>
                <a:gd name="T86" fmla="*/ 0 w 471"/>
                <a:gd name="T87" fmla="*/ 100453 h 1132"/>
                <a:gd name="T88" fmla="*/ 0 w 471"/>
                <a:gd name="T89" fmla="*/ 100453 h 1132"/>
                <a:gd name="T90" fmla="*/ 0 w 471"/>
                <a:gd name="T91" fmla="*/ 399168 h 1132"/>
                <a:gd name="T92" fmla="*/ 0 w 471"/>
                <a:gd name="T93" fmla="*/ 399168 h 1132"/>
                <a:gd name="T94" fmla="*/ 0 w 471"/>
                <a:gd name="T95" fmla="*/ 598487 h 1132"/>
                <a:gd name="T96" fmla="*/ 249238 w 471"/>
                <a:gd name="T97" fmla="*/ 598487 h 1132"/>
                <a:gd name="T98" fmla="*/ 249238 w 471"/>
                <a:gd name="T99" fmla="*/ 100453 h 1132"/>
                <a:gd name="T100" fmla="*/ 199496 w 471"/>
                <a:gd name="T101" fmla="*/ 100453 h 1132"/>
                <a:gd name="T102" fmla="*/ 199496 w 471"/>
                <a:gd name="T103" fmla="*/ 0 h 113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471" h="1132">
                  <a:moveTo>
                    <a:pt x="377" y="378"/>
                  </a:moveTo>
                  <a:lnTo>
                    <a:pt x="284" y="378"/>
                  </a:lnTo>
                  <a:lnTo>
                    <a:pt x="284" y="284"/>
                  </a:lnTo>
                  <a:lnTo>
                    <a:pt x="377" y="284"/>
                  </a:lnTo>
                  <a:lnTo>
                    <a:pt x="377" y="378"/>
                  </a:lnTo>
                  <a:close/>
                  <a:moveTo>
                    <a:pt x="377" y="567"/>
                  </a:moveTo>
                  <a:lnTo>
                    <a:pt x="284" y="567"/>
                  </a:lnTo>
                  <a:lnTo>
                    <a:pt x="284" y="471"/>
                  </a:lnTo>
                  <a:lnTo>
                    <a:pt x="377" y="471"/>
                  </a:lnTo>
                  <a:lnTo>
                    <a:pt x="377" y="567"/>
                  </a:lnTo>
                  <a:close/>
                  <a:moveTo>
                    <a:pt x="377" y="755"/>
                  </a:moveTo>
                  <a:lnTo>
                    <a:pt x="284" y="755"/>
                  </a:lnTo>
                  <a:lnTo>
                    <a:pt x="284" y="661"/>
                  </a:lnTo>
                  <a:lnTo>
                    <a:pt x="377" y="661"/>
                  </a:lnTo>
                  <a:lnTo>
                    <a:pt x="377" y="755"/>
                  </a:lnTo>
                  <a:close/>
                  <a:moveTo>
                    <a:pt x="377" y="944"/>
                  </a:moveTo>
                  <a:lnTo>
                    <a:pt x="284" y="944"/>
                  </a:lnTo>
                  <a:lnTo>
                    <a:pt x="284" y="849"/>
                  </a:lnTo>
                  <a:lnTo>
                    <a:pt x="377" y="849"/>
                  </a:lnTo>
                  <a:lnTo>
                    <a:pt x="377" y="944"/>
                  </a:lnTo>
                  <a:close/>
                  <a:moveTo>
                    <a:pt x="190" y="378"/>
                  </a:moveTo>
                  <a:lnTo>
                    <a:pt x="94" y="378"/>
                  </a:lnTo>
                  <a:lnTo>
                    <a:pt x="94" y="284"/>
                  </a:lnTo>
                  <a:lnTo>
                    <a:pt x="190" y="284"/>
                  </a:lnTo>
                  <a:lnTo>
                    <a:pt x="190" y="378"/>
                  </a:lnTo>
                  <a:close/>
                  <a:moveTo>
                    <a:pt x="190" y="567"/>
                  </a:moveTo>
                  <a:lnTo>
                    <a:pt x="94" y="567"/>
                  </a:lnTo>
                  <a:lnTo>
                    <a:pt x="94" y="471"/>
                  </a:lnTo>
                  <a:lnTo>
                    <a:pt x="190" y="471"/>
                  </a:lnTo>
                  <a:lnTo>
                    <a:pt x="190" y="567"/>
                  </a:lnTo>
                  <a:close/>
                  <a:moveTo>
                    <a:pt x="190" y="755"/>
                  </a:moveTo>
                  <a:lnTo>
                    <a:pt x="94" y="755"/>
                  </a:lnTo>
                  <a:lnTo>
                    <a:pt x="94" y="661"/>
                  </a:lnTo>
                  <a:lnTo>
                    <a:pt x="190" y="661"/>
                  </a:lnTo>
                  <a:lnTo>
                    <a:pt x="190" y="755"/>
                  </a:lnTo>
                  <a:close/>
                  <a:moveTo>
                    <a:pt x="190" y="944"/>
                  </a:moveTo>
                  <a:lnTo>
                    <a:pt x="94" y="944"/>
                  </a:lnTo>
                  <a:lnTo>
                    <a:pt x="94" y="849"/>
                  </a:lnTo>
                  <a:lnTo>
                    <a:pt x="190" y="849"/>
                  </a:lnTo>
                  <a:lnTo>
                    <a:pt x="190" y="944"/>
                  </a:lnTo>
                  <a:close/>
                  <a:moveTo>
                    <a:pt x="377" y="0"/>
                  </a:moveTo>
                  <a:lnTo>
                    <a:pt x="94" y="0"/>
                  </a:lnTo>
                  <a:lnTo>
                    <a:pt x="94" y="190"/>
                  </a:lnTo>
                  <a:lnTo>
                    <a:pt x="0" y="190"/>
                  </a:lnTo>
                  <a:lnTo>
                    <a:pt x="0" y="755"/>
                  </a:lnTo>
                  <a:lnTo>
                    <a:pt x="0" y="1132"/>
                  </a:lnTo>
                  <a:lnTo>
                    <a:pt x="471" y="1132"/>
                  </a:lnTo>
                  <a:lnTo>
                    <a:pt x="471" y="190"/>
                  </a:lnTo>
                  <a:lnTo>
                    <a:pt x="377" y="190"/>
                  </a:lnTo>
                  <a:lnTo>
                    <a:pt x="377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95" name="Freeform 23"/>
            <p:cNvSpPr>
              <a:spLocks noEditPoints="1"/>
            </p:cNvSpPr>
            <p:nvPr/>
          </p:nvSpPr>
          <p:spPr bwMode="auto">
            <a:xfrm>
              <a:off x="5506708" y="262160"/>
              <a:ext cx="249238" cy="947737"/>
            </a:xfrm>
            <a:custGeom>
              <a:avLst/>
              <a:gdLst>
                <a:gd name="T0" fmla="*/ 49213 w 471"/>
                <a:gd name="T1" fmla="*/ 199384 h 1792"/>
                <a:gd name="T2" fmla="*/ 98954 w 471"/>
                <a:gd name="T3" fmla="*/ 199384 h 1792"/>
                <a:gd name="T4" fmla="*/ 98954 w 471"/>
                <a:gd name="T5" fmla="*/ 250156 h 1792"/>
                <a:gd name="T6" fmla="*/ 49213 w 471"/>
                <a:gd name="T7" fmla="*/ 250156 h 1792"/>
                <a:gd name="T8" fmla="*/ 49213 w 471"/>
                <a:gd name="T9" fmla="*/ 199384 h 1792"/>
                <a:gd name="T10" fmla="*/ 49213 w 471"/>
                <a:gd name="T11" fmla="*/ 99957 h 1792"/>
                <a:gd name="T12" fmla="*/ 98954 w 471"/>
                <a:gd name="T13" fmla="*/ 99957 h 1792"/>
                <a:gd name="T14" fmla="*/ 98954 w 471"/>
                <a:gd name="T15" fmla="*/ 149671 h 1792"/>
                <a:gd name="T16" fmla="*/ 49213 w 471"/>
                <a:gd name="T17" fmla="*/ 149671 h 1792"/>
                <a:gd name="T18" fmla="*/ 49213 w 471"/>
                <a:gd name="T19" fmla="*/ 99957 h 1792"/>
                <a:gd name="T20" fmla="*/ 149754 w 471"/>
                <a:gd name="T21" fmla="*/ 299341 h 1792"/>
                <a:gd name="T22" fmla="*/ 199496 w 471"/>
                <a:gd name="T23" fmla="*/ 299341 h 1792"/>
                <a:gd name="T24" fmla="*/ 199496 w 471"/>
                <a:gd name="T25" fmla="*/ 349055 h 1792"/>
                <a:gd name="T26" fmla="*/ 149754 w 471"/>
                <a:gd name="T27" fmla="*/ 349055 h 1792"/>
                <a:gd name="T28" fmla="*/ 149754 w 471"/>
                <a:gd name="T29" fmla="*/ 299341 h 1792"/>
                <a:gd name="T30" fmla="*/ 149754 w 471"/>
                <a:gd name="T31" fmla="*/ 199384 h 1792"/>
                <a:gd name="T32" fmla="*/ 199496 w 471"/>
                <a:gd name="T33" fmla="*/ 199384 h 1792"/>
                <a:gd name="T34" fmla="*/ 199496 w 471"/>
                <a:gd name="T35" fmla="*/ 250156 h 1792"/>
                <a:gd name="T36" fmla="*/ 149754 w 471"/>
                <a:gd name="T37" fmla="*/ 250156 h 1792"/>
                <a:gd name="T38" fmla="*/ 149754 w 471"/>
                <a:gd name="T39" fmla="*/ 199384 h 1792"/>
                <a:gd name="T40" fmla="*/ 149754 w 471"/>
                <a:gd name="T41" fmla="*/ 99957 h 1792"/>
                <a:gd name="T42" fmla="*/ 199496 w 471"/>
                <a:gd name="T43" fmla="*/ 99957 h 1792"/>
                <a:gd name="T44" fmla="*/ 199496 w 471"/>
                <a:gd name="T45" fmla="*/ 149671 h 1792"/>
                <a:gd name="T46" fmla="*/ 149754 w 471"/>
                <a:gd name="T47" fmla="*/ 149671 h 1792"/>
                <a:gd name="T48" fmla="*/ 149754 w 471"/>
                <a:gd name="T49" fmla="*/ 99957 h 1792"/>
                <a:gd name="T50" fmla="*/ 0 w 471"/>
                <a:gd name="T51" fmla="*/ 299341 h 1792"/>
                <a:gd name="T52" fmla="*/ 98954 w 471"/>
                <a:gd name="T53" fmla="*/ 299341 h 1792"/>
                <a:gd name="T54" fmla="*/ 98954 w 471"/>
                <a:gd name="T55" fmla="*/ 398769 h 1792"/>
                <a:gd name="T56" fmla="*/ 149754 w 471"/>
                <a:gd name="T57" fmla="*/ 398769 h 1792"/>
                <a:gd name="T58" fmla="*/ 149754 w 471"/>
                <a:gd name="T59" fmla="*/ 947737 h 1792"/>
                <a:gd name="T60" fmla="*/ 249238 w 471"/>
                <a:gd name="T61" fmla="*/ 947737 h 1792"/>
                <a:gd name="T62" fmla="*/ 249238 w 471"/>
                <a:gd name="T63" fmla="*/ 0 h 1792"/>
                <a:gd name="T64" fmla="*/ 0 w 471"/>
                <a:gd name="T65" fmla="*/ 0 h 1792"/>
                <a:gd name="T66" fmla="*/ 0 w 471"/>
                <a:gd name="T67" fmla="*/ 299341 h 179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471" h="1792">
                  <a:moveTo>
                    <a:pt x="93" y="377"/>
                  </a:moveTo>
                  <a:lnTo>
                    <a:pt x="187" y="377"/>
                  </a:lnTo>
                  <a:lnTo>
                    <a:pt x="187" y="473"/>
                  </a:lnTo>
                  <a:lnTo>
                    <a:pt x="93" y="473"/>
                  </a:lnTo>
                  <a:lnTo>
                    <a:pt x="93" y="377"/>
                  </a:lnTo>
                  <a:close/>
                  <a:moveTo>
                    <a:pt x="93" y="189"/>
                  </a:moveTo>
                  <a:lnTo>
                    <a:pt x="187" y="189"/>
                  </a:lnTo>
                  <a:lnTo>
                    <a:pt x="187" y="283"/>
                  </a:lnTo>
                  <a:lnTo>
                    <a:pt x="93" y="283"/>
                  </a:lnTo>
                  <a:lnTo>
                    <a:pt x="93" y="189"/>
                  </a:lnTo>
                  <a:close/>
                  <a:moveTo>
                    <a:pt x="283" y="566"/>
                  </a:moveTo>
                  <a:lnTo>
                    <a:pt x="377" y="566"/>
                  </a:lnTo>
                  <a:lnTo>
                    <a:pt x="377" y="660"/>
                  </a:lnTo>
                  <a:lnTo>
                    <a:pt x="283" y="660"/>
                  </a:lnTo>
                  <a:lnTo>
                    <a:pt x="283" y="566"/>
                  </a:lnTo>
                  <a:close/>
                  <a:moveTo>
                    <a:pt x="283" y="377"/>
                  </a:moveTo>
                  <a:lnTo>
                    <a:pt x="377" y="377"/>
                  </a:lnTo>
                  <a:lnTo>
                    <a:pt x="377" y="473"/>
                  </a:lnTo>
                  <a:lnTo>
                    <a:pt x="283" y="473"/>
                  </a:lnTo>
                  <a:lnTo>
                    <a:pt x="283" y="377"/>
                  </a:lnTo>
                  <a:close/>
                  <a:moveTo>
                    <a:pt x="283" y="189"/>
                  </a:moveTo>
                  <a:lnTo>
                    <a:pt x="377" y="189"/>
                  </a:lnTo>
                  <a:lnTo>
                    <a:pt x="377" y="283"/>
                  </a:lnTo>
                  <a:lnTo>
                    <a:pt x="283" y="283"/>
                  </a:lnTo>
                  <a:lnTo>
                    <a:pt x="283" y="189"/>
                  </a:lnTo>
                  <a:close/>
                  <a:moveTo>
                    <a:pt x="0" y="566"/>
                  </a:moveTo>
                  <a:lnTo>
                    <a:pt x="187" y="566"/>
                  </a:lnTo>
                  <a:lnTo>
                    <a:pt x="187" y="754"/>
                  </a:lnTo>
                  <a:lnTo>
                    <a:pt x="283" y="754"/>
                  </a:lnTo>
                  <a:lnTo>
                    <a:pt x="283" y="1792"/>
                  </a:lnTo>
                  <a:lnTo>
                    <a:pt x="471" y="1792"/>
                  </a:lnTo>
                  <a:lnTo>
                    <a:pt x="471" y="0"/>
                  </a:lnTo>
                  <a:lnTo>
                    <a:pt x="0" y="0"/>
                  </a:lnTo>
                  <a:lnTo>
                    <a:pt x="0" y="56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</p:grpSp>
      <p:grpSp>
        <p:nvGrpSpPr>
          <p:cNvPr id="96" name="Group 70"/>
          <p:cNvGrpSpPr>
            <a:grpSpLocks/>
          </p:cNvGrpSpPr>
          <p:nvPr/>
        </p:nvGrpSpPr>
        <p:grpSpPr bwMode="auto">
          <a:xfrm>
            <a:off x="7959725" y="1947458"/>
            <a:ext cx="292100" cy="338137"/>
            <a:chOff x="7262483" y="384397"/>
            <a:chExt cx="712788" cy="823912"/>
          </a:xfrm>
        </p:grpSpPr>
        <p:sp>
          <p:nvSpPr>
            <p:cNvPr id="97" name="Rectangle 24"/>
            <p:cNvSpPr>
              <a:spLocks noChangeArrowheads="1"/>
            </p:cNvSpPr>
            <p:nvPr/>
          </p:nvSpPr>
          <p:spPr bwMode="auto">
            <a:xfrm>
              <a:off x="7425995" y="717772"/>
              <a:ext cx="385763" cy="2698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en-US" sz="1800">
                <a:latin typeface="HelvNeue for IBM Medium"/>
                <a:cs typeface="Helvetica Neue Light"/>
              </a:endParaRPr>
            </a:p>
          </p:txBody>
        </p:sp>
        <p:sp>
          <p:nvSpPr>
            <p:cNvPr id="98" name="Rectangle 25"/>
            <p:cNvSpPr>
              <a:spLocks noChangeArrowheads="1"/>
            </p:cNvSpPr>
            <p:nvPr/>
          </p:nvSpPr>
          <p:spPr bwMode="auto">
            <a:xfrm>
              <a:off x="7425995" y="773335"/>
              <a:ext cx="385763" cy="2698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en-US" sz="1800">
                <a:latin typeface="HelvNeue for IBM Medium"/>
                <a:cs typeface="Helvetica Neue Light"/>
              </a:endParaRPr>
            </a:p>
          </p:txBody>
        </p:sp>
        <p:sp>
          <p:nvSpPr>
            <p:cNvPr id="99" name="Rectangle 26"/>
            <p:cNvSpPr>
              <a:spLocks noChangeArrowheads="1"/>
            </p:cNvSpPr>
            <p:nvPr/>
          </p:nvSpPr>
          <p:spPr bwMode="auto">
            <a:xfrm>
              <a:off x="7425995" y="827310"/>
              <a:ext cx="165100" cy="285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en-US" sz="1800">
                <a:latin typeface="HelvNeue for IBM Medium"/>
                <a:cs typeface="Helvetica Neue Light"/>
              </a:endParaRPr>
            </a:p>
          </p:txBody>
        </p:sp>
        <p:sp>
          <p:nvSpPr>
            <p:cNvPr id="100" name="Rectangle 27"/>
            <p:cNvSpPr>
              <a:spLocks noChangeArrowheads="1"/>
            </p:cNvSpPr>
            <p:nvPr/>
          </p:nvSpPr>
          <p:spPr bwMode="auto">
            <a:xfrm>
              <a:off x="7425995" y="882872"/>
              <a:ext cx="136525" cy="2698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en-US" sz="1800">
                <a:latin typeface="HelvNeue for IBM Medium"/>
                <a:cs typeface="Helvetica Neue Light"/>
              </a:endParaRPr>
            </a:p>
          </p:txBody>
        </p:sp>
        <p:sp>
          <p:nvSpPr>
            <p:cNvPr id="101" name="Rectangle 28"/>
            <p:cNvSpPr>
              <a:spLocks noChangeArrowheads="1"/>
            </p:cNvSpPr>
            <p:nvPr/>
          </p:nvSpPr>
          <p:spPr bwMode="auto">
            <a:xfrm>
              <a:off x="7425995" y="938435"/>
              <a:ext cx="136525" cy="285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en-US" sz="1800">
                <a:latin typeface="HelvNeue for IBM Medium"/>
                <a:cs typeface="Helvetica Neue Light"/>
              </a:endParaRPr>
            </a:p>
          </p:txBody>
        </p:sp>
        <p:sp>
          <p:nvSpPr>
            <p:cNvPr id="102" name="Rectangle 29"/>
            <p:cNvSpPr>
              <a:spLocks noChangeArrowheads="1"/>
            </p:cNvSpPr>
            <p:nvPr/>
          </p:nvSpPr>
          <p:spPr bwMode="auto">
            <a:xfrm>
              <a:off x="7425995" y="606647"/>
              <a:ext cx="107950" cy="3016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en-US" sz="1800">
                <a:latin typeface="HelvNeue for IBM Medium"/>
                <a:cs typeface="Helvetica Neue Light"/>
              </a:endParaRPr>
            </a:p>
          </p:txBody>
        </p:sp>
        <p:sp>
          <p:nvSpPr>
            <p:cNvPr id="103" name="Rectangle 30"/>
            <p:cNvSpPr>
              <a:spLocks noChangeArrowheads="1"/>
            </p:cNvSpPr>
            <p:nvPr/>
          </p:nvSpPr>
          <p:spPr bwMode="auto">
            <a:xfrm>
              <a:off x="7564108" y="606647"/>
              <a:ext cx="107950" cy="3016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en-US" sz="1800">
                <a:latin typeface="HelvNeue for IBM Medium"/>
                <a:cs typeface="Helvetica Neue Light"/>
              </a:endParaRPr>
            </a:p>
          </p:txBody>
        </p:sp>
        <p:sp>
          <p:nvSpPr>
            <p:cNvPr id="104" name="Rectangle 31"/>
            <p:cNvSpPr>
              <a:spLocks noChangeArrowheads="1"/>
            </p:cNvSpPr>
            <p:nvPr/>
          </p:nvSpPr>
          <p:spPr bwMode="auto">
            <a:xfrm>
              <a:off x="7703808" y="606647"/>
              <a:ext cx="107950" cy="3016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en-US" sz="1800">
                <a:latin typeface="HelvNeue for IBM Medium"/>
                <a:cs typeface="Helvetica Neue Light"/>
              </a:endParaRPr>
            </a:p>
          </p:txBody>
        </p:sp>
        <p:sp>
          <p:nvSpPr>
            <p:cNvPr id="105" name="Freeform 32"/>
            <p:cNvSpPr>
              <a:spLocks/>
            </p:cNvSpPr>
            <p:nvPr/>
          </p:nvSpPr>
          <p:spPr bwMode="auto">
            <a:xfrm>
              <a:off x="7599033" y="836835"/>
              <a:ext cx="204788" cy="352425"/>
            </a:xfrm>
            <a:custGeom>
              <a:avLst/>
              <a:gdLst>
                <a:gd name="T0" fmla="*/ 204788 w 387"/>
                <a:gd name="T1" fmla="*/ 102283 h 665"/>
                <a:gd name="T2" fmla="*/ 204788 w 387"/>
                <a:gd name="T3" fmla="*/ 102283 h 665"/>
                <a:gd name="T4" fmla="*/ 204259 w 387"/>
                <a:gd name="T5" fmla="*/ 92213 h 665"/>
                <a:gd name="T6" fmla="*/ 202671 w 387"/>
                <a:gd name="T7" fmla="*/ 81614 h 665"/>
                <a:gd name="T8" fmla="*/ 200555 w 387"/>
                <a:gd name="T9" fmla="*/ 71545 h 665"/>
                <a:gd name="T10" fmla="*/ 196850 w 387"/>
                <a:gd name="T11" fmla="*/ 62536 h 665"/>
                <a:gd name="T12" fmla="*/ 192088 w 387"/>
                <a:gd name="T13" fmla="*/ 53526 h 665"/>
                <a:gd name="T14" fmla="*/ 186796 w 387"/>
                <a:gd name="T15" fmla="*/ 45047 h 665"/>
                <a:gd name="T16" fmla="*/ 181505 w 387"/>
                <a:gd name="T17" fmla="*/ 37097 h 665"/>
                <a:gd name="T18" fmla="*/ 175155 w 387"/>
                <a:gd name="T19" fmla="*/ 29148 h 665"/>
                <a:gd name="T20" fmla="*/ 167217 w 387"/>
                <a:gd name="T21" fmla="*/ 23318 h 665"/>
                <a:gd name="T22" fmla="*/ 159809 w 387"/>
                <a:gd name="T23" fmla="*/ 17489 h 665"/>
                <a:gd name="T24" fmla="*/ 151342 w 387"/>
                <a:gd name="T25" fmla="*/ 12189 h 665"/>
                <a:gd name="T26" fmla="*/ 142346 w 387"/>
                <a:gd name="T27" fmla="*/ 7419 h 665"/>
                <a:gd name="T28" fmla="*/ 132821 w 387"/>
                <a:gd name="T29" fmla="*/ 4240 h 665"/>
                <a:gd name="T30" fmla="*/ 122767 w 387"/>
                <a:gd name="T31" fmla="*/ 1590 h 665"/>
                <a:gd name="T32" fmla="*/ 113242 w 387"/>
                <a:gd name="T33" fmla="*/ 0 h 665"/>
                <a:gd name="T34" fmla="*/ 102659 w 387"/>
                <a:gd name="T35" fmla="*/ 0 h 665"/>
                <a:gd name="T36" fmla="*/ 102659 w 387"/>
                <a:gd name="T37" fmla="*/ 0 h 665"/>
                <a:gd name="T38" fmla="*/ 92075 w 387"/>
                <a:gd name="T39" fmla="*/ 0 h 665"/>
                <a:gd name="T40" fmla="*/ 81492 w 387"/>
                <a:gd name="T41" fmla="*/ 1590 h 665"/>
                <a:gd name="T42" fmla="*/ 71967 w 387"/>
                <a:gd name="T43" fmla="*/ 4240 h 665"/>
                <a:gd name="T44" fmla="*/ 62442 w 387"/>
                <a:gd name="T45" fmla="*/ 7419 h 665"/>
                <a:gd name="T46" fmla="*/ 53446 w 387"/>
                <a:gd name="T47" fmla="*/ 12189 h 665"/>
                <a:gd name="T48" fmla="*/ 45508 w 387"/>
                <a:gd name="T49" fmla="*/ 17489 h 665"/>
                <a:gd name="T50" fmla="*/ 37042 w 387"/>
                <a:gd name="T51" fmla="*/ 23318 h 665"/>
                <a:gd name="T52" fmla="*/ 30163 w 387"/>
                <a:gd name="T53" fmla="*/ 29148 h 665"/>
                <a:gd name="T54" fmla="*/ 23283 w 387"/>
                <a:gd name="T55" fmla="*/ 37097 h 665"/>
                <a:gd name="T56" fmla="*/ 17463 w 387"/>
                <a:gd name="T57" fmla="*/ 45047 h 665"/>
                <a:gd name="T58" fmla="*/ 12171 w 387"/>
                <a:gd name="T59" fmla="*/ 53526 h 665"/>
                <a:gd name="T60" fmla="*/ 8467 w 387"/>
                <a:gd name="T61" fmla="*/ 62536 h 665"/>
                <a:gd name="T62" fmla="*/ 4763 w 387"/>
                <a:gd name="T63" fmla="*/ 71545 h 665"/>
                <a:gd name="T64" fmla="*/ 2646 w 387"/>
                <a:gd name="T65" fmla="*/ 81614 h 665"/>
                <a:gd name="T66" fmla="*/ 1058 w 387"/>
                <a:gd name="T67" fmla="*/ 92213 h 665"/>
                <a:gd name="T68" fmla="*/ 0 w 387"/>
                <a:gd name="T69" fmla="*/ 102283 h 665"/>
                <a:gd name="T70" fmla="*/ 0 w 387"/>
                <a:gd name="T71" fmla="*/ 102283 h 665"/>
                <a:gd name="T72" fmla="*/ 0 w 387"/>
                <a:gd name="T73" fmla="*/ 110762 h 665"/>
                <a:gd name="T74" fmla="*/ 1588 w 387"/>
                <a:gd name="T75" fmla="*/ 119242 h 665"/>
                <a:gd name="T76" fmla="*/ 3175 w 387"/>
                <a:gd name="T77" fmla="*/ 126661 h 665"/>
                <a:gd name="T78" fmla="*/ 5292 w 387"/>
                <a:gd name="T79" fmla="*/ 135140 h 665"/>
                <a:gd name="T80" fmla="*/ 8467 w 387"/>
                <a:gd name="T81" fmla="*/ 142560 h 665"/>
                <a:gd name="T82" fmla="*/ 11642 w 387"/>
                <a:gd name="T83" fmla="*/ 149449 h 665"/>
                <a:gd name="T84" fmla="*/ 15346 w 387"/>
                <a:gd name="T85" fmla="*/ 156339 h 665"/>
                <a:gd name="T86" fmla="*/ 19579 w 387"/>
                <a:gd name="T87" fmla="*/ 162698 h 665"/>
                <a:gd name="T88" fmla="*/ 19579 w 387"/>
                <a:gd name="T89" fmla="*/ 352425 h 665"/>
                <a:gd name="T90" fmla="*/ 100542 w 387"/>
                <a:gd name="T91" fmla="*/ 270811 h 665"/>
                <a:gd name="T92" fmla="*/ 184680 w 387"/>
                <a:gd name="T93" fmla="*/ 352425 h 665"/>
                <a:gd name="T94" fmla="*/ 184680 w 387"/>
                <a:gd name="T95" fmla="*/ 162698 h 665"/>
                <a:gd name="T96" fmla="*/ 184680 w 387"/>
                <a:gd name="T97" fmla="*/ 162698 h 665"/>
                <a:gd name="T98" fmla="*/ 189442 w 387"/>
                <a:gd name="T99" fmla="*/ 156339 h 665"/>
                <a:gd name="T100" fmla="*/ 193146 w 387"/>
                <a:gd name="T101" fmla="*/ 149449 h 665"/>
                <a:gd name="T102" fmla="*/ 196850 w 387"/>
                <a:gd name="T103" fmla="*/ 142560 h 665"/>
                <a:gd name="T104" fmla="*/ 200025 w 387"/>
                <a:gd name="T105" fmla="*/ 135140 h 665"/>
                <a:gd name="T106" fmla="*/ 202142 w 387"/>
                <a:gd name="T107" fmla="*/ 126661 h 665"/>
                <a:gd name="T108" fmla="*/ 203730 w 387"/>
                <a:gd name="T109" fmla="*/ 119242 h 665"/>
                <a:gd name="T110" fmla="*/ 204259 w 387"/>
                <a:gd name="T111" fmla="*/ 110762 h 665"/>
                <a:gd name="T112" fmla="*/ 204788 w 387"/>
                <a:gd name="T113" fmla="*/ 102283 h 665"/>
                <a:gd name="T114" fmla="*/ 204788 w 387"/>
                <a:gd name="T115" fmla="*/ 102283 h 66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87" h="665">
                  <a:moveTo>
                    <a:pt x="387" y="193"/>
                  </a:moveTo>
                  <a:lnTo>
                    <a:pt x="387" y="193"/>
                  </a:lnTo>
                  <a:lnTo>
                    <a:pt x="386" y="174"/>
                  </a:lnTo>
                  <a:lnTo>
                    <a:pt x="383" y="154"/>
                  </a:lnTo>
                  <a:lnTo>
                    <a:pt x="379" y="135"/>
                  </a:lnTo>
                  <a:lnTo>
                    <a:pt x="372" y="118"/>
                  </a:lnTo>
                  <a:lnTo>
                    <a:pt x="363" y="101"/>
                  </a:lnTo>
                  <a:lnTo>
                    <a:pt x="353" y="85"/>
                  </a:lnTo>
                  <a:lnTo>
                    <a:pt x="343" y="70"/>
                  </a:lnTo>
                  <a:lnTo>
                    <a:pt x="331" y="55"/>
                  </a:lnTo>
                  <a:lnTo>
                    <a:pt x="316" y="44"/>
                  </a:lnTo>
                  <a:lnTo>
                    <a:pt x="302" y="33"/>
                  </a:lnTo>
                  <a:lnTo>
                    <a:pt x="286" y="23"/>
                  </a:lnTo>
                  <a:lnTo>
                    <a:pt x="269" y="14"/>
                  </a:lnTo>
                  <a:lnTo>
                    <a:pt x="251" y="8"/>
                  </a:lnTo>
                  <a:lnTo>
                    <a:pt x="232" y="3"/>
                  </a:lnTo>
                  <a:lnTo>
                    <a:pt x="214" y="0"/>
                  </a:lnTo>
                  <a:lnTo>
                    <a:pt x="194" y="0"/>
                  </a:lnTo>
                  <a:lnTo>
                    <a:pt x="174" y="0"/>
                  </a:lnTo>
                  <a:lnTo>
                    <a:pt x="154" y="3"/>
                  </a:lnTo>
                  <a:lnTo>
                    <a:pt x="136" y="8"/>
                  </a:lnTo>
                  <a:lnTo>
                    <a:pt x="118" y="14"/>
                  </a:lnTo>
                  <a:lnTo>
                    <a:pt x="101" y="23"/>
                  </a:lnTo>
                  <a:lnTo>
                    <a:pt x="86" y="33"/>
                  </a:lnTo>
                  <a:lnTo>
                    <a:pt x="70" y="44"/>
                  </a:lnTo>
                  <a:lnTo>
                    <a:pt x="57" y="55"/>
                  </a:lnTo>
                  <a:lnTo>
                    <a:pt x="44" y="70"/>
                  </a:lnTo>
                  <a:lnTo>
                    <a:pt x="33" y="85"/>
                  </a:lnTo>
                  <a:lnTo>
                    <a:pt x="23" y="101"/>
                  </a:lnTo>
                  <a:lnTo>
                    <a:pt x="16" y="118"/>
                  </a:lnTo>
                  <a:lnTo>
                    <a:pt x="9" y="135"/>
                  </a:lnTo>
                  <a:lnTo>
                    <a:pt x="5" y="154"/>
                  </a:lnTo>
                  <a:lnTo>
                    <a:pt x="2" y="174"/>
                  </a:lnTo>
                  <a:lnTo>
                    <a:pt x="0" y="193"/>
                  </a:lnTo>
                  <a:lnTo>
                    <a:pt x="0" y="209"/>
                  </a:lnTo>
                  <a:lnTo>
                    <a:pt x="3" y="225"/>
                  </a:lnTo>
                  <a:lnTo>
                    <a:pt x="6" y="239"/>
                  </a:lnTo>
                  <a:lnTo>
                    <a:pt x="10" y="255"/>
                  </a:lnTo>
                  <a:lnTo>
                    <a:pt x="16" y="269"/>
                  </a:lnTo>
                  <a:lnTo>
                    <a:pt x="22" y="282"/>
                  </a:lnTo>
                  <a:lnTo>
                    <a:pt x="29" y="295"/>
                  </a:lnTo>
                  <a:lnTo>
                    <a:pt x="37" y="307"/>
                  </a:lnTo>
                  <a:lnTo>
                    <a:pt x="37" y="665"/>
                  </a:lnTo>
                  <a:lnTo>
                    <a:pt x="190" y="511"/>
                  </a:lnTo>
                  <a:lnTo>
                    <a:pt x="349" y="665"/>
                  </a:lnTo>
                  <a:lnTo>
                    <a:pt x="349" y="307"/>
                  </a:lnTo>
                  <a:lnTo>
                    <a:pt x="358" y="295"/>
                  </a:lnTo>
                  <a:lnTo>
                    <a:pt x="365" y="282"/>
                  </a:lnTo>
                  <a:lnTo>
                    <a:pt x="372" y="269"/>
                  </a:lnTo>
                  <a:lnTo>
                    <a:pt x="378" y="255"/>
                  </a:lnTo>
                  <a:lnTo>
                    <a:pt x="382" y="239"/>
                  </a:lnTo>
                  <a:lnTo>
                    <a:pt x="385" y="225"/>
                  </a:lnTo>
                  <a:lnTo>
                    <a:pt x="386" y="209"/>
                  </a:lnTo>
                  <a:lnTo>
                    <a:pt x="387" y="19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106" name="Freeform 33"/>
            <p:cNvSpPr>
              <a:spLocks/>
            </p:cNvSpPr>
            <p:nvPr/>
          </p:nvSpPr>
          <p:spPr bwMode="auto">
            <a:xfrm>
              <a:off x="7262483" y="384397"/>
              <a:ext cx="712788" cy="823912"/>
            </a:xfrm>
            <a:custGeom>
              <a:avLst/>
              <a:gdLst>
                <a:gd name="T0" fmla="*/ 35957 w 1348"/>
                <a:gd name="T1" fmla="*/ 0 h 1557"/>
                <a:gd name="T2" fmla="*/ 29611 w 1348"/>
                <a:gd name="T3" fmla="*/ 529 h 1557"/>
                <a:gd name="T4" fmla="*/ 15863 w 1348"/>
                <a:gd name="T5" fmla="*/ 5821 h 1557"/>
                <a:gd name="T6" fmla="*/ 5817 w 1348"/>
                <a:gd name="T7" fmla="*/ 15346 h 1557"/>
                <a:gd name="T8" fmla="*/ 0 w 1348"/>
                <a:gd name="T9" fmla="*/ 29104 h 1557"/>
                <a:gd name="T10" fmla="*/ 0 w 1348"/>
                <a:gd name="T11" fmla="*/ 786870 h 1557"/>
                <a:gd name="T12" fmla="*/ 0 w 1348"/>
                <a:gd name="T13" fmla="*/ 794279 h 1557"/>
                <a:gd name="T14" fmla="*/ 5817 w 1348"/>
                <a:gd name="T15" fmla="*/ 808037 h 1557"/>
                <a:gd name="T16" fmla="*/ 15863 w 1348"/>
                <a:gd name="T17" fmla="*/ 817562 h 1557"/>
                <a:gd name="T18" fmla="*/ 29611 w 1348"/>
                <a:gd name="T19" fmla="*/ 822854 h 1557"/>
                <a:gd name="T20" fmla="*/ 328898 w 1348"/>
                <a:gd name="T21" fmla="*/ 823912 h 1557"/>
                <a:gd name="T22" fmla="*/ 35957 w 1348"/>
                <a:gd name="T23" fmla="*/ 792691 h 1557"/>
                <a:gd name="T24" fmla="*/ 34899 w 1348"/>
                <a:gd name="T25" fmla="*/ 792162 h 1557"/>
                <a:gd name="T26" fmla="*/ 31726 w 1348"/>
                <a:gd name="T27" fmla="*/ 788987 h 1557"/>
                <a:gd name="T28" fmla="*/ 30669 w 1348"/>
                <a:gd name="T29" fmla="*/ 36512 h 1557"/>
                <a:gd name="T30" fmla="*/ 31726 w 1348"/>
                <a:gd name="T31" fmla="*/ 34396 h 1557"/>
                <a:gd name="T32" fmla="*/ 34899 w 1348"/>
                <a:gd name="T33" fmla="*/ 31221 h 1557"/>
                <a:gd name="T34" fmla="*/ 675774 w 1348"/>
                <a:gd name="T35" fmla="*/ 30692 h 1557"/>
                <a:gd name="T36" fmla="*/ 678418 w 1348"/>
                <a:gd name="T37" fmla="*/ 31221 h 1557"/>
                <a:gd name="T38" fmla="*/ 681062 w 1348"/>
                <a:gd name="T39" fmla="*/ 34396 h 1557"/>
                <a:gd name="T40" fmla="*/ 682119 w 1348"/>
                <a:gd name="T41" fmla="*/ 786870 h 1557"/>
                <a:gd name="T42" fmla="*/ 681062 w 1348"/>
                <a:gd name="T43" fmla="*/ 788987 h 1557"/>
                <a:gd name="T44" fmla="*/ 678418 w 1348"/>
                <a:gd name="T45" fmla="*/ 792162 h 1557"/>
                <a:gd name="T46" fmla="*/ 548868 w 1348"/>
                <a:gd name="T47" fmla="*/ 792691 h 1557"/>
                <a:gd name="T48" fmla="*/ 675774 w 1348"/>
                <a:gd name="T49" fmla="*/ 823912 h 1557"/>
                <a:gd name="T50" fmla="*/ 683177 w 1348"/>
                <a:gd name="T51" fmla="*/ 822854 h 1557"/>
                <a:gd name="T52" fmla="*/ 696925 w 1348"/>
                <a:gd name="T53" fmla="*/ 817562 h 1557"/>
                <a:gd name="T54" fmla="*/ 706971 w 1348"/>
                <a:gd name="T55" fmla="*/ 808037 h 1557"/>
                <a:gd name="T56" fmla="*/ 712259 w 1348"/>
                <a:gd name="T57" fmla="*/ 794279 h 1557"/>
                <a:gd name="T58" fmla="*/ 712788 w 1348"/>
                <a:gd name="T59" fmla="*/ 36512 h 1557"/>
                <a:gd name="T60" fmla="*/ 712259 w 1348"/>
                <a:gd name="T61" fmla="*/ 29104 h 1557"/>
                <a:gd name="T62" fmla="*/ 706971 w 1348"/>
                <a:gd name="T63" fmla="*/ 15346 h 1557"/>
                <a:gd name="T64" fmla="*/ 696925 w 1348"/>
                <a:gd name="T65" fmla="*/ 5821 h 1557"/>
                <a:gd name="T66" fmla="*/ 683177 w 1348"/>
                <a:gd name="T67" fmla="*/ 529 h 1557"/>
                <a:gd name="T68" fmla="*/ 675774 w 1348"/>
                <a:gd name="T69" fmla="*/ 0 h 155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348" h="1557">
                  <a:moveTo>
                    <a:pt x="1278" y="0"/>
                  </a:moveTo>
                  <a:lnTo>
                    <a:pt x="68" y="0"/>
                  </a:lnTo>
                  <a:lnTo>
                    <a:pt x="56" y="1"/>
                  </a:lnTo>
                  <a:lnTo>
                    <a:pt x="41" y="5"/>
                  </a:lnTo>
                  <a:lnTo>
                    <a:pt x="30" y="11"/>
                  </a:lnTo>
                  <a:lnTo>
                    <a:pt x="20" y="19"/>
                  </a:lnTo>
                  <a:lnTo>
                    <a:pt x="11" y="29"/>
                  </a:lnTo>
                  <a:lnTo>
                    <a:pt x="4" y="42"/>
                  </a:lnTo>
                  <a:lnTo>
                    <a:pt x="0" y="55"/>
                  </a:lnTo>
                  <a:lnTo>
                    <a:pt x="0" y="69"/>
                  </a:lnTo>
                  <a:lnTo>
                    <a:pt x="0" y="1487"/>
                  </a:lnTo>
                  <a:lnTo>
                    <a:pt x="0" y="1501"/>
                  </a:lnTo>
                  <a:lnTo>
                    <a:pt x="4" y="1514"/>
                  </a:lnTo>
                  <a:lnTo>
                    <a:pt x="11" y="1527"/>
                  </a:lnTo>
                  <a:lnTo>
                    <a:pt x="20" y="1537"/>
                  </a:lnTo>
                  <a:lnTo>
                    <a:pt x="30" y="1545"/>
                  </a:lnTo>
                  <a:lnTo>
                    <a:pt x="41" y="1551"/>
                  </a:lnTo>
                  <a:lnTo>
                    <a:pt x="56" y="1555"/>
                  </a:lnTo>
                  <a:lnTo>
                    <a:pt x="68" y="1557"/>
                  </a:lnTo>
                  <a:lnTo>
                    <a:pt x="622" y="1557"/>
                  </a:lnTo>
                  <a:lnTo>
                    <a:pt x="622" y="1498"/>
                  </a:lnTo>
                  <a:lnTo>
                    <a:pt x="68" y="1498"/>
                  </a:lnTo>
                  <a:lnTo>
                    <a:pt x="66" y="1497"/>
                  </a:lnTo>
                  <a:lnTo>
                    <a:pt x="61" y="1494"/>
                  </a:lnTo>
                  <a:lnTo>
                    <a:pt x="60" y="1491"/>
                  </a:lnTo>
                  <a:lnTo>
                    <a:pt x="58" y="1487"/>
                  </a:lnTo>
                  <a:lnTo>
                    <a:pt x="58" y="69"/>
                  </a:lnTo>
                  <a:lnTo>
                    <a:pt x="60" y="65"/>
                  </a:lnTo>
                  <a:lnTo>
                    <a:pt x="61" y="62"/>
                  </a:lnTo>
                  <a:lnTo>
                    <a:pt x="66" y="59"/>
                  </a:lnTo>
                  <a:lnTo>
                    <a:pt x="68" y="58"/>
                  </a:lnTo>
                  <a:lnTo>
                    <a:pt x="1278" y="58"/>
                  </a:lnTo>
                  <a:lnTo>
                    <a:pt x="1283" y="59"/>
                  </a:lnTo>
                  <a:lnTo>
                    <a:pt x="1285" y="62"/>
                  </a:lnTo>
                  <a:lnTo>
                    <a:pt x="1288" y="65"/>
                  </a:lnTo>
                  <a:lnTo>
                    <a:pt x="1290" y="69"/>
                  </a:lnTo>
                  <a:lnTo>
                    <a:pt x="1290" y="1487"/>
                  </a:lnTo>
                  <a:lnTo>
                    <a:pt x="1288" y="1491"/>
                  </a:lnTo>
                  <a:lnTo>
                    <a:pt x="1285" y="1494"/>
                  </a:lnTo>
                  <a:lnTo>
                    <a:pt x="1283" y="1497"/>
                  </a:lnTo>
                  <a:lnTo>
                    <a:pt x="1278" y="1498"/>
                  </a:lnTo>
                  <a:lnTo>
                    <a:pt x="1038" y="1498"/>
                  </a:lnTo>
                  <a:lnTo>
                    <a:pt x="1038" y="1557"/>
                  </a:lnTo>
                  <a:lnTo>
                    <a:pt x="1278" y="1557"/>
                  </a:lnTo>
                  <a:lnTo>
                    <a:pt x="1292" y="1555"/>
                  </a:lnTo>
                  <a:lnTo>
                    <a:pt x="1305" y="1551"/>
                  </a:lnTo>
                  <a:lnTo>
                    <a:pt x="1318" y="1545"/>
                  </a:lnTo>
                  <a:lnTo>
                    <a:pt x="1328" y="1537"/>
                  </a:lnTo>
                  <a:lnTo>
                    <a:pt x="1337" y="1527"/>
                  </a:lnTo>
                  <a:lnTo>
                    <a:pt x="1342" y="1514"/>
                  </a:lnTo>
                  <a:lnTo>
                    <a:pt x="1347" y="1501"/>
                  </a:lnTo>
                  <a:lnTo>
                    <a:pt x="1348" y="1487"/>
                  </a:lnTo>
                  <a:lnTo>
                    <a:pt x="1348" y="69"/>
                  </a:lnTo>
                  <a:lnTo>
                    <a:pt x="1347" y="55"/>
                  </a:lnTo>
                  <a:lnTo>
                    <a:pt x="1342" y="42"/>
                  </a:lnTo>
                  <a:lnTo>
                    <a:pt x="1337" y="29"/>
                  </a:lnTo>
                  <a:lnTo>
                    <a:pt x="1328" y="19"/>
                  </a:lnTo>
                  <a:lnTo>
                    <a:pt x="1318" y="11"/>
                  </a:lnTo>
                  <a:lnTo>
                    <a:pt x="1305" y="5"/>
                  </a:lnTo>
                  <a:lnTo>
                    <a:pt x="1292" y="1"/>
                  </a:lnTo>
                  <a:lnTo>
                    <a:pt x="1278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107" name="Freeform 34"/>
            <p:cNvSpPr>
              <a:spLocks/>
            </p:cNvSpPr>
            <p:nvPr/>
          </p:nvSpPr>
          <p:spPr bwMode="auto">
            <a:xfrm>
              <a:off x="7345033" y="468535"/>
              <a:ext cx="549275" cy="663575"/>
            </a:xfrm>
            <a:custGeom>
              <a:avLst/>
              <a:gdLst>
                <a:gd name="T0" fmla="*/ 549275 w 1039"/>
                <a:gd name="T1" fmla="*/ 37071 h 1253"/>
                <a:gd name="T2" fmla="*/ 548218 w 1039"/>
                <a:gd name="T3" fmla="*/ 29657 h 1253"/>
                <a:gd name="T4" fmla="*/ 542931 w 1039"/>
                <a:gd name="T5" fmla="*/ 15888 h 1253"/>
                <a:gd name="T6" fmla="*/ 533415 w 1039"/>
                <a:gd name="T7" fmla="*/ 6355 h 1253"/>
                <a:gd name="T8" fmla="*/ 519670 w 1039"/>
                <a:gd name="T9" fmla="*/ 1059 h 1253"/>
                <a:gd name="T10" fmla="*/ 35949 w 1039"/>
                <a:gd name="T11" fmla="*/ 0 h 1253"/>
                <a:gd name="T12" fmla="*/ 29076 w 1039"/>
                <a:gd name="T13" fmla="*/ 1059 h 1253"/>
                <a:gd name="T14" fmla="*/ 15860 w 1039"/>
                <a:gd name="T15" fmla="*/ 6355 h 1253"/>
                <a:gd name="T16" fmla="*/ 5815 w 1039"/>
                <a:gd name="T17" fmla="*/ 15888 h 1253"/>
                <a:gd name="T18" fmla="*/ 529 w 1039"/>
                <a:gd name="T19" fmla="*/ 29657 h 1253"/>
                <a:gd name="T20" fmla="*/ 0 w 1039"/>
                <a:gd name="T21" fmla="*/ 626504 h 1253"/>
                <a:gd name="T22" fmla="*/ 529 w 1039"/>
                <a:gd name="T23" fmla="*/ 633918 h 1253"/>
                <a:gd name="T24" fmla="*/ 5815 w 1039"/>
                <a:gd name="T25" fmla="*/ 647687 h 1253"/>
                <a:gd name="T26" fmla="*/ 15860 w 1039"/>
                <a:gd name="T27" fmla="*/ 657220 h 1253"/>
                <a:gd name="T28" fmla="*/ 29076 w 1039"/>
                <a:gd name="T29" fmla="*/ 662516 h 1253"/>
                <a:gd name="T30" fmla="*/ 245826 w 1039"/>
                <a:gd name="T31" fmla="*/ 663575 h 1253"/>
                <a:gd name="T32" fmla="*/ 35949 w 1039"/>
                <a:gd name="T33" fmla="*/ 632329 h 1253"/>
                <a:gd name="T34" fmla="*/ 34363 w 1039"/>
                <a:gd name="T35" fmla="*/ 631800 h 1253"/>
                <a:gd name="T36" fmla="*/ 31191 w 1039"/>
                <a:gd name="T37" fmla="*/ 628622 h 1253"/>
                <a:gd name="T38" fmla="*/ 30662 w 1039"/>
                <a:gd name="T39" fmla="*/ 37071 h 1253"/>
                <a:gd name="T40" fmla="*/ 31191 w 1039"/>
                <a:gd name="T41" fmla="*/ 34953 h 1253"/>
                <a:gd name="T42" fmla="*/ 34363 w 1039"/>
                <a:gd name="T43" fmla="*/ 31775 h 1253"/>
                <a:gd name="T44" fmla="*/ 512269 w 1039"/>
                <a:gd name="T45" fmla="*/ 31246 h 1253"/>
                <a:gd name="T46" fmla="*/ 514384 w 1039"/>
                <a:gd name="T47" fmla="*/ 31775 h 1253"/>
                <a:gd name="T48" fmla="*/ 517556 w 1039"/>
                <a:gd name="T49" fmla="*/ 34953 h 1253"/>
                <a:gd name="T50" fmla="*/ 518084 w 1039"/>
                <a:gd name="T51" fmla="*/ 626504 h 1253"/>
                <a:gd name="T52" fmla="*/ 517556 w 1039"/>
                <a:gd name="T53" fmla="*/ 628622 h 1253"/>
                <a:gd name="T54" fmla="*/ 514384 w 1039"/>
                <a:gd name="T55" fmla="*/ 631800 h 1253"/>
                <a:gd name="T56" fmla="*/ 465747 w 1039"/>
                <a:gd name="T57" fmla="*/ 632329 h 1253"/>
                <a:gd name="T58" fmla="*/ 512269 w 1039"/>
                <a:gd name="T59" fmla="*/ 663575 h 1253"/>
                <a:gd name="T60" fmla="*/ 519670 w 1039"/>
                <a:gd name="T61" fmla="*/ 662516 h 1253"/>
                <a:gd name="T62" fmla="*/ 533415 w 1039"/>
                <a:gd name="T63" fmla="*/ 657220 h 1253"/>
                <a:gd name="T64" fmla="*/ 542931 w 1039"/>
                <a:gd name="T65" fmla="*/ 647687 h 1253"/>
                <a:gd name="T66" fmla="*/ 548218 w 1039"/>
                <a:gd name="T67" fmla="*/ 633918 h 1253"/>
                <a:gd name="T68" fmla="*/ 549275 w 1039"/>
                <a:gd name="T69" fmla="*/ 626504 h 125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039" h="1253">
                  <a:moveTo>
                    <a:pt x="1039" y="1183"/>
                  </a:moveTo>
                  <a:lnTo>
                    <a:pt x="1039" y="70"/>
                  </a:lnTo>
                  <a:lnTo>
                    <a:pt x="1037" y="56"/>
                  </a:lnTo>
                  <a:lnTo>
                    <a:pt x="1033" y="43"/>
                  </a:lnTo>
                  <a:lnTo>
                    <a:pt x="1027" y="30"/>
                  </a:lnTo>
                  <a:lnTo>
                    <a:pt x="1019" y="20"/>
                  </a:lnTo>
                  <a:lnTo>
                    <a:pt x="1009" y="12"/>
                  </a:lnTo>
                  <a:lnTo>
                    <a:pt x="996" y="6"/>
                  </a:lnTo>
                  <a:lnTo>
                    <a:pt x="983" y="2"/>
                  </a:lnTo>
                  <a:lnTo>
                    <a:pt x="969" y="0"/>
                  </a:lnTo>
                  <a:lnTo>
                    <a:pt x="68" y="0"/>
                  </a:lnTo>
                  <a:lnTo>
                    <a:pt x="55" y="2"/>
                  </a:lnTo>
                  <a:lnTo>
                    <a:pt x="41" y="6"/>
                  </a:lnTo>
                  <a:lnTo>
                    <a:pt x="30" y="12"/>
                  </a:lnTo>
                  <a:lnTo>
                    <a:pt x="20" y="20"/>
                  </a:lnTo>
                  <a:lnTo>
                    <a:pt x="11" y="30"/>
                  </a:lnTo>
                  <a:lnTo>
                    <a:pt x="4" y="43"/>
                  </a:lnTo>
                  <a:lnTo>
                    <a:pt x="1" y="56"/>
                  </a:lnTo>
                  <a:lnTo>
                    <a:pt x="0" y="70"/>
                  </a:lnTo>
                  <a:lnTo>
                    <a:pt x="0" y="1183"/>
                  </a:lnTo>
                  <a:lnTo>
                    <a:pt x="1" y="1197"/>
                  </a:lnTo>
                  <a:lnTo>
                    <a:pt x="4" y="1210"/>
                  </a:lnTo>
                  <a:lnTo>
                    <a:pt x="11" y="1223"/>
                  </a:lnTo>
                  <a:lnTo>
                    <a:pt x="20" y="1233"/>
                  </a:lnTo>
                  <a:lnTo>
                    <a:pt x="30" y="1241"/>
                  </a:lnTo>
                  <a:lnTo>
                    <a:pt x="41" y="1247"/>
                  </a:lnTo>
                  <a:lnTo>
                    <a:pt x="55" y="1251"/>
                  </a:lnTo>
                  <a:lnTo>
                    <a:pt x="68" y="1253"/>
                  </a:lnTo>
                  <a:lnTo>
                    <a:pt x="465" y="1253"/>
                  </a:lnTo>
                  <a:lnTo>
                    <a:pt x="465" y="1194"/>
                  </a:lnTo>
                  <a:lnTo>
                    <a:pt x="68" y="1194"/>
                  </a:lnTo>
                  <a:lnTo>
                    <a:pt x="65" y="1193"/>
                  </a:lnTo>
                  <a:lnTo>
                    <a:pt x="61" y="1192"/>
                  </a:lnTo>
                  <a:lnTo>
                    <a:pt x="59" y="1187"/>
                  </a:lnTo>
                  <a:lnTo>
                    <a:pt x="58" y="1183"/>
                  </a:lnTo>
                  <a:lnTo>
                    <a:pt x="58" y="70"/>
                  </a:lnTo>
                  <a:lnTo>
                    <a:pt x="59" y="66"/>
                  </a:lnTo>
                  <a:lnTo>
                    <a:pt x="61" y="63"/>
                  </a:lnTo>
                  <a:lnTo>
                    <a:pt x="65" y="60"/>
                  </a:lnTo>
                  <a:lnTo>
                    <a:pt x="68" y="59"/>
                  </a:lnTo>
                  <a:lnTo>
                    <a:pt x="969" y="59"/>
                  </a:lnTo>
                  <a:lnTo>
                    <a:pt x="973" y="60"/>
                  </a:lnTo>
                  <a:lnTo>
                    <a:pt x="976" y="63"/>
                  </a:lnTo>
                  <a:lnTo>
                    <a:pt x="979" y="66"/>
                  </a:lnTo>
                  <a:lnTo>
                    <a:pt x="980" y="70"/>
                  </a:lnTo>
                  <a:lnTo>
                    <a:pt x="980" y="1183"/>
                  </a:lnTo>
                  <a:lnTo>
                    <a:pt x="979" y="1187"/>
                  </a:lnTo>
                  <a:lnTo>
                    <a:pt x="976" y="1192"/>
                  </a:lnTo>
                  <a:lnTo>
                    <a:pt x="973" y="1193"/>
                  </a:lnTo>
                  <a:lnTo>
                    <a:pt x="969" y="1194"/>
                  </a:lnTo>
                  <a:lnTo>
                    <a:pt x="881" y="1194"/>
                  </a:lnTo>
                  <a:lnTo>
                    <a:pt x="881" y="1253"/>
                  </a:lnTo>
                  <a:lnTo>
                    <a:pt x="969" y="1253"/>
                  </a:lnTo>
                  <a:lnTo>
                    <a:pt x="983" y="1251"/>
                  </a:lnTo>
                  <a:lnTo>
                    <a:pt x="996" y="1247"/>
                  </a:lnTo>
                  <a:lnTo>
                    <a:pt x="1009" y="1241"/>
                  </a:lnTo>
                  <a:lnTo>
                    <a:pt x="1019" y="1233"/>
                  </a:lnTo>
                  <a:lnTo>
                    <a:pt x="1027" y="1223"/>
                  </a:lnTo>
                  <a:lnTo>
                    <a:pt x="1033" y="1210"/>
                  </a:lnTo>
                  <a:lnTo>
                    <a:pt x="1037" y="1197"/>
                  </a:lnTo>
                  <a:lnTo>
                    <a:pt x="1039" y="118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</p:grpSp>
      <p:grpSp>
        <p:nvGrpSpPr>
          <p:cNvPr id="108" name="Group 82"/>
          <p:cNvGrpSpPr>
            <a:grpSpLocks/>
          </p:cNvGrpSpPr>
          <p:nvPr/>
        </p:nvGrpSpPr>
        <p:grpSpPr bwMode="auto">
          <a:xfrm>
            <a:off x="6085056" y="3282377"/>
            <a:ext cx="228600" cy="395287"/>
            <a:chOff x="3806495" y="1952847"/>
            <a:chExt cx="568325" cy="979488"/>
          </a:xfrm>
        </p:grpSpPr>
        <p:sp>
          <p:nvSpPr>
            <p:cNvPr id="109" name="Freeform 35"/>
            <p:cNvSpPr>
              <a:spLocks noEditPoints="1"/>
            </p:cNvSpPr>
            <p:nvPr/>
          </p:nvSpPr>
          <p:spPr bwMode="auto">
            <a:xfrm>
              <a:off x="3806495" y="2136997"/>
              <a:ext cx="568325" cy="611187"/>
            </a:xfrm>
            <a:custGeom>
              <a:avLst/>
              <a:gdLst>
                <a:gd name="T0" fmla="*/ 359975 w 1072"/>
                <a:gd name="T1" fmla="*/ 445316 h 1157"/>
                <a:gd name="T2" fmla="*/ 331346 w 1072"/>
                <a:gd name="T3" fmla="*/ 457994 h 1157"/>
                <a:gd name="T4" fmla="*/ 304839 w 1072"/>
                <a:gd name="T5" fmla="*/ 452183 h 1157"/>
                <a:gd name="T6" fmla="*/ 275150 w 1072"/>
                <a:gd name="T7" fmla="*/ 445316 h 1157"/>
                <a:gd name="T8" fmla="*/ 233798 w 1072"/>
                <a:gd name="T9" fmla="*/ 456409 h 1157"/>
                <a:gd name="T10" fmla="*/ 212062 w 1072"/>
                <a:gd name="T11" fmla="*/ 457994 h 1157"/>
                <a:gd name="T12" fmla="*/ 183963 w 1072"/>
                <a:gd name="T13" fmla="*/ 438449 h 1157"/>
                <a:gd name="T14" fmla="*/ 156395 w 1072"/>
                <a:gd name="T15" fmla="*/ 398830 h 1157"/>
                <a:gd name="T16" fmla="*/ 136780 w 1072"/>
                <a:gd name="T17" fmla="*/ 346533 h 1157"/>
                <a:gd name="T18" fmla="*/ 132008 w 1072"/>
                <a:gd name="T19" fmla="*/ 288954 h 1157"/>
                <a:gd name="T20" fmla="*/ 145792 w 1072"/>
                <a:gd name="T21" fmla="*/ 246693 h 1157"/>
                <a:gd name="T22" fmla="*/ 183963 w 1072"/>
                <a:gd name="T23" fmla="*/ 211301 h 1157"/>
                <a:gd name="T24" fmla="*/ 223195 w 1072"/>
                <a:gd name="T25" fmla="*/ 204433 h 1157"/>
                <a:gd name="T26" fmla="*/ 265607 w 1072"/>
                <a:gd name="T27" fmla="*/ 219224 h 1157"/>
                <a:gd name="T28" fmla="*/ 299007 w 1072"/>
                <a:gd name="T29" fmla="*/ 210772 h 1157"/>
                <a:gd name="T30" fmla="*/ 335587 w 1072"/>
                <a:gd name="T31" fmla="*/ 203905 h 1157"/>
                <a:gd name="T32" fmla="*/ 363155 w 1072"/>
                <a:gd name="T33" fmla="*/ 209716 h 1157"/>
                <a:gd name="T34" fmla="*/ 393904 w 1072"/>
                <a:gd name="T35" fmla="*/ 231902 h 1157"/>
                <a:gd name="T36" fmla="*/ 378000 w 1072"/>
                <a:gd name="T37" fmla="*/ 253561 h 1157"/>
                <a:gd name="T38" fmla="*/ 362095 w 1072"/>
                <a:gd name="T39" fmla="*/ 286841 h 1157"/>
                <a:gd name="T40" fmla="*/ 363155 w 1072"/>
                <a:gd name="T41" fmla="*/ 319064 h 1157"/>
                <a:gd name="T42" fmla="*/ 379590 w 1072"/>
                <a:gd name="T43" fmla="*/ 349703 h 1157"/>
                <a:gd name="T44" fmla="*/ 406098 w 1072"/>
                <a:gd name="T45" fmla="*/ 369248 h 1157"/>
                <a:gd name="T46" fmla="*/ 382771 w 1072"/>
                <a:gd name="T47" fmla="*/ 416790 h 1157"/>
                <a:gd name="T48" fmla="*/ 296356 w 1072"/>
                <a:gd name="T49" fmla="*/ 138402 h 1157"/>
                <a:gd name="T50" fmla="*/ 329226 w 1072"/>
                <a:gd name="T51" fmla="*/ 123611 h 1157"/>
                <a:gd name="T52" fmla="*/ 333997 w 1072"/>
                <a:gd name="T53" fmla="*/ 144741 h 1157"/>
                <a:gd name="T54" fmla="*/ 318623 w 1072"/>
                <a:gd name="T55" fmla="*/ 175908 h 1157"/>
                <a:gd name="T56" fmla="*/ 295826 w 1072"/>
                <a:gd name="T57" fmla="*/ 194397 h 1157"/>
                <a:gd name="T58" fmla="*/ 268788 w 1072"/>
                <a:gd name="T59" fmla="*/ 200207 h 1157"/>
                <a:gd name="T60" fmla="*/ 275150 w 1072"/>
                <a:gd name="T61" fmla="*/ 164814 h 1157"/>
                <a:gd name="T62" fmla="*/ 552420 w 1072"/>
                <a:gd name="T63" fmla="*/ 138402 h 1157"/>
                <a:gd name="T64" fmla="*/ 535986 w 1072"/>
                <a:gd name="T65" fmla="*/ 72899 h 1157"/>
                <a:gd name="T66" fmla="*/ 516370 w 1072"/>
                <a:gd name="T67" fmla="*/ 33280 h 1157"/>
                <a:gd name="T68" fmla="*/ 480850 w 1072"/>
                <a:gd name="T69" fmla="*/ 6867 h 1157"/>
                <a:gd name="T70" fmla="*/ 92247 w 1072"/>
                <a:gd name="T71" fmla="*/ 0 h 1157"/>
                <a:gd name="T72" fmla="*/ 56726 w 1072"/>
                <a:gd name="T73" fmla="*/ 6867 h 1157"/>
                <a:gd name="T74" fmla="*/ 21206 w 1072"/>
                <a:gd name="T75" fmla="*/ 33280 h 1157"/>
                <a:gd name="T76" fmla="*/ 2121 w 1072"/>
                <a:gd name="T77" fmla="*/ 72899 h 1157"/>
                <a:gd name="T78" fmla="*/ 530 w 1072"/>
                <a:gd name="T79" fmla="*/ 529308 h 1157"/>
                <a:gd name="T80" fmla="*/ 15905 w 1072"/>
                <a:gd name="T81" fmla="*/ 571040 h 1157"/>
                <a:gd name="T82" fmla="*/ 48244 w 1072"/>
                <a:gd name="T83" fmla="*/ 600094 h 1157"/>
                <a:gd name="T84" fmla="*/ 92247 w 1072"/>
                <a:gd name="T85" fmla="*/ 611187 h 1157"/>
                <a:gd name="T86" fmla="*/ 472367 w 1072"/>
                <a:gd name="T87" fmla="*/ 607489 h 1157"/>
                <a:gd name="T88" fmla="*/ 510008 w 1072"/>
                <a:gd name="T89" fmla="*/ 584246 h 1157"/>
                <a:gd name="T90" fmla="*/ 533335 w 1072"/>
                <a:gd name="T91" fmla="*/ 546740 h 1157"/>
                <a:gd name="T92" fmla="*/ 552420 w 1072"/>
                <a:gd name="T93" fmla="*/ 485991 h 1157"/>
                <a:gd name="T94" fmla="*/ 560903 w 1072"/>
                <a:gd name="T95" fmla="*/ 478596 h 1157"/>
                <a:gd name="T96" fmla="*/ 555601 w 1072"/>
                <a:gd name="T97" fmla="*/ 333327 h 1157"/>
                <a:gd name="T98" fmla="*/ 552420 w 1072"/>
                <a:gd name="T99" fmla="*/ 245109 h 1157"/>
                <a:gd name="T100" fmla="*/ 565144 w 1072"/>
                <a:gd name="T101" fmla="*/ 238770 h 1157"/>
                <a:gd name="T102" fmla="*/ 568325 w 1072"/>
                <a:gd name="T103" fmla="*/ 153721 h 1157"/>
                <a:gd name="T104" fmla="*/ 561433 w 1072"/>
                <a:gd name="T105" fmla="*/ 141043 h 1157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072" h="1157">
                  <a:moveTo>
                    <a:pt x="722" y="789"/>
                  </a:moveTo>
                  <a:lnTo>
                    <a:pt x="722" y="789"/>
                  </a:lnTo>
                  <a:lnTo>
                    <a:pt x="702" y="817"/>
                  </a:lnTo>
                  <a:lnTo>
                    <a:pt x="690" y="832"/>
                  </a:lnTo>
                  <a:lnTo>
                    <a:pt x="679" y="843"/>
                  </a:lnTo>
                  <a:lnTo>
                    <a:pt x="667" y="853"/>
                  </a:lnTo>
                  <a:lnTo>
                    <a:pt x="655" y="860"/>
                  </a:lnTo>
                  <a:lnTo>
                    <a:pt x="640" y="866"/>
                  </a:lnTo>
                  <a:lnTo>
                    <a:pt x="632" y="867"/>
                  </a:lnTo>
                  <a:lnTo>
                    <a:pt x="625" y="867"/>
                  </a:lnTo>
                  <a:lnTo>
                    <a:pt x="609" y="867"/>
                  </a:lnTo>
                  <a:lnTo>
                    <a:pt x="598" y="864"/>
                  </a:lnTo>
                  <a:lnTo>
                    <a:pt x="585" y="860"/>
                  </a:lnTo>
                  <a:lnTo>
                    <a:pt x="575" y="856"/>
                  </a:lnTo>
                  <a:lnTo>
                    <a:pt x="562" y="850"/>
                  </a:lnTo>
                  <a:lnTo>
                    <a:pt x="551" y="847"/>
                  </a:lnTo>
                  <a:lnTo>
                    <a:pt x="537" y="843"/>
                  </a:lnTo>
                  <a:lnTo>
                    <a:pt x="519" y="843"/>
                  </a:lnTo>
                  <a:lnTo>
                    <a:pt x="502" y="843"/>
                  </a:lnTo>
                  <a:lnTo>
                    <a:pt x="488" y="846"/>
                  </a:lnTo>
                  <a:lnTo>
                    <a:pt x="475" y="850"/>
                  </a:lnTo>
                  <a:lnTo>
                    <a:pt x="464" y="854"/>
                  </a:lnTo>
                  <a:lnTo>
                    <a:pt x="441" y="864"/>
                  </a:lnTo>
                  <a:lnTo>
                    <a:pt x="428" y="867"/>
                  </a:lnTo>
                  <a:lnTo>
                    <a:pt x="414" y="869"/>
                  </a:lnTo>
                  <a:lnTo>
                    <a:pt x="407" y="869"/>
                  </a:lnTo>
                  <a:lnTo>
                    <a:pt x="400" y="867"/>
                  </a:lnTo>
                  <a:lnTo>
                    <a:pt x="393" y="864"/>
                  </a:lnTo>
                  <a:lnTo>
                    <a:pt x="386" y="861"/>
                  </a:lnTo>
                  <a:lnTo>
                    <a:pt x="371" y="854"/>
                  </a:lnTo>
                  <a:lnTo>
                    <a:pt x="359" y="843"/>
                  </a:lnTo>
                  <a:lnTo>
                    <a:pt x="347" y="830"/>
                  </a:lnTo>
                  <a:lnTo>
                    <a:pt x="336" y="817"/>
                  </a:lnTo>
                  <a:lnTo>
                    <a:pt x="314" y="787"/>
                  </a:lnTo>
                  <a:lnTo>
                    <a:pt x="305" y="772"/>
                  </a:lnTo>
                  <a:lnTo>
                    <a:pt x="295" y="755"/>
                  </a:lnTo>
                  <a:lnTo>
                    <a:pt x="286" y="738"/>
                  </a:lnTo>
                  <a:lnTo>
                    <a:pt x="277" y="718"/>
                  </a:lnTo>
                  <a:lnTo>
                    <a:pt x="270" y="698"/>
                  </a:lnTo>
                  <a:lnTo>
                    <a:pt x="263" y="678"/>
                  </a:lnTo>
                  <a:lnTo>
                    <a:pt x="258" y="656"/>
                  </a:lnTo>
                  <a:lnTo>
                    <a:pt x="253" y="634"/>
                  </a:lnTo>
                  <a:lnTo>
                    <a:pt x="250" y="612"/>
                  </a:lnTo>
                  <a:lnTo>
                    <a:pt x="248" y="591"/>
                  </a:lnTo>
                  <a:lnTo>
                    <a:pt x="248" y="568"/>
                  </a:lnTo>
                  <a:lnTo>
                    <a:pt x="249" y="547"/>
                  </a:lnTo>
                  <a:lnTo>
                    <a:pt x="253" y="526"/>
                  </a:lnTo>
                  <a:lnTo>
                    <a:pt x="258" y="506"/>
                  </a:lnTo>
                  <a:lnTo>
                    <a:pt x="265" y="486"/>
                  </a:lnTo>
                  <a:lnTo>
                    <a:pt x="275" y="467"/>
                  </a:lnTo>
                  <a:lnTo>
                    <a:pt x="286" y="450"/>
                  </a:lnTo>
                  <a:lnTo>
                    <a:pt x="299" y="434"/>
                  </a:lnTo>
                  <a:lnTo>
                    <a:pt x="314" y="420"/>
                  </a:lnTo>
                  <a:lnTo>
                    <a:pt x="330" y="409"/>
                  </a:lnTo>
                  <a:lnTo>
                    <a:pt x="347" y="400"/>
                  </a:lnTo>
                  <a:lnTo>
                    <a:pt x="367" y="393"/>
                  </a:lnTo>
                  <a:lnTo>
                    <a:pt x="386" y="389"/>
                  </a:lnTo>
                  <a:lnTo>
                    <a:pt x="406" y="387"/>
                  </a:lnTo>
                  <a:lnTo>
                    <a:pt x="421" y="387"/>
                  </a:lnTo>
                  <a:lnTo>
                    <a:pt x="435" y="392"/>
                  </a:lnTo>
                  <a:lnTo>
                    <a:pt x="451" y="396"/>
                  </a:lnTo>
                  <a:lnTo>
                    <a:pt x="464" y="400"/>
                  </a:lnTo>
                  <a:lnTo>
                    <a:pt x="490" y="410"/>
                  </a:lnTo>
                  <a:lnTo>
                    <a:pt x="501" y="415"/>
                  </a:lnTo>
                  <a:lnTo>
                    <a:pt x="511" y="415"/>
                  </a:lnTo>
                  <a:lnTo>
                    <a:pt x="521" y="413"/>
                  </a:lnTo>
                  <a:lnTo>
                    <a:pt x="534" y="410"/>
                  </a:lnTo>
                  <a:lnTo>
                    <a:pt x="564" y="399"/>
                  </a:lnTo>
                  <a:lnTo>
                    <a:pt x="579" y="393"/>
                  </a:lnTo>
                  <a:lnTo>
                    <a:pt x="596" y="389"/>
                  </a:lnTo>
                  <a:lnTo>
                    <a:pt x="615" y="386"/>
                  </a:lnTo>
                  <a:lnTo>
                    <a:pt x="623" y="385"/>
                  </a:lnTo>
                  <a:lnTo>
                    <a:pt x="633" y="386"/>
                  </a:lnTo>
                  <a:lnTo>
                    <a:pt x="642" y="386"/>
                  </a:lnTo>
                  <a:lnTo>
                    <a:pt x="655" y="387"/>
                  </a:lnTo>
                  <a:lnTo>
                    <a:pt x="669" y="392"/>
                  </a:lnTo>
                  <a:lnTo>
                    <a:pt x="685" y="397"/>
                  </a:lnTo>
                  <a:lnTo>
                    <a:pt x="702" y="405"/>
                  </a:lnTo>
                  <a:lnTo>
                    <a:pt x="719" y="416"/>
                  </a:lnTo>
                  <a:lnTo>
                    <a:pt x="726" y="423"/>
                  </a:lnTo>
                  <a:lnTo>
                    <a:pt x="734" y="430"/>
                  </a:lnTo>
                  <a:lnTo>
                    <a:pt x="743" y="439"/>
                  </a:lnTo>
                  <a:lnTo>
                    <a:pt x="750" y="449"/>
                  </a:lnTo>
                  <a:lnTo>
                    <a:pt x="737" y="457"/>
                  </a:lnTo>
                  <a:lnTo>
                    <a:pt x="726" y="467"/>
                  </a:lnTo>
                  <a:lnTo>
                    <a:pt x="713" y="480"/>
                  </a:lnTo>
                  <a:lnTo>
                    <a:pt x="702" y="497"/>
                  </a:lnTo>
                  <a:lnTo>
                    <a:pt x="696" y="507"/>
                  </a:lnTo>
                  <a:lnTo>
                    <a:pt x="690" y="517"/>
                  </a:lnTo>
                  <a:lnTo>
                    <a:pt x="686" y="530"/>
                  </a:lnTo>
                  <a:lnTo>
                    <a:pt x="683" y="543"/>
                  </a:lnTo>
                  <a:lnTo>
                    <a:pt x="682" y="555"/>
                  </a:lnTo>
                  <a:lnTo>
                    <a:pt x="680" y="570"/>
                  </a:lnTo>
                  <a:lnTo>
                    <a:pt x="682" y="588"/>
                  </a:lnTo>
                  <a:lnTo>
                    <a:pt x="685" y="604"/>
                  </a:lnTo>
                  <a:lnTo>
                    <a:pt x="689" y="618"/>
                  </a:lnTo>
                  <a:lnTo>
                    <a:pt x="695" y="631"/>
                  </a:lnTo>
                  <a:lnTo>
                    <a:pt x="700" y="642"/>
                  </a:lnTo>
                  <a:lnTo>
                    <a:pt x="707" y="654"/>
                  </a:lnTo>
                  <a:lnTo>
                    <a:pt x="716" y="662"/>
                  </a:lnTo>
                  <a:lnTo>
                    <a:pt x="723" y="671"/>
                  </a:lnTo>
                  <a:lnTo>
                    <a:pt x="739" y="684"/>
                  </a:lnTo>
                  <a:lnTo>
                    <a:pt x="753" y="692"/>
                  </a:lnTo>
                  <a:lnTo>
                    <a:pt x="766" y="699"/>
                  </a:lnTo>
                  <a:lnTo>
                    <a:pt x="763" y="708"/>
                  </a:lnTo>
                  <a:lnTo>
                    <a:pt x="756" y="728"/>
                  </a:lnTo>
                  <a:lnTo>
                    <a:pt x="742" y="756"/>
                  </a:lnTo>
                  <a:lnTo>
                    <a:pt x="733" y="773"/>
                  </a:lnTo>
                  <a:lnTo>
                    <a:pt x="722" y="789"/>
                  </a:lnTo>
                  <a:close/>
                  <a:moveTo>
                    <a:pt x="539" y="281"/>
                  </a:moveTo>
                  <a:lnTo>
                    <a:pt x="539" y="281"/>
                  </a:lnTo>
                  <a:lnTo>
                    <a:pt x="549" y="271"/>
                  </a:lnTo>
                  <a:lnTo>
                    <a:pt x="559" y="262"/>
                  </a:lnTo>
                  <a:lnTo>
                    <a:pt x="571" y="254"/>
                  </a:lnTo>
                  <a:lnTo>
                    <a:pt x="584" y="247"/>
                  </a:lnTo>
                  <a:lnTo>
                    <a:pt x="596" y="241"/>
                  </a:lnTo>
                  <a:lnTo>
                    <a:pt x="609" y="237"/>
                  </a:lnTo>
                  <a:lnTo>
                    <a:pt x="621" y="234"/>
                  </a:lnTo>
                  <a:lnTo>
                    <a:pt x="633" y="232"/>
                  </a:lnTo>
                  <a:lnTo>
                    <a:pt x="633" y="245"/>
                  </a:lnTo>
                  <a:lnTo>
                    <a:pt x="633" y="259"/>
                  </a:lnTo>
                  <a:lnTo>
                    <a:pt x="630" y="274"/>
                  </a:lnTo>
                  <a:lnTo>
                    <a:pt x="626" y="286"/>
                  </a:lnTo>
                  <a:lnTo>
                    <a:pt x="622" y="299"/>
                  </a:lnTo>
                  <a:lnTo>
                    <a:pt x="616" y="312"/>
                  </a:lnTo>
                  <a:lnTo>
                    <a:pt x="609" y="323"/>
                  </a:lnTo>
                  <a:lnTo>
                    <a:pt x="601" y="333"/>
                  </a:lnTo>
                  <a:lnTo>
                    <a:pt x="592" y="343"/>
                  </a:lnTo>
                  <a:lnTo>
                    <a:pt x="581" y="352"/>
                  </a:lnTo>
                  <a:lnTo>
                    <a:pt x="571" y="360"/>
                  </a:lnTo>
                  <a:lnTo>
                    <a:pt x="558" y="368"/>
                  </a:lnTo>
                  <a:lnTo>
                    <a:pt x="545" y="373"/>
                  </a:lnTo>
                  <a:lnTo>
                    <a:pt x="532" y="376"/>
                  </a:lnTo>
                  <a:lnTo>
                    <a:pt x="519" y="379"/>
                  </a:lnTo>
                  <a:lnTo>
                    <a:pt x="507" y="379"/>
                  </a:lnTo>
                  <a:lnTo>
                    <a:pt x="505" y="365"/>
                  </a:lnTo>
                  <a:lnTo>
                    <a:pt x="507" y="350"/>
                  </a:lnTo>
                  <a:lnTo>
                    <a:pt x="509" y="338"/>
                  </a:lnTo>
                  <a:lnTo>
                    <a:pt x="514" y="325"/>
                  </a:lnTo>
                  <a:lnTo>
                    <a:pt x="519" y="312"/>
                  </a:lnTo>
                  <a:lnTo>
                    <a:pt x="525" y="301"/>
                  </a:lnTo>
                  <a:lnTo>
                    <a:pt x="532" y="289"/>
                  </a:lnTo>
                  <a:lnTo>
                    <a:pt x="539" y="281"/>
                  </a:lnTo>
                  <a:close/>
                  <a:moveTo>
                    <a:pt x="1042" y="262"/>
                  </a:moveTo>
                  <a:lnTo>
                    <a:pt x="1013" y="262"/>
                  </a:lnTo>
                  <a:lnTo>
                    <a:pt x="1013" y="174"/>
                  </a:lnTo>
                  <a:lnTo>
                    <a:pt x="1012" y="156"/>
                  </a:lnTo>
                  <a:lnTo>
                    <a:pt x="1011" y="138"/>
                  </a:lnTo>
                  <a:lnTo>
                    <a:pt x="1006" y="123"/>
                  </a:lnTo>
                  <a:lnTo>
                    <a:pt x="999" y="106"/>
                  </a:lnTo>
                  <a:lnTo>
                    <a:pt x="992" y="91"/>
                  </a:lnTo>
                  <a:lnTo>
                    <a:pt x="983" y="77"/>
                  </a:lnTo>
                  <a:lnTo>
                    <a:pt x="974" y="63"/>
                  </a:lnTo>
                  <a:lnTo>
                    <a:pt x="962" y="52"/>
                  </a:lnTo>
                  <a:lnTo>
                    <a:pt x="951" y="40"/>
                  </a:lnTo>
                  <a:lnTo>
                    <a:pt x="937" y="30"/>
                  </a:lnTo>
                  <a:lnTo>
                    <a:pt x="922" y="22"/>
                  </a:lnTo>
                  <a:lnTo>
                    <a:pt x="907" y="13"/>
                  </a:lnTo>
                  <a:lnTo>
                    <a:pt x="891" y="7"/>
                  </a:lnTo>
                  <a:lnTo>
                    <a:pt x="875" y="3"/>
                  </a:lnTo>
                  <a:lnTo>
                    <a:pt x="857" y="2"/>
                  </a:lnTo>
                  <a:lnTo>
                    <a:pt x="840" y="0"/>
                  </a:lnTo>
                  <a:lnTo>
                    <a:pt x="174" y="0"/>
                  </a:lnTo>
                  <a:lnTo>
                    <a:pt x="156" y="2"/>
                  </a:lnTo>
                  <a:lnTo>
                    <a:pt x="139" y="3"/>
                  </a:lnTo>
                  <a:lnTo>
                    <a:pt x="122" y="7"/>
                  </a:lnTo>
                  <a:lnTo>
                    <a:pt x="107" y="13"/>
                  </a:lnTo>
                  <a:lnTo>
                    <a:pt x="91" y="22"/>
                  </a:lnTo>
                  <a:lnTo>
                    <a:pt x="77" y="30"/>
                  </a:lnTo>
                  <a:lnTo>
                    <a:pt x="64" y="40"/>
                  </a:lnTo>
                  <a:lnTo>
                    <a:pt x="51" y="52"/>
                  </a:lnTo>
                  <a:lnTo>
                    <a:pt x="40" y="63"/>
                  </a:lnTo>
                  <a:lnTo>
                    <a:pt x="30" y="77"/>
                  </a:lnTo>
                  <a:lnTo>
                    <a:pt x="21" y="91"/>
                  </a:lnTo>
                  <a:lnTo>
                    <a:pt x="14" y="106"/>
                  </a:lnTo>
                  <a:lnTo>
                    <a:pt x="8" y="123"/>
                  </a:lnTo>
                  <a:lnTo>
                    <a:pt x="4" y="138"/>
                  </a:lnTo>
                  <a:lnTo>
                    <a:pt x="1" y="156"/>
                  </a:lnTo>
                  <a:lnTo>
                    <a:pt x="0" y="174"/>
                  </a:lnTo>
                  <a:lnTo>
                    <a:pt x="0" y="984"/>
                  </a:lnTo>
                  <a:lnTo>
                    <a:pt x="1" y="1002"/>
                  </a:lnTo>
                  <a:lnTo>
                    <a:pt x="4" y="1019"/>
                  </a:lnTo>
                  <a:lnTo>
                    <a:pt x="8" y="1035"/>
                  </a:lnTo>
                  <a:lnTo>
                    <a:pt x="14" y="1052"/>
                  </a:lnTo>
                  <a:lnTo>
                    <a:pt x="21" y="1066"/>
                  </a:lnTo>
                  <a:lnTo>
                    <a:pt x="30" y="1081"/>
                  </a:lnTo>
                  <a:lnTo>
                    <a:pt x="40" y="1095"/>
                  </a:lnTo>
                  <a:lnTo>
                    <a:pt x="51" y="1106"/>
                  </a:lnTo>
                  <a:lnTo>
                    <a:pt x="64" y="1118"/>
                  </a:lnTo>
                  <a:lnTo>
                    <a:pt x="77" y="1128"/>
                  </a:lnTo>
                  <a:lnTo>
                    <a:pt x="91" y="1136"/>
                  </a:lnTo>
                  <a:lnTo>
                    <a:pt x="107" y="1145"/>
                  </a:lnTo>
                  <a:lnTo>
                    <a:pt x="122" y="1150"/>
                  </a:lnTo>
                  <a:lnTo>
                    <a:pt x="139" y="1155"/>
                  </a:lnTo>
                  <a:lnTo>
                    <a:pt x="156" y="1157"/>
                  </a:lnTo>
                  <a:lnTo>
                    <a:pt x="174" y="1157"/>
                  </a:lnTo>
                  <a:lnTo>
                    <a:pt x="840" y="1157"/>
                  </a:lnTo>
                  <a:lnTo>
                    <a:pt x="857" y="1157"/>
                  </a:lnTo>
                  <a:lnTo>
                    <a:pt x="875" y="1155"/>
                  </a:lnTo>
                  <a:lnTo>
                    <a:pt x="891" y="1150"/>
                  </a:lnTo>
                  <a:lnTo>
                    <a:pt x="907" y="1145"/>
                  </a:lnTo>
                  <a:lnTo>
                    <a:pt x="922" y="1136"/>
                  </a:lnTo>
                  <a:lnTo>
                    <a:pt x="937" y="1128"/>
                  </a:lnTo>
                  <a:lnTo>
                    <a:pt x="951" y="1118"/>
                  </a:lnTo>
                  <a:lnTo>
                    <a:pt x="962" y="1106"/>
                  </a:lnTo>
                  <a:lnTo>
                    <a:pt x="974" y="1095"/>
                  </a:lnTo>
                  <a:lnTo>
                    <a:pt x="983" y="1081"/>
                  </a:lnTo>
                  <a:lnTo>
                    <a:pt x="992" y="1066"/>
                  </a:lnTo>
                  <a:lnTo>
                    <a:pt x="999" y="1052"/>
                  </a:lnTo>
                  <a:lnTo>
                    <a:pt x="1006" y="1035"/>
                  </a:lnTo>
                  <a:lnTo>
                    <a:pt x="1011" y="1019"/>
                  </a:lnTo>
                  <a:lnTo>
                    <a:pt x="1012" y="1002"/>
                  </a:lnTo>
                  <a:lnTo>
                    <a:pt x="1013" y="984"/>
                  </a:lnTo>
                  <a:lnTo>
                    <a:pt x="1013" y="920"/>
                  </a:lnTo>
                  <a:lnTo>
                    <a:pt x="1042" y="920"/>
                  </a:lnTo>
                  <a:lnTo>
                    <a:pt x="1048" y="918"/>
                  </a:lnTo>
                  <a:lnTo>
                    <a:pt x="1053" y="916"/>
                  </a:lnTo>
                  <a:lnTo>
                    <a:pt x="1056" y="911"/>
                  </a:lnTo>
                  <a:lnTo>
                    <a:pt x="1058" y="906"/>
                  </a:lnTo>
                  <a:lnTo>
                    <a:pt x="1058" y="645"/>
                  </a:lnTo>
                  <a:lnTo>
                    <a:pt x="1056" y="639"/>
                  </a:lnTo>
                  <a:lnTo>
                    <a:pt x="1053" y="635"/>
                  </a:lnTo>
                  <a:lnTo>
                    <a:pt x="1048" y="631"/>
                  </a:lnTo>
                  <a:lnTo>
                    <a:pt x="1042" y="631"/>
                  </a:lnTo>
                  <a:lnTo>
                    <a:pt x="1013" y="631"/>
                  </a:lnTo>
                  <a:lnTo>
                    <a:pt x="1013" y="464"/>
                  </a:lnTo>
                  <a:lnTo>
                    <a:pt x="1042" y="464"/>
                  </a:lnTo>
                  <a:lnTo>
                    <a:pt x="1048" y="463"/>
                  </a:lnTo>
                  <a:lnTo>
                    <a:pt x="1053" y="462"/>
                  </a:lnTo>
                  <a:lnTo>
                    <a:pt x="1059" y="459"/>
                  </a:lnTo>
                  <a:lnTo>
                    <a:pt x="1063" y="456"/>
                  </a:lnTo>
                  <a:lnTo>
                    <a:pt x="1066" y="452"/>
                  </a:lnTo>
                  <a:lnTo>
                    <a:pt x="1069" y="446"/>
                  </a:lnTo>
                  <a:lnTo>
                    <a:pt x="1070" y="442"/>
                  </a:lnTo>
                  <a:lnTo>
                    <a:pt x="1072" y="436"/>
                  </a:lnTo>
                  <a:lnTo>
                    <a:pt x="1072" y="291"/>
                  </a:lnTo>
                  <a:lnTo>
                    <a:pt x="1070" y="285"/>
                  </a:lnTo>
                  <a:lnTo>
                    <a:pt x="1069" y="279"/>
                  </a:lnTo>
                  <a:lnTo>
                    <a:pt x="1066" y="274"/>
                  </a:lnTo>
                  <a:lnTo>
                    <a:pt x="1063" y="269"/>
                  </a:lnTo>
                  <a:lnTo>
                    <a:pt x="1059" y="267"/>
                  </a:lnTo>
                  <a:lnTo>
                    <a:pt x="1053" y="264"/>
                  </a:lnTo>
                  <a:lnTo>
                    <a:pt x="1048" y="262"/>
                  </a:lnTo>
                  <a:lnTo>
                    <a:pt x="1042" y="26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110" name="Freeform 36"/>
            <p:cNvSpPr>
              <a:spLocks/>
            </p:cNvSpPr>
            <p:nvPr/>
          </p:nvSpPr>
          <p:spPr bwMode="auto">
            <a:xfrm>
              <a:off x="3890633" y="1952847"/>
              <a:ext cx="368300" cy="152400"/>
            </a:xfrm>
            <a:custGeom>
              <a:avLst/>
              <a:gdLst>
                <a:gd name="T0" fmla="*/ 13778 w 695"/>
                <a:gd name="T1" fmla="*/ 152400 h 289"/>
                <a:gd name="T2" fmla="*/ 354522 w 695"/>
                <a:gd name="T3" fmla="*/ 152400 h 289"/>
                <a:gd name="T4" fmla="*/ 354522 w 695"/>
                <a:gd name="T5" fmla="*/ 152400 h 289"/>
                <a:gd name="T6" fmla="*/ 358231 w 695"/>
                <a:gd name="T7" fmla="*/ 152400 h 289"/>
                <a:gd name="T8" fmla="*/ 360881 w 695"/>
                <a:gd name="T9" fmla="*/ 151873 h 289"/>
                <a:gd name="T10" fmla="*/ 363001 w 695"/>
                <a:gd name="T11" fmla="*/ 150291 h 289"/>
                <a:gd name="T12" fmla="*/ 365120 w 695"/>
                <a:gd name="T13" fmla="*/ 147654 h 289"/>
                <a:gd name="T14" fmla="*/ 366710 w 695"/>
                <a:gd name="T15" fmla="*/ 145545 h 289"/>
                <a:gd name="T16" fmla="*/ 368300 w 695"/>
                <a:gd name="T17" fmla="*/ 143435 h 289"/>
                <a:gd name="T18" fmla="*/ 368300 w 695"/>
                <a:gd name="T19" fmla="*/ 140271 h 289"/>
                <a:gd name="T20" fmla="*/ 368300 w 695"/>
                <a:gd name="T21" fmla="*/ 137635 h 289"/>
                <a:gd name="T22" fmla="*/ 351872 w 695"/>
                <a:gd name="T23" fmla="*/ 30058 h 289"/>
                <a:gd name="T24" fmla="*/ 351872 w 695"/>
                <a:gd name="T25" fmla="*/ 30058 h 289"/>
                <a:gd name="T26" fmla="*/ 351872 w 695"/>
                <a:gd name="T27" fmla="*/ 30058 h 289"/>
                <a:gd name="T28" fmla="*/ 351872 w 695"/>
                <a:gd name="T29" fmla="*/ 30058 h 289"/>
                <a:gd name="T30" fmla="*/ 350282 w 695"/>
                <a:gd name="T31" fmla="*/ 24257 h 289"/>
                <a:gd name="T32" fmla="*/ 348163 w 695"/>
                <a:gd name="T33" fmla="*/ 17929 h 289"/>
                <a:gd name="T34" fmla="*/ 343923 w 695"/>
                <a:gd name="T35" fmla="*/ 13711 h 289"/>
                <a:gd name="T36" fmla="*/ 339684 w 695"/>
                <a:gd name="T37" fmla="*/ 8965 h 289"/>
                <a:gd name="T38" fmla="*/ 334385 w 695"/>
                <a:gd name="T39" fmla="*/ 5273 h 289"/>
                <a:gd name="T40" fmla="*/ 329085 w 695"/>
                <a:gd name="T41" fmla="*/ 2109 h 289"/>
                <a:gd name="T42" fmla="*/ 322196 w 695"/>
                <a:gd name="T43" fmla="*/ 1055 h 289"/>
                <a:gd name="T44" fmla="*/ 316367 w 695"/>
                <a:gd name="T45" fmla="*/ 0 h 289"/>
                <a:gd name="T46" fmla="*/ 52463 w 695"/>
                <a:gd name="T47" fmla="*/ 0 h 289"/>
                <a:gd name="T48" fmla="*/ 52463 w 695"/>
                <a:gd name="T49" fmla="*/ 0 h 289"/>
                <a:gd name="T50" fmla="*/ 46104 w 695"/>
                <a:gd name="T51" fmla="*/ 1055 h 289"/>
                <a:gd name="T52" fmla="*/ 40275 w 695"/>
                <a:gd name="T53" fmla="*/ 2109 h 289"/>
                <a:gd name="T54" fmla="*/ 33915 w 695"/>
                <a:gd name="T55" fmla="*/ 5273 h 289"/>
                <a:gd name="T56" fmla="*/ 29676 w 695"/>
                <a:gd name="T57" fmla="*/ 8965 h 289"/>
                <a:gd name="T58" fmla="*/ 24907 w 695"/>
                <a:gd name="T59" fmla="*/ 13711 h 289"/>
                <a:gd name="T60" fmla="*/ 21197 w 695"/>
                <a:gd name="T61" fmla="*/ 17929 h 289"/>
                <a:gd name="T62" fmla="*/ 18018 w 695"/>
                <a:gd name="T63" fmla="*/ 24257 h 289"/>
                <a:gd name="T64" fmla="*/ 16958 w 695"/>
                <a:gd name="T65" fmla="*/ 30058 h 289"/>
                <a:gd name="T66" fmla="*/ 0 w 695"/>
                <a:gd name="T67" fmla="*/ 137635 h 289"/>
                <a:gd name="T68" fmla="*/ 0 w 695"/>
                <a:gd name="T69" fmla="*/ 137635 h 289"/>
                <a:gd name="T70" fmla="*/ 0 w 695"/>
                <a:gd name="T71" fmla="*/ 140271 h 289"/>
                <a:gd name="T72" fmla="*/ 1060 w 695"/>
                <a:gd name="T73" fmla="*/ 143435 h 289"/>
                <a:gd name="T74" fmla="*/ 1590 w 695"/>
                <a:gd name="T75" fmla="*/ 145545 h 289"/>
                <a:gd name="T76" fmla="*/ 3180 w 695"/>
                <a:gd name="T77" fmla="*/ 147654 h 289"/>
                <a:gd name="T78" fmla="*/ 5299 w 695"/>
                <a:gd name="T79" fmla="*/ 150291 h 289"/>
                <a:gd name="T80" fmla="*/ 7949 w 695"/>
                <a:gd name="T81" fmla="*/ 151873 h 289"/>
                <a:gd name="T82" fmla="*/ 10599 w 695"/>
                <a:gd name="T83" fmla="*/ 152400 h 289"/>
                <a:gd name="T84" fmla="*/ 13778 w 695"/>
                <a:gd name="T85" fmla="*/ 152400 h 289"/>
                <a:gd name="T86" fmla="*/ 13778 w 695"/>
                <a:gd name="T87" fmla="*/ 152400 h 28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695" h="289">
                  <a:moveTo>
                    <a:pt x="26" y="289"/>
                  </a:moveTo>
                  <a:lnTo>
                    <a:pt x="669" y="289"/>
                  </a:lnTo>
                  <a:lnTo>
                    <a:pt x="676" y="289"/>
                  </a:lnTo>
                  <a:lnTo>
                    <a:pt x="681" y="288"/>
                  </a:lnTo>
                  <a:lnTo>
                    <a:pt x="685" y="285"/>
                  </a:lnTo>
                  <a:lnTo>
                    <a:pt x="689" y="280"/>
                  </a:lnTo>
                  <a:lnTo>
                    <a:pt x="692" y="276"/>
                  </a:lnTo>
                  <a:lnTo>
                    <a:pt x="695" y="272"/>
                  </a:lnTo>
                  <a:lnTo>
                    <a:pt x="695" y="266"/>
                  </a:lnTo>
                  <a:lnTo>
                    <a:pt x="695" y="261"/>
                  </a:lnTo>
                  <a:lnTo>
                    <a:pt x="664" y="57"/>
                  </a:lnTo>
                  <a:lnTo>
                    <a:pt x="661" y="46"/>
                  </a:lnTo>
                  <a:lnTo>
                    <a:pt x="657" y="34"/>
                  </a:lnTo>
                  <a:lnTo>
                    <a:pt x="649" y="26"/>
                  </a:lnTo>
                  <a:lnTo>
                    <a:pt x="641" y="17"/>
                  </a:lnTo>
                  <a:lnTo>
                    <a:pt x="631" y="10"/>
                  </a:lnTo>
                  <a:lnTo>
                    <a:pt x="621" y="4"/>
                  </a:lnTo>
                  <a:lnTo>
                    <a:pt x="608" y="2"/>
                  </a:lnTo>
                  <a:lnTo>
                    <a:pt x="597" y="0"/>
                  </a:lnTo>
                  <a:lnTo>
                    <a:pt x="99" y="0"/>
                  </a:lnTo>
                  <a:lnTo>
                    <a:pt x="87" y="2"/>
                  </a:lnTo>
                  <a:lnTo>
                    <a:pt x="76" y="4"/>
                  </a:lnTo>
                  <a:lnTo>
                    <a:pt x="64" y="10"/>
                  </a:lnTo>
                  <a:lnTo>
                    <a:pt x="56" y="17"/>
                  </a:lnTo>
                  <a:lnTo>
                    <a:pt x="47" y="26"/>
                  </a:lnTo>
                  <a:lnTo>
                    <a:pt x="40" y="34"/>
                  </a:lnTo>
                  <a:lnTo>
                    <a:pt x="34" y="46"/>
                  </a:lnTo>
                  <a:lnTo>
                    <a:pt x="32" y="57"/>
                  </a:lnTo>
                  <a:lnTo>
                    <a:pt x="0" y="261"/>
                  </a:lnTo>
                  <a:lnTo>
                    <a:pt x="0" y="266"/>
                  </a:lnTo>
                  <a:lnTo>
                    <a:pt x="2" y="272"/>
                  </a:lnTo>
                  <a:lnTo>
                    <a:pt x="3" y="276"/>
                  </a:lnTo>
                  <a:lnTo>
                    <a:pt x="6" y="280"/>
                  </a:lnTo>
                  <a:lnTo>
                    <a:pt x="10" y="285"/>
                  </a:lnTo>
                  <a:lnTo>
                    <a:pt x="15" y="288"/>
                  </a:lnTo>
                  <a:lnTo>
                    <a:pt x="20" y="289"/>
                  </a:lnTo>
                  <a:lnTo>
                    <a:pt x="26" y="289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111" name="Freeform 37"/>
            <p:cNvSpPr>
              <a:spLocks/>
            </p:cNvSpPr>
            <p:nvPr/>
          </p:nvSpPr>
          <p:spPr bwMode="auto">
            <a:xfrm>
              <a:off x="3890633" y="2779935"/>
              <a:ext cx="368300" cy="152400"/>
            </a:xfrm>
            <a:custGeom>
              <a:avLst/>
              <a:gdLst>
                <a:gd name="T0" fmla="*/ 354522 w 695"/>
                <a:gd name="T1" fmla="*/ 0 h 289"/>
                <a:gd name="T2" fmla="*/ 13778 w 695"/>
                <a:gd name="T3" fmla="*/ 0 h 289"/>
                <a:gd name="T4" fmla="*/ 13778 w 695"/>
                <a:gd name="T5" fmla="*/ 0 h 289"/>
                <a:gd name="T6" fmla="*/ 10599 w 695"/>
                <a:gd name="T7" fmla="*/ 0 h 289"/>
                <a:gd name="T8" fmla="*/ 7949 w 695"/>
                <a:gd name="T9" fmla="*/ 527 h 289"/>
                <a:gd name="T10" fmla="*/ 5299 w 695"/>
                <a:gd name="T11" fmla="*/ 2109 h 289"/>
                <a:gd name="T12" fmla="*/ 3180 w 695"/>
                <a:gd name="T13" fmla="*/ 4219 h 289"/>
                <a:gd name="T14" fmla="*/ 1590 w 695"/>
                <a:gd name="T15" fmla="*/ 6855 h 289"/>
                <a:gd name="T16" fmla="*/ 1060 w 695"/>
                <a:gd name="T17" fmla="*/ 8965 h 289"/>
                <a:gd name="T18" fmla="*/ 0 w 695"/>
                <a:gd name="T19" fmla="*/ 12129 h 289"/>
                <a:gd name="T20" fmla="*/ 0 w 695"/>
                <a:gd name="T21" fmla="*/ 14765 h 289"/>
                <a:gd name="T22" fmla="*/ 16958 w 695"/>
                <a:gd name="T23" fmla="*/ 122342 h 289"/>
                <a:gd name="T24" fmla="*/ 16958 w 695"/>
                <a:gd name="T25" fmla="*/ 122342 h 289"/>
                <a:gd name="T26" fmla="*/ 18018 w 695"/>
                <a:gd name="T27" fmla="*/ 128143 h 289"/>
                <a:gd name="T28" fmla="*/ 21197 w 695"/>
                <a:gd name="T29" fmla="*/ 134471 h 289"/>
                <a:gd name="T30" fmla="*/ 24907 w 695"/>
                <a:gd name="T31" fmla="*/ 138689 h 289"/>
                <a:gd name="T32" fmla="*/ 29676 w 695"/>
                <a:gd name="T33" fmla="*/ 143435 h 289"/>
                <a:gd name="T34" fmla="*/ 33915 w 695"/>
                <a:gd name="T35" fmla="*/ 147127 h 289"/>
                <a:gd name="T36" fmla="*/ 40275 w 695"/>
                <a:gd name="T37" fmla="*/ 149763 h 289"/>
                <a:gd name="T38" fmla="*/ 46104 w 695"/>
                <a:gd name="T39" fmla="*/ 151345 h 289"/>
                <a:gd name="T40" fmla="*/ 52463 w 695"/>
                <a:gd name="T41" fmla="*/ 152400 h 289"/>
                <a:gd name="T42" fmla="*/ 316367 w 695"/>
                <a:gd name="T43" fmla="*/ 152400 h 289"/>
                <a:gd name="T44" fmla="*/ 316367 w 695"/>
                <a:gd name="T45" fmla="*/ 152400 h 289"/>
                <a:gd name="T46" fmla="*/ 322196 w 695"/>
                <a:gd name="T47" fmla="*/ 151345 h 289"/>
                <a:gd name="T48" fmla="*/ 329085 w 695"/>
                <a:gd name="T49" fmla="*/ 149763 h 289"/>
                <a:gd name="T50" fmla="*/ 334385 w 695"/>
                <a:gd name="T51" fmla="*/ 147127 h 289"/>
                <a:gd name="T52" fmla="*/ 339684 w 695"/>
                <a:gd name="T53" fmla="*/ 143435 h 289"/>
                <a:gd name="T54" fmla="*/ 343923 w 695"/>
                <a:gd name="T55" fmla="*/ 138689 h 289"/>
                <a:gd name="T56" fmla="*/ 348163 w 695"/>
                <a:gd name="T57" fmla="*/ 134471 h 289"/>
                <a:gd name="T58" fmla="*/ 350282 w 695"/>
                <a:gd name="T59" fmla="*/ 128143 h 289"/>
                <a:gd name="T60" fmla="*/ 351872 w 695"/>
                <a:gd name="T61" fmla="*/ 122342 h 289"/>
                <a:gd name="T62" fmla="*/ 351872 w 695"/>
                <a:gd name="T63" fmla="*/ 122342 h 289"/>
                <a:gd name="T64" fmla="*/ 351872 w 695"/>
                <a:gd name="T65" fmla="*/ 122342 h 289"/>
                <a:gd name="T66" fmla="*/ 368300 w 695"/>
                <a:gd name="T67" fmla="*/ 14765 h 289"/>
                <a:gd name="T68" fmla="*/ 368300 w 695"/>
                <a:gd name="T69" fmla="*/ 14765 h 289"/>
                <a:gd name="T70" fmla="*/ 368300 w 695"/>
                <a:gd name="T71" fmla="*/ 12129 h 289"/>
                <a:gd name="T72" fmla="*/ 368300 w 695"/>
                <a:gd name="T73" fmla="*/ 8965 h 289"/>
                <a:gd name="T74" fmla="*/ 366710 w 695"/>
                <a:gd name="T75" fmla="*/ 6855 h 289"/>
                <a:gd name="T76" fmla="*/ 365120 w 695"/>
                <a:gd name="T77" fmla="*/ 4219 h 289"/>
                <a:gd name="T78" fmla="*/ 363001 w 695"/>
                <a:gd name="T79" fmla="*/ 2109 h 289"/>
                <a:gd name="T80" fmla="*/ 360881 w 695"/>
                <a:gd name="T81" fmla="*/ 527 h 289"/>
                <a:gd name="T82" fmla="*/ 358231 w 695"/>
                <a:gd name="T83" fmla="*/ 0 h 289"/>
                <a:gd name="T84" fmla="*/ 354522 w 695"/>
                <a:gd name="T85" fmla="*/ 0 h 289"/>
                <a:gd name="T86" fmla="*/ 354522 w 695"/>
                <a:gd name="T87" fmla="*/ 0 h 28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695" h="289">
                  <a:moveTo>
                    <a:pt x="669" y="0"/>
                  </a:moveTo>
                  <a:lnTo>
                    <a:pt x="26" y="0"/>
                  </a:lnTo>
                  <a:lnTo>
                    <a:pt x="20" y="0"/>
                  </a:lnTo>
                  <a:lnTo>
                    <a:pt x="15" y="1"/>
                  </a:lnTo>
                  <a:lnTo>
                    <a:pt x="10" y="4"/>
                  </a:lnTo>
                  <a:lnTo>
                    <a:pt x="6" y="8"/>
                  </a:lnTo>
                  <a:lnTo>
                    <a:pt x="3" y="13"/>
                  </a:lnTo>
                  <a:lnTo>
                    <a:pt x="2" y="17"/>
                  </a:lnTo>
                  <a:lnTo>
                    <a:pt x="0" y="23"/>
                  </a:lnTo>
                  <a:lnTo>
                    <a:pt x="0" y="28"/>
                  </a:lnTo>
                  <a:lnTo>
                    <a:pt x="32" y="232"/>
                  </a:lnTo>
                  <a:lnTo>
                    <a:pt x="34" y="243"/>
                  </a:lnTo>
                  <a:lnTo>
                    <a:pt x="40" y="255"/>
                  </a:lnTo>
                  <a:lnTo>
                    <a:pt x="47" y="263"/>
                  </a:lnTo>
                  <a:lnTo>
                    <a:pt x="56" y="272"/>
                  </a:lnTo>
                  <a:lnTo>
                    <a:pt x="64" y="279"/>
                  </a:lnTo>
                  <a:lnTo>
                    <a:pt x="76" y="284"/>
                  </a:lnTo>
                  <a:lnTo>
                    <a:pt x="87" y="287"/>
                  </a:lnTo>
                  <a:lnTo>
                    <a:pt x="99" y="289"/>
                  </a:lnTo>
                  <a:lnTo>
                    <a:pt x="597" y="289"/>
                  </a:lnTo>
                  <a:lnTo>
                    <a:pt x="608" y="287"/>
                  </a:lnTo>
                  <a:lnTo>
                    <a:pt x="621" y="284"/>
                  </a:lnTo>
                  <a:lnTo>
                    <a:pt x="631" y="279"/>
                  </a:lnTo>
                  <a:lnTo>
                    <a:pt x="641" y="272"/>
                  </a:lnTo>
                  <a:lnTo>
                    <a:pt x="649" y="263"/>
                  </a:lnTo>
                  <a:lnTo>
                    <a:pt x="657" y="255"/>
                  </a:lnTo>
                  <a:lnTo>
                    <a:pt x="661" y="243"/>
                  </a:lnTo>
                  <a:lnTo>
                    <a:pt x="664" y="232"/>
                  </a:lnTo>
                  <a:lnTo>
                    <a:pt x="695" y="28"/>
                  </a:lnTo>
                  <a:lnTo>
                    <a:pt x="695" y="23"/>
                  </a:lnTo>
                  <a:lnTo>
                    <a:pt x="695" y="17"/>
                  </a:lnTo>
                  <a:lnTo>
                    <a:pt x="692" y="13"/>
                  </a:lnTo>
                  <a:lnTo>
                    <a:pt x="689" y="8"/>
                  </a:lnTo>
                  <a:lnTo>
                    <a:pt x="685" y="4"/>
                  </a:lnTo>
                  <a:lnTo>
                    <a:pt x="681" y="1"/>
                  </a:lnTo>
                  <a:lnTo>
                    <a:pt x="676" y="0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</p:grpSp>
      <p:grpSp>
        <p:nvGrpSpPr>
          <p:cNvPr id="112" name="Group 86"/>
          <p:cNvGrpSpPr>
            <a:grpSpLocks/>
          </p:cNvGrpSpPr>
          <p:nvPr/>
        </p:nvGrpSpPr>
        <p:grpSpPr bwMode="auto">
          <a:xfrm>
            <a:off x="6929620" y="3276028"/>
            <a:ext cx="411163" cy="411162"/>
            <a:chOff x="5173333" y="1968722"/>
            <a:chExt cx="917575" cy="917575"/>
          </a:xfrm>
        </p:grpSpPr>
        <p:sp>
          <p:nvSpPr>
            <p:cNvPr id="113" name="Freeform 38"/>
            <p:cNvSpPr>
              <a:spLocks/>
            </p:cNvSpPr>
            <p:nvPr/>
          </p:nvSpPr>
          <p:spPr bwMode="auto">
            <a:xfrm>
              <a:off x="5613070" y="2733897"/>
              <a:ext cx="38100" cy="39687"/>
            </a:xfrm>
            <a:custGeom>
              <a:avLst/>
              <a:gdLst>
                <a:gd name="T0" fmla="*/ 19579 w 72"/>
                <a:gd name="T1" fmla="*/ 0 h 73"/>
                <a:gd name="T2" fmla="*/ 19579 w 72"/>
                <a:gd name="T3" fmla="*/ 0 h 73"/>
                <a:gd name="T4" fmla="*/ 14817 w 72"/>
                <a:gd name="T5" fmla="*/ 0 h 73"/>
                <a:gd name="T6" fmla="*/ 11113 w 72"/>
                <a:gd name="T7" fmla="*/ 1087 h 73"/>
                <a:gd name="T8" fmla="*/ 7937 w 72"/>
                <a:gd name="T9" fmla="*/ 3262 h 73"/>
                <a:gd name="T10" fmla="*/ 5292 w 72"/>
                <a:gd name="T11" fmla="*/ 5437 h 73"/>
                <a:gd name="T12" fmla="*/ 2646 w 72"/>
                <a:gd name="T13" fmla="*/ 8155 h 73"/>
                <a:gd name="T14" fmla="*/ 1588 w 72"/>
                <a:gd name="T15" fmla="*/ 11960 h 73"/>
                <a:gd name="T16" fmla="*/ 0 w 72"/>
                <a:gd name="T17" fmla="*/ 15766 h 73"/>
                <a:gd name="T18" fmla="*/ 0 w 72"/>
                <a:gd name="T19" fmla="*/ 19572 h 73"/>
                <a:gd name="T20" fmla="*/ 0 w 72"/>
                <a:gd name="T21" fmla="*/ 19572 h 73"/>
                <a:gd name="T22" fmla="*/ 0 w 72"/>
                <a:gd name="T23" fmla="*/ 24465 h 73"/>
                <a:gd name="T24" fmla="*/ 1588 w 72"/>
                <a:gd name="T25" fmla="*/ 27183 h 73"/>
                <a:gd name="T26" fmla="*/ 2646 w 72"/>
                <a:gd name="T27" fmla="*/ 30988 h 73"/>
                <a:gd name="T28" fmla="*/ 5292 w 72"/>
                <a:gd name="T29" fmla="*/ 34250 h 73"/>
                <a:gd name="T30" fmla="*/ 7937 w 72"/>
                <a:gd name="T31" fmla="*/ 36425 h 73"/>
                <a:gd name="T32" fmla="*/ 11113 w 72"/>
                <a:gd name="T33" fmla="*/ 38056 h 73"/>
                <a:gd name="T34" fmla="*/ 14817 w 72"/>
                <a:gd name="T35" fmla="*/ 39143 h 73"/>
                <a:gd name="T36" fmla="*/ 19579 w 72"/>
                <a:gd name="T37" fmla="*/ 39687 h 73"/>
                <a:gd name="T38" fmla="*/ 19579 w 72"/>
                <a:gd name="T39" fmla="*/ 39687 h 73"/>
                <a:gd name="T40" fmla="*/ 23283 w 72"/>
                <a:gd name="T41" fmla="*/ 39143 h 73"/>
                <a:gd name="T42" fmla="*/ 26987 w 72"/>
                <a:gd name="T43" fmla="*/ 38056 h 73"/>
                <a:gd name="T44" fmla="*/ 30162 w 72"/>
                <a:gd name="T45" fmla="*/ 36425 h 73"/>
                <a:gd name="T46" fmla="*/ 32808 w 72"/>
                <a:gd name="T47" fmla="*/ 34250 h 73"/>
                <a:gd name="T48" fmla="*/ 35454 w 72"/>
                <a:gd name="T49" fmla="*/ 30988 h 73"/>
                <a:gd name="T50" fmla="*/ 37042 w 72"/>
                <a:gd name="T51" fmla="*/ 27183 h 73"/>
                <a:gd name="T52" fmla="*/ 38100 w 72"/>
                <a:gd name="T53" fmla="*/ 24465 h 73"/>
                <a:gd name="T54" fmla="*/ 38100 w 72"/>
                <a:gd name="T55" fmla="*/ 19572 h 73"/>
                <a:gd name="T56" fmla="*/ 38100 w 72"/>
                <a:gd name="T57" fmla="*/ 19572 h 73"/>
                <a:gd name="T58" fmla="*/ 38100 w 72"/>
                <a:gd name="T59" fmla="*/ 15766 h 73"/>
                <a:gd name="T60" fmla="*/ 37042 w 72"/>
                <a:gd name="T61" fmla="*/ 11960 h 73"/>
                <a:gd name="T62" fmla="*/ 35454 w 72"/>
                <a:gd name="T63" fmla="*/ 8155 h 73"/>
                <a:gd name="T64" fmla="*/ 32808 w 72"/>
                <a:gd name="T65" fmla="*/ 5437 h 73"/>
                <a:gd name="T66" fmla="*/ 30162 w 72"/>
                <a:gd name="T67" fmla="*/ 3262 h 73"/>
                <a:gd name="T68" fmla="*/ 26987 w 72"/>
                <a:gd name="T69" fmla="*/ 1087 h 73"/>
                <a:gd name="T70" fmla="*/ 23283 w 72"/>
                <a:gd name="T71" fmla="*/ 0 h 73"/>
                <a:gd name="T72" fmla="*/ 19579 w 72"/>
                <a:gd name="T73" fmla="*/ 0 h 73"/>
                <a:gd name="T74" fmla="*/ 19579 w 72"/>
                <a:gd name="T75" fmla="*/ 0 h 7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72" h="73">
                  <a:moveTo>
                    <a:pt x="37" y="0"/>
                  </a:moveTo>
                  <a:lnTo>
                    <a:pt x="37" y="0"/>
                  </a:lnTo>
                  <a:lnTo>
                    <a:pt x="28" y="0"/>
                  </a:lnTo>
                  <a:lnTo>
                    <a:pt x="21" y="2"/>
                  </a:lnTo>
                  <a:lnTo>
                    <a:pt x="15" y="6"/>
                  </a:lnTo>
                  <a:lnTo>
                    <a:pt x="10" y="10"/>
                  </a:lnTo>
                  <a:lnTo>
                    <a:pt x="5" y="15"/>
                  </a:lnTo>
                  <a:lnTo>
                    <a:pt x="3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5"/>
                  </a:lnTo>
                  <a:lnTo>
                    <a:pt x="3" y="50"/>
                  </a:lnTo>
                  <a:lnTo>
                    <a:pt x="5" y="57"/>
                  </a:lnTo>
                  <a:lnTo>
                    <a:pt x="10" y="63"/>
                  </a:lnTo>
                  <a:lnTo>
                    <a:pt x="15" y="67"/>
                  </a:lnTo>
                  <a:lnTo>
                    <a:pt x="21" y="70"/>
                  </a:lnTo>
                  <a:lnTo>
                    <a:pt x="28" y="72"/>
                  </a:lnTo>
                  <a:lnTo>
                    <a:pt x="37" y="73"/>
                  </a:lnTo>
                  <a:lnTo>
                    <a:pt x="44" y="72"/>
                  </a:lnTo>
                  <a:lnTo>
                    <a:pt x="51" y="70"/>
                  </a:lnTo>
                  <a:lnTo>
                    <a:pt x="57" y="67"/>
                  </a:lnTo>
                  <a:lnTo>
                    <a:pt x="62" y="63"/>
                  </a:lnTo>
                  <a:lnTo>
                    <a:pt x="67" y="57"/>
                  </a:lnTo>
                  <a:lnTo>
                    <a:pt x="70" y="50"/>
                  </a:lnTo>
                  <a:lnTo>
                    <a:pt x="72" y="45"/>
                  </a:lnTo>
                  <a:lnTo>
                    <a:pt x="72" y="36"/>
                  </a:lnTo>
                  <a:lnTo>
                    <a:pt x="72" y="29"/>
                  </a:lnTo>
                  <a:lnTo>
                    <a:pt x="70" y="22"/>
                  </a:lnTo>
                  <a:lnTo>
                    <a:pt x="67" y="15"/>
                  </a:lnTo>
                  <a:lnTo>
                    <a:pt x="62" y="10"/>
                  </a:lnTo>
                  <a:lnTo>
                    <a:pt x="57" y="6"/>
                  </a:lnTo>
                  <a:lnTo>
                    <a:pt x="51" y="2"/>
                  </a:lnTo>
                  <a:lnTo>
                    <a:pt x="44" y="0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114" name="Freeform 39"/>
            <p:cNvSpPr>
              <a:spLocks/>
            </p:cNvSpPr>
            <p:nvPr/>
          </p:nvSpPr>
          <p:spPr bwMode="auto">
            <a:xfrm>
              <a:off x="5654345" y="2733897"/>
              <a:ext cx="39688" cy="39687"/>
            </a:xfrm>
            <a:custGeom>
              <a:avLst/>
              <a:gdLst>
                <a:gd name="T0" fmla="*/ 19844 w 74"/>
                <a:gd name="T1" fmla="*/ 0 h 73"/>
                <a:gd name="T2" fmla="*/ 19844 w 74"/>
                <a:gd name="T3" fmla="*/ 0 h 73"/>
                <a:gd name="T4" fmla="*/ 15553 w 74"/>
                <a:gd name="T5" fmla="*/ 0 h 73"/>
                <a:gd name="T6" fmla="*/ 11799 w 74"/>
                <a:gd name="T7" fmla="*/ 1087 h 73"/>
                <a:gd name="T8" fmla="*/ 8045 w 74"/>
                <a:gd name="T9" fmla="*/ 3262 h 73"/>
                <a:gd name="T10" fmla="*/ 5900 w 74"/>
                <a:gd name="T11" fmla="*/ 5437 h 73"/>
                <a:gd name="T12" fmla="*/ 3754 w 74"/>
                <a:gd name="T13" fmla="*/ 8155 h 73"/>
                <a:gd name="T14" fmla="*/ 1073 w 74"/>
                <a:gd name="T15" fmla="*/ 11960 h 73"/>
                <a:gd name="T16" fmla="*/ 536 w 74"/>
                <a:gd name="T17" fmla="*/ 15766 h 73"/>
                <a:gd name="T18" fmla="*/ 0 w 74"/>
                <a:gd name="T19" fmla="*/ 19572 h 73"/>
                <a:gd name="T20" fmla="*/ 0 w 74"/>
                <a:gd name="T21" fmla="*/ 19572 h 73"/>
                <a:gd name="T22" fmla="*/ 536 w 74"/>
                <a:gd name="T23" fmla="*/ 24465 h 73"/>
                <a:gd name="T24" fmla="*/ 1073 w 74"/>
                <a:gd name="T25" fmla="*/ 27183 h 73"/>
                <a:gd name="T26" fmla="*/ 3754 w 74"/>
                <a:gd name="T27" fmla="*/ 30988 h 73"/>
                <a:gd name="T28" fmla="*/ 5900 w 74"/>
                <a:gd name="T29" fmla="*/ 34250 h 73"/>
                <a:gd name="T30" fmla="*/ 8045 w 74"/>
                <a:gd name="T31" fmla="*/ 36425 h 73"/>
                <a:gd name="T32" fmla="*/ 11799 w 74"/>
                <a:gd name="T33" fmla="*/ 38056 h 73"/>
                <a:gd name="T34" fmla="*/ 15553 w 74"/>
                <a:gd name="T35" fmla="*/ 39143 h 73"/>
                <a:gd name="T36" fmla="*/ 19844 w 74"/>
                <a:gd name="T37" fmla="*/ 39687 h 73"/>
                <a:gd name="T38" fmla="*/ 19844 w 74"/>
                <a:gd name="T39" fmla="*/ 39687 h 73"/>
                <a:gd name="T40" fmla="*/ 23598 w 74"/>
                <a:gd name="T41" fmla="*/ 39143 h 73"/>
                <a:gd name="T42" fmla="*/ 27353 w 74"/>
                <a:gd name="T43" fmla="*/ 38056 h 73"/>
                <a:gd name="T44" fmla="*/ 31107 w 74"/>
                <a:gd name="T45" fmla="*/ 36425 h 73"/>
                <a:gd name="T46" fmla="*/ 33252 w 74"/>
                <a:gd name="T47" fmla="*/ 34250 h 73"/>
                <a:gd name="T48" fmla="*/ 35397 w 74"/>
                <a:gd name="T49" fmla="*/ 30988 h 73"/>
                <a:gd name="T50" fmla="*/ 38079 w 74"/>
                <a:gd name="T51" fmla="*/ 27183 h 73"/>
                <a:gd name="T52" fmla="*/ 38615 w 74"/>
                <a:gd name="T53" fmla="*/ 24465 h 73"/>
                <a:gd name="T54" fmla="*/ 39688 w 74"/>
                <a:gd name="T55" fmla="*/ 19572 h 73"/>
                <a:gd name="T56" fmla="*/ 39688 w 74"/>
                <a:gd name="T57" fmla="*/ 19572 h 73"/>
                <a:gd name="T58" fmla="*/ 38615 w 74"/>
                <a:gd name="T59" fmla="*/ 15766 h 73"/>
                <a:gd name="T60" fmla="*/ 38079 w 74"/>
                <a:gd name="T61" fmla="*/ 11960 h 73"/>
                <a:gd name="T62" fmla="*/ 35397 w 74"/>
                <a:gd name="T63" fmla="*/ 8155 h 73"/>
                <a:gd name="T64" fmla="*/ 33252 w 74"/>
                <a:gd name="T65" fmla="*/ 5437 h 73"/>
                <a:gd name="T66" fmla="*/ 31107 w 74"/>
                <a:gd name="T67" fmla="*/ 3262 h 73"/>
                <a:gd name="T68" fmla="*/ 27353 w 74"/>
                <a:gd name="T69" fmla="*/ 1087 h 73"/>
                <a:gd name="T70" fmla="*/ 23598 w 74"/>
                <a:gd name="T71" fmla="*/ 0 h 73"/>
                <a:gd name="T72" fmla="*/ 19844 w 74"/>
                <a:gd name="T73" fmla="*/ 0 h 73"/>
                <a:gd name="T74" fmla="*/ 19844 w 74"/>
                <a:gd name="T75" fmla="*/ 0 h 7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74" h="73">
                  <a:moveTo>
                    <a:pt x="37" y="0"/>
                  </a:moveTo>
                  <a:lnTo>
                    <a:pt x="37" y="0"/>
                  </a:lnTo>
                  <a:lnTo>
                    <a:pt x="29" y="0"/>
                  </a:lnTo>
                  <a:lnTo>
                    <a:pt x="22" y="2"/>
                  </a:lnTo>
                  <a:lnTo>
                    <a:pt x="15" y="6"/>
                  </a:lnTo>
                  <a:lnTo>
                    <a:pt x="11" y="10"/>
                  </a:lnTo>
                  <a:lnTo>
                    <a:pt x="7" y="15"/>
                  </a:lnTo>
                  <a:lnTo>
                    <a:pt x="2" y="22"/>
                  </a:lnTo>
                  <a:lnTo>
                    <a:pt x="1" y="29"/>
                  </a:lnTo>
                  <a:lnTo>
                    <a:pt x="0" y="36"/>
                  </a:lnTo>
                  <a:lnTo>
                    <a:pt x="1" y="45"/>
                  </a:lnTo>
                  <a:lnTo>
                    <a:pt x="2" y="50"/>
                  </a:lnTo>
                  <a:lnTo>
                    <a:pt x="7" y="57"/>
                  </a:lnTo>
                  <a:lnTo>
                    <a:pt x="11" y="63"/>
                  </a:lnTo>
                  <a:lnTo>
                    <a:pt x="15" y="67"/>
                  </a:lnTo>
                  <a:lnTo>
                    <a:pt x="22" y="70"/>
                  </a:lnTo>
                  <a:lnTo>
                    <a:pt x="29" y="72"/>
                  </a:lnTo>
                  <a:lnTo>
                    <a:pt x="37" y="73"/>
                  </a:lnTo>
                  <a:lnTo>
                    <a:pt x="44" y="72"/>
                  </a:lnTo>
                  <a:lnTo>
                    <a:pt x="51" y="70"/>
                  </a:lnTo>
                  <a:lnTo>
                    <a:pt x="58" y="67"/>
                  </a:lnTo>
                  <a:lnTo>
                    <a:pt x="62" y="63"/>
                  </a:lnTo>
                  <a:lnTo>
                    <a:pt x="66" y="57"/>
                  </a:lnTo>
                  <a:lnTo>
                    <a:pt x="71" y="50"/>
                  </a:lnTo>
                  <a:lnTo>
                    <a:pt x="72" y="45"/>
                  </a:lnTo>
                  <a:lnTo>
                    <a:pt x="74" y="36"/>
                  </a:lnTo>
                  <a:lnTo>
                    <a:pt x="72" y="29"/>
                  </a:lnTo>
                  <a:lnTo>
                    <a:pt x="71" y="22"/>
                  </a:lnTo>
                  <a:lnTo>
                    <a:pt x="66" y="15"/>
                  </a:lnTo>
                  <a:lnTo>
                    <a:pt x="62" y="10"/>
                  </a:lnTo>
                  <a:lnTo>
                    <a:pt x="58" y="6"/>
                  </a:lnTo>
                  <a:lnTo>
                    <a:pt x="51" y="2"/>
                  </a:lnTo>
                  <a:lnTo>
                    <a:pt x="44" y="0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115" name="Freeform 40"/>
            <p:cNvSpPr>
              <a:spLocks/>
            </p:cNvSpPr>
            <p:nvPr/>
          </p:nvSpPr>
          <p:spPr bwMode="auto">
            <a:xfrm>
              <a:off x="5570208" y="2733897"/>
              <a:ext cx="38100" cy="39687"/>
            </a:xfrm>
            <a:custGeom>
              <a:avLst/>
              <a:gdLst>
                <a:gd name="T0" fmla="*/ 18789 w 73"/>
                <a:gd name="T1" fmla="*/ 0 h 73"/>
                <a:gd name="T2" fmla="*/ 18789 w 73"/>
                <a:gd name="T3" fmla="*/ 0 h 73"/>
                <a:gd name="T4" fmla="*/ 15136 w 73"/>
                <a:gd name="T5" fmla="*/ 0 h 73"/>
                <a:gd name="T6" fmla="*/ 10960 w 73"/>
                <a:gd name="T7" fmla="*/ 1087 h 73"/>
                <a:gd name="T8" fmla="*/ 7307 w 73"/>
                <a:gd name="T9" fmla="*/ 3262 h 73"/>
                <a:gd name="T10" fmla="*/ 5219 w 73"/>
                <a:gd name="T11" fmla="*/ 5437 h 73"/>
                <a:gd name="T12" fmla="*/ 3132 w 73"/>
                <a:gd name="T13" fmla="*/ 8155 h 73"/>
                <a:gd name="T14" fmla="*/ 1044 w 73"/>
                <a:gd name="T15" fmla="*/ 11960 h 73"/>
                <a:gd name="T16" fmla="*/ 0 w 73"/>
                <a:gd name="T17" fmla="*/ 15766 h 73"/>
                <a:gd name="T18" fmla="*/ 0 w 73"/>
                <a:gd name="T19" fmla="*/ 19572 h 73"/>
                <a:gd name="T20" fmla="*/ 0 w 73"/>
                <a:gd name="T21" fmla="*/ 19572 h 73"/>
                <a:gd name="T22" fmla="*/ 0 w 73"/>
                <a:gd name="T23" fmla="*/ 24465 h 73"/>
                <a:gd name="T24" fmla="*/ 1044 w 73"/>
                <a:gd name="T25" fmla="*/ 27183 h 73"/>
                <a:gd name="T26" fmla="*/ 3132 w 73"/>
                <a:gd name="T27" fmla="*/ 30988 h 73"/>
                <a:gd name="T28" fmla="*/ 5219 w 73"/>
                <a:gd name="T29" fmla="*/ 34250 h 73"/>
                <a:gd name="T30" fmla="*/ 7307 w 73"/>
                <a:gd name="T31" fmla="*/ 36425 h 73"/>
                <a:gd name="T32" fmla="*/ 10960 w 73"/>
                <a:gd name="T33" fmla="*/ 38056 h 73"/>
                <a:gd name="T34" fmla="*/ 15136 w 73"/>
                <a:gd name="T35" fmla="*/ 39143 h 73"/>
                <a:gd name="T36" fmla="*/ 18789 w 73"/>
                <a:gd name="T37" fmla="*/ 39687 h 73"/>
                <a:gd name="T38" fmla="*/ 18789 w 73"/>
                <a:gd name="T39" fmla="*/ 39687 h 73"/>
                <a:gd name="T40" fmla="*/ 22442 w 73"/>
                <a:gd name="T41" fmla="*/ 39143 h 73"/>
                <a:gd name="T42" fmla="*/ 26096 w 73"/>
                <a:gd name="T43" fmla="*/ 38056 h 73"/>
                <a:gd name="T44" fmla="*/ 29749 w 73"/>
                <a:gd name="T45" fmla="*/ 36425 h 73"/>
                <a:gd name="T46" fmla="*/ 31837 w 73"/>
                <a:gd name="T47" fmla="*/ 34250 h 73"/>
                <a:gd name="T48" fmla="*/ 34447 w 73"/>
                <a:gd name="T49" fmla="*/ 30988 h 73"/>
                <a:gd name="T50" fmla="*/ 36534 w 73"/>
                <a:gd name="T51" fmla="*/ 27183 h 73"/>
                <a:gd name="T52" fmla="*/ 37056 w 73"/>
                <a:gd name="T53" fmla="*/ 24465 h 73"/>
                <a:gd name="T54" fmla="*/ 38100 w 73"/>
                <a:gd name="T55" fmla="*/ 19572 h 73"/>
                <a:gd name="T56" fmla="*/ 38100 w 73"/>
                <a:gd name="T57" fmla="*/ 19572 h 73"/>
                <a:gd name="T58" fmla="*/ 37056 w 73"/>
                <a:gd name="T59" fmla="*/ 15766 h 73"/>
                <a:gd name="T60" fmla="*/ 36534 w 73"/>
                <a:gd name="T61" fmla="*/ 11960 h 73"/>
                <a:gd name="T62" fmla="*/ 34447 w 73"/>
                <a:gd name="T63" fmla="*/ 8155 h 73"/>
                <a:gd name="T64" fmla="*/ 31837 w 73"/>
                <a:gd name="T65" fmla="*/ 5437 h 73"/>
                <a:gd name="T66" fmla="*/ 29749 w 73"/>
                <a:gd name="T67" fmla="*/ 3262 h 73"/>
                <a:gd name="T68" fmla="*/ 26096 w 73"/>
                <a:gd name="T69" fmla="*/ 1087 h 73"/>
                <a:gd name="T70" fmla="*/ 22442 w 73"/>
                <a:gd name="T71" fmla="*/ 0 h 73"/>
                <a:gd name="T72" fmla="*/ 18789 w 73"/>
                <a:gd name="T73" fmla="*/ 0 h 73"/>
                <a:gd name="T74" fmla="*/ 18789 w 73"/>
                <a:gd name="T75" fmla="*/ 0 h 7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73" h="73">
                  <a:moveTo>
                    <a:pt x="36" y="0"/>
                  </a:moveTo>
                  <a:lnTo>
                    <a:pt x="36" y="0"/>
                  </a:lnTo>
                  <a:lnTo>
                    <a:pt x="29" y="0"/>
                  </a:lnTo>
                  <a:lnTo>
                    <a:pt x="21" y="2"/>
                  </a:lnTo>
                  <a:lnTo>
                    <a:pt x="14" y="6"/>
                  </a:lnTo>
                  <a:lnTo>
                    <a:pt x="10" y="10"/>
                  </a:lnTo>
                  <a:lnTo>
                    <a:pt x="6" y="15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5"/>
                  </a:lnTo>
                  <a:lnTo>
                    <a:pt x="2" y="50"/>
                  </a:lnTo>
                  <a:lnTo>
                    <a:pt x="6" y="57"/>
                  </a:lnTo>
                  <a:lnTo>
                    <a:pt x="10" y="63"/>
                  </a:lnTo>
                  <a:lnTo>
                    <a:pt x="14" y="67"/>
                  </a:lnTo>
                  <a:lnTo>
                    <a:pt x="21" y="70"/>
                  </a:lnTo>
                  <a:lnTo>
                    <a:pt x="29" y="72"/>
                  </a:lnTo>
                  <a:lnTo>
                    <a:pt x="36" y="73"/>
                  </a:lnTo>
                  <a:lnTo>
                    <a:pt x="43" y="72"/>
                  </a:lnTo>
                  <a:lnTo>
                    <a:pt x="50" y="70"/>
                  </a:lnTo>
                  <a:lnTo>
                    <a:pt x="57" y="67"/>
                  </a:lnTo>
                  <a:lnTo>
                    <a:pt x="61" y="63"/>
                  </a:lnTo>
                  <a:lnTo>
                    <a:pt x="66" y="57"/>
                  </a:lnTo>
                  <a:lnTo>
                    <a:pt x="70" y="50"/>
                  </a:lnTo>
                  <a:lnTo>
                    <a:pt x="71" y="45"/>
                  </a:lnTo>
                  <a:lnTo>
                    <a:pt x="73" y="36"/>
                  </a:lnTo>
                  <a:lnTo>
                    <a:pt x="71" y="29"/>
                  </a:lnTo>
                  <a:lnTo>
                    <a:pt x="70" y="22"/>
                  </a:lnTo>
                  <a:lnTo>
                    <a:pt x="66" y="15"/>
                  </a:lnTo>
                  <a:lnTo>
                    <a:pt x="61" y="10"/>
                  </a:lnTo>
                  <a:lnTo>
                    <a:pt x="57" y="6"/>
                  </a:lnTo>
                  <a:lnTo>
                    <a:pt x="50" y="2"/>
                  </a:lnTo>
                  <a:lnTo>
                    <a:pt x="43" y="0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116" name="Freeform 41"/>
            <p:cNvSpPr>
              <a:spLocks/>
            </p:cNvSpPr>
            <p:nvPr/>
          </p:nvSpPr>
          <p:spPr bwMode="auto">
            <a:xfrm>
              <a:off x="5654345" y="2691035"/>
              <a:ext cx="39688" cy="39687"/>
            </a:xfrm>
            <a:custGeom>
              <a:avLst/>
              <a:gdLst>
                <a:gd name="T0" fmla="*/ 19844 w 74"/>
                <a:gd name="T1" fmla="*/ 0 h 73"/>
                <a:gd name="T2" fmla="*/ 19844 w 74"/>
                <a:gd name="T3" fmla="*/ 0 h 73"/>
                <a:gd name="T4" fmla="*/ 15553 w 74"/>
                <a:gd name="T5" fmla="*/ 1087 h 73"/>
                <a:gd name="T6" fmla="*/ 11799 w 74"/>
                <a:gd name="T7" fmla="*/ 1631 h 73"/>
                <a:gd name="T8" fmla="*/ 8045 w 74"/>
                <a:gd name="T9" fmla="*/ 3262 h 73"/>
                <a:gd name="T10" fmla="*/ 5900 w 74"/>
                <a:gd name="T11" fmla="*/ 5437 h 73"/>
                <a:gd name="T12" fmla="*/ 3754 w 74"/>
                <a:gd name="T13" fmla="*/ 8699 h 73"/>
                <a:gd name="T14" fmla="*/ 1073 w 74"/>
                <a:gd name="T15" fmla="*/ 11960 h 73"/>
                <a:gd name="T16" fmla="*/ 536 w 74"/>
                <a:gd name="T17" fmla="*/ 15766 h 73"/>
                <a:gd name="T18" fmla="*/ 0 w 74"/>
                <a:gd name="T19" fmla="*/ 20115 h 73"/>
                <a:gd name="T20" fmla="*/ 0 w 74"/>
                <a:gd name="T21" fmla="*/ 20115 h 73"/>
                <a:gd name="T22" fmla="*/ 536 w 74"/>
                <a:gd name="T23" fmla="*/ 23921 h 73"/>
                <a:gd name="T24" fmla="*/ 1073 w 74"/>
                <a:gd name="T25" fmla="*/ 28270 h 73"/>
                <a:gd name="T26" fmla="*/ 3754 w 74"/>
                <a:gd name="T27" fmla="*/ 30988 h 73"/>
                <a:gd name="T28" fmla="*/ 5900 w 74"/>
                <a:gd name="T29" fmla="*/ 34250 h 73"/>
                <a:gd name="T30" fmla="*/ 8045 w 74"/>
                <a:gd name="T31" fmla="*/ 36425 h 73"/>
                <a:gd name="T32" fmla="*/ 11799 w 74"/>
                <a:gd name="T33" fmla="*/ 38056 h 73"/>
                <a:gd name="T34" fmla="*/ 15553 w 74"/>
                <a:gd name="T35" fmla="*/ 39687 h 73"/>
                <a:gd name="T36" fmla="*/ 19844 w 74"/>
                <a:gd name="T37" fmla="*/ 39687 h 73"/>
                <a:gd name="T38" fmla="*/ 19844 w 74"/>
                <a:gd name="T39" fmla="*/ 39687 h 73"/>
                <a:gd name="T40" fmla="*/ 23598 w 74"/>
                <a:gd name="T41" fmla="*/ 39687 h 73"/>
                <a:gd name="T42" fmla="*/ 27353 w 74"/>
                <a:gd name="T43" fmla="*/ 38056 h 73"/>
                <a:gd name="T44" fmla="*/ 31107 w 74"/>
                <a:gd name="T45" fmla="*/ 36425 h 73"/>
                <a:gd name="T46" fmla="*/ 33252 w 74"/>
                <a:gd name="T47" fmla="*/ 34250 h 73"/>
                <a:gd name="T48" fmla="*/ 35397 w 74"/>
                <a:gd name="T49" fmla="*/ 30988 h 73"/>
                <a:gd name="T50" fmla="*/ 38079 w 74"/>
                <a:gd name="T51" fmla="*/ 28270 h 73"/>
                <a:gd name="T52" fmla="*/ 38615 w 74"/>
                <a:gd name="T53" fmla="*/ 23921 h 73"/>
                <a:gd name="T54" fmla="*/ 39688 w 74"/>
                <a:gd name="T55" fmla="*/ 20115 h 73"/>
                <a:gd name="T56" fmla="*/ 39688 w 74"/>
                <a:gd name="T57" fmla="*/ 20115 h 73"/>
                <a:gd name="T58" fmla="*/ 38615 w 74"/>
                <a:gd name="T59" fmla="*/ 15766 h 73"/>
                <a:gd name="T60" fmla="*/ 38079 w 74"/>
                <a:gd name="T61" fmla="*/ 11960 h 73"/>
                <a:gd name="T62" fmla="*/ 35397 w 74"/>
                <a:gd name="T63" fmla="*/ 8699 h 73"/>
                <a:gd name="T64" fmla="*/ 33252 w 74"/>
                <a:gd name="T65" fmla="*/ 5437 h 73"/>
                <a:gd name="T66" fmla="*/ 31107 w 74"/>
                <a:gd name="T67" fmla="*/ 3262 h 73"/>
                <a:gd name="T68" fmla="*/ 27353 w 74"/>
                <a:gd name="T69" fmla="*/ 1631 h 73"/>
                <a:gd name="T70" fmla="*/ 23598 w 74"/>
                <a:gd name="T71" fmla="*/ 1087 h 73"/>
                <a:gd name="T72" fmla="*/ 19844 w 74"/>
                <a:gd name="T73" fmla="*/ 0 h 73"/>
                <a:gd name="T74" fmla="*/ 19844 w 74"/>
                <a:gd name="T75" fmla="*/ 0 h 7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74" h="73">
                  <a:moveTo>
                    <a:pt x="37" y="0"/>
                  </a:moveTo>
                  <a:lnTo>
                    <a:pt x="37" y="0"/>
                  </a:lnTo>
                  <a:lnTo>
                    <a:pt x="29" y="2"/>
                  </a:lnTo>
                  <a:lnTo>
                    <a:pt x="22" y="3"/>
                  </a:lnTo>
                  <a:lnTo>
                    <a:pt x="15" y="6"/>
                  </a:lnTo>
                  <a:lnTo>
                    <a:pt x="11" y="10"/>
                  </a:lnTo>
                  <a:lnTo>
                    <a:pt x="7" y="16"/>
                  </a:lnTo>
                  <a:lnTo>
                    <a:pt x="2" y="22"/>
                  </a:lnTo>
                  <a:lnTo>
                    <a:pt x="1" y="29"/>
                  </a:lnTo>
                  <a:lnTo>
                    <a:pt x="0" y="37"/>
                  </a:lnTo>
                  <a:lnTo>
                    <a:pt x="1" y="44"/>
                  </a:lnTo>
                  <a:lnTo>
                    <a:pt x="2" y="52"/>
                  </a:lnTo>
                  <a:lnTo>
                    <a:pt x="7" y="57"/>
                  </a:lnTo>
                  <a:lnTo>
                    <a:pt x="11" y="63"/>
                  </a:lnTo>
                  <a:lnTo>
                    <a:pt x="15" y="67"/>
                  </a:lnTo>
                  <a:lnTo>
                    <a:pt x="22" y="70"/>
                  </a:lnTo>
                  <a:lnTo>
                    <a:pt x="29" y="73"/>
                  </a:lnTo>
                  <a:lnTo>
                    <a:pt x="37" y="73"/>
                  </a:lnTo>
                  <a:lnTo>
                    <a:pt x="44" y="73"/>
                  </a:lnTo>
                  <a:lnTo>
                    <a:pt x="51" y="70"/>
                  </a:lnTo>
                  <a:lnTo>
                    <a:pt x="58" y="67"/>
                  </a:lnTo>
                  <a:lnTo>
                    <a:pt x="62" y="63"/>
                  </a:lnTo>
                  <a:lnTo>
                    <a:pt x="66" y="57"/>
                  </a:lnTo>
                  <a:lnTo>
                    <a:pt x="71" y="52"/>
                  </a:lnTo>
                  <a:lnTo>
                    <a:pt x="72" y="44"/>
                  </a:lnTo>
                  <a:lnTo>
                    <a:pt x="74" y="37"/>
                  </a:lnTo>
                  <a:lnTo>
                    <a:pt x="72" y="29"/>
                  </a:lnTo>
                  <a:lnTo>
                    <a:pt x="71" y="22"/>
                  </a:lnTo>
                  <a:lnTo>
                    <a:pt x="66" y="16"/>
                  </a:lnTo>
                  <a:lnTo>
                    <a:pt x="62" y="10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4" y="2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117" name="Freeform 42"/>
            <p:cNvSpPr>
              <a:spLocks/>
            </p:cNvSpPr>
            <p:nvPr/>
          </p:nvSpPr>
          <p:spPr bwMode="auto">
            <a:xfrm>
              <a:off x="5527345" y="2691035"/>
              <a:ext cx="38100" cy="39687"/>
            </a:xfrm>
            <a:custGeom>
              <a:avLst/>
              <a:gdLst>
                <a:gd name="T0" fmla="*/ 19311 w 73"/>
                <a:gd name="T1" fmla="*/ 0 h 73"/>
                <a:gd name="T2" fmla="*/ 19311 w 73"/>
                <a:gd name="T3" fmla="*/ 0 h 73"/>
                <a:gd name="T4" fmla="*/ 14614 w 73"/>
                <a:gd name="T5" fmla="*/ 1087 h 73"/>
                <a:gd name="T6" fmla="*/ 10960 w 73"/>
                <a:gd name="T7" fmla="*/ 1631 h 73"/>
                <a:gd name="T8" fmla="*/ 8351 w 73"/>
                <a:gd name="T9" fmla="*/ 3262 h 73"/>
                <a:gd name="T10" fmla="*/ 5219 w 73"/>
                <a:gd name="T11" fmla="*/ 5437 h 73"/>
                <a:gd name="T12" fmla="*/ 3132 w 73"/>
                <a:gd name="T13" fmla="*/ 8699 h 73"/>
                <a:gd name="T14" fmla="*/ 1566 w 73"/>
                <a:gd name="T15" fmla="*/ 11960 h 73"/>
                <a:gd name="T16" fmla="*/ 0 w 73"/>
                <a:gd name="T17" fmla="*/ 15766 h 73"/>
                <a:gd name="T18" fmla="*/ 0 w 73"/>
                <a:gd name="T19" fmla="*/ 20115 h 73"/>
                <a:gd name="T20" fmla="*/ 0 w 73"/>
                <a:gd name="T21" fmla="*/ 20115 h 73"/>
                <a:gd name="T22" fmla="*/ 0 w 73"/>
                <a:gd name="T23" fmla="*/ 23921 h 73"/>
                <a:gd name="T24" fmla="*/ 1566 w 73"/>
                <a:gd name="T25" fmla="*/ 28270 h 73"/>
                <a:gd name="T26" fmla="*/ 3132 w 73"/>
                <a:gd name="T27" fmla="*/ 30988 h 73"/>
                <a:gd name="T28" fmla="*/ 5219 w 73"/>
                <a:gd name="T29" fmla="*/ 34250 h 73"/>
                <a:gd name="T30" fmla="*/ 8351 w 73"/>
                <a:gd name="T31" fmla="*/ 36425 h 73"/>
                <a:gd name="T32" fmla="*/ 10960 w 73"/>
                <a:gd name="T33" fmla="*/ 38056 h 73"/>
                <a:gd name="T34" fmla="*/ 14614 w 73"/>
                <a:gd name="T35" fmla="*/ 39687 h 73"/>
                <a:gd name="T36" fmla="*/ 19311 w 73"/>
                <a:gd name="T37" fmla="*/ 39687 h 73"/>
                <a:gd name="T38" fmla="*/ 19311 w 73"/>
                <a:gd name="T39" fmla="*/ 39687 h 73"/>
                <a:gd name="T40" fmla="*/ 22964 w 73"/>
                <a:gd name="T41" fmla="*/ 39687 h 73"/>
                <a:gd name="T42" fmla="*/ 26618 w 73"/>
                <a:gd name="T43" fmla="*/ 38056 h 73"/>
                <a:gd name="T44" fmla="*/ 29749 w 73"/>
                <a:gd name="T45" fmla="*/ 36425 h 73"/>
                <a:gd name="T46" fmla="*/ 32881 w 73"/>
                <a:gd name="T47" fmla="*/ 34250 h 73"/>
                <a:gd name="T48" fmla="*/ 34968 w 73"/>
                <a:gd name="T49" fmla="*/ 30988 h 73"/>
                <a:gd name="T50" fmla="*/ 36534 w 73"/>
                <a:gd name="T51" fmla="*/ 28270 h 73"/>
                <a:gd name="T52" fmla="*/ 38100 w 73"/>
                <a:gd name="T53" fmla="*/ 23921 h 73"/>
                <a:gd name="T54" fmla="*/ 38100 w 73"/>
                <a:gd name="T55" fmla="*/ 20115 h 73"/>
                <a:gd name="T56" fmla="*/ 38100 w 73"/>
                <a:gd name="T57" fmla="*/ 20115 h 73"/>
                <a:gd name="T58" fmla="*/ 38100 w 73"/>
                <a:gd name="T59" fmla="*/ 15766 h 73"/>
                <a:gd name="T60" fmla="*/ 36534 w 73"/>
                <a:gd name="T61" fmla="*/ 11960 h 73"/>
                <a:gd name="T62" fmla="*/ 34968 w 73"/>
                <a:gd name="T63" fmla="*/ 8699 h 73"/>
                <a:gd name="T64" fmla="*/ 32881 w 73"/>
                <a:gd name="T65" fmla="*/ 5437 h 73"/>
                <a:gd name="T66" fmla="*/ 29749 w 73"/>
                <a:gd name="T67" fmla="*/ 3262 h 73"/>
                <a:gd name="T68" fmla="*/ 26618 w 73"/>
                <a:gd name="T69" fmla="*/ 1631 h 73"/>
                <a:gd name="T70" fmla="*/ 22964 w 73"/>
                <a:gd name="T71" fmla="*/ 1087 h 73"/>
                <a:gd name="T72" fmla="*/ 19311 w 73"/>
                <a:gd name="T73" fmla="*/ 0 h 73"/>
                <a:gd name="T74" fmla="*/ 19311 w 73"/>
                <a:gd name="T75" fmla="*/ 0 h 7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73" h="73">
                  <a:moveTo>
                    <a:pt x="37" y="0"/>
                  </a:moveTo>
                  <a:lnTo>
                    <a:pt x="37" y="0"/>
                  </a:lnTo>
                  <a:lnTo>
                    <a:pt x="28" y="2"/>
                  </a:lnTo>
                  <a:lnTo>
                    <a:pt x="21" y="3"/>
                  </a:lnTo>
                  <a:lnTo>
                    <a:pt x="16" y="6"/>
                  </a:lnTo>
                  <a:lnTo>
                    <a:pt x="10" y="10"/>
                  </a:lnTo>
                  <a:lnTo>
                    <a:pt x="6" y="16"/>
                  </a:lnTo>
                  <a:lnTo>
                    <a:pt x="3" y="22"/>
                  </a:lnTo>
                  <a:lnTo>
                    <a:pt x="0" y="29"/>
                  </a:lnTo>
                  <a:lnTo>
                    <a:pt x="0" y="37"/>
                  </a:lnTo>
                  <a:lnTo>
                    <a:pt x="0" y="44"/>
                  </a:lnTo>
                  <a:lnTo>
                    <a:pt x="3" y="52"/>
                  </a:lnTo>
                  <a:lnTo>
                    <a:pt x="6" y="57"/>
                  </a:lnTo>
                  <a:lnTo>
                    <a:pt x="10" y="63"/>
                  </a:lnTo>
                  <a:lnTo>
                    <a:pt x="16" y="67"/>
                  </a:lnTo>
                  <a:lnTo>
                    <a:pt x="21" y="70"/>
                  </a:lnTo>
                  <a:lnTo>
                    <a:pt x="28" y="73"/>
                  </a:lnTo>
                  <a:lnTo>
                    <a:pt x="37" y="73"/>
                  </a:lnTo>
                  <a:lnTo>
                    <a:pt x="44" y="73"/>
                  </a:lnTo>
                  <a:lnTo>
                    <a:pt x="51" y="70"/>
                  </a:lnTo>
                  <a:lnTo>
                    <a:pt x="57" y="67"/>
                  </a:lnTo>
                  <a:lnTo>
                    <a:pt x="63" y="63"/>
                  </a:lnTo>
                  <a:lnTo>
                    <a:pt x="67" y="57"/>
                  </a:lnTo>
                  <a:lnTo>
                    <a:pt x="70" y="52"/>
                  </a:lnTo>
                  <a:lnTo>
                    <a:pt x="73" y="44"/>
                  </a:lnTo>
                  <a:lnTo>
                    <a:pt x="73" y="37"/>
                  </a:lnTo>
                  <a:lnTo>
                    <a:pt x="73" y="29"/>
                  </a:lnTo>
                  <a:lnTo>
                    <a:pt x="70" y="22"/>
                  </a:lnTo>
                  <a:lnTo>
                    <a:pt x="67" y="16"/>
                  </a:lnTo>
                  <a:lnTo>
                    <a:pt x="63" y="10"/>
                  </a:lnTo>
                  <a:lnTo>
                    <a:pt x="57" y="6"/>
                  </a:lnTo>
                  <a:lnTo>
                    <a:pt x="51" y="3"/>
                  </a:lnTo>
                  <a:lnTo>
                    <a:pt x="44" y="2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118" name="Freeform 43"/>
            <p:cNvSpPr>
              <a:spLocks/>
            </p:cNvSpPr>
            <p:nvPr/>
          </p:nvSpPr>
          <p:spPr bwMode="auto">
            <a:xfrm>
              <a:off x="5570208" y="2103660"/>
              <a:ext cx="123825" cy="38100"/>
            </a:xfrm>
            <a:custGeom>
              <a:avLst/>
              <a:gdLst>
                <a:gd name="T0" fmla="*/ 19050 w 234"/>
                <a:gd name="T1" fmla="*/ 38100 h 72"/>
                <a:gd name="T2" fmla="*/ 104246 w 234"/>
                <a:gd name="T3" fmla="*/ 38100 h 72"/>
                <a:gd name="T4" fmla="*/ 104246 w 234"/>
                <a:gd name="T5" fmla="*/ 38100 h 72"/>
                <a:gd name="T6" fmla="*/ 107950 w 234"/>
                <a:gd name="T7" fmla="*/ 37571 h 72"/>
                <a:gd name="T8" fmla="*/ 111654 w 234"/>
                <a:gd name="T9" fmla="*/ 36513 h 72"/>
                <a:gd name="T10" fmla="*/ 115358 w 234"/>
                <a:gd name="T11" fmla="*/ 35454 h 72"/>
                <a:gd name="T12" fmla="*/ 117475 w 234"/>
                <a:gd name="T13" fmla="*/ 32808 h 72"/>
                <a:gd name="T14" fmla="*/ 119592 w 234"/>
                <a:gd name="T15" fmla="*/ 30162 h 72"/>
                <a:gd name="T16" fmla="*/ 122237 w 234"/>
                <a:gd name="T17" fmla="*/ 26458 h 72"/>
                <a:gd name="T18" fmla="*/ 122767 w 234"/>
                <a:gd name="T19" fmla="*/ 23283 h 72"/>
                <a:gd name="T20" fmla="*/ 123825 w 234"/>
                <a:gd name="T21" fmla="*/ 18521 h 72"/>
                <a:gd name="T22" fmla="*/ 123825 w 234"/>
                <a:gd name="T23" fmla="*/ 18521 h 72"/>
                <a:gd name="T24" fmla="*/ 122767 w 234"/>
                <a:gd name="T25" fmla="*/ 14817 h 72"/>
                <a:gd name="T26" fmla="*/ 122237 w 234"/>
                <a:gd name="T27" fmla="*/ 11113 h 72"/>
                <a:gd name="T28" fmla="*/ 119592 w 234"/>
                <a:gd name="T29" fmla="*/ 7408 h 72"/>
                <a:gd name="T30" fmla="*/ 117475 w 234"/>
                <a:gd name="T31" fmla="*/ 5292 h 72"/>
                <a:gd name="T32" fmla="*/ 115358 w 234"/>
                <a:gd name="T33" fmla="*/ 2646 h 72"/>
                <a:gd name="T34" fmla="*/ 111654 w 234"/>
                <a:gd name="T35" fmla="*/ 529 h 72"/>
                <a:gd name="T36" fmla="*/ 107950 w 234"/>
                <a:gd name="T37" fmla="*/ 0 h 72"/>
                <a:gd name="T38" fmla="*/ 104246 w 234"/>
                <a:gd name="T39" fmla="*/ 0 h 72"/>
                <a:gd name="T40" fmla="*/ 19050 w 234"/>
                <a:gd name="T41" fmla="*/ 0 h 72"/>
                <a:gd name="T42" fmla="*/ 19050 w 234"/>
                <a:gd name="T43" fmla="*/ 0 h 72"/>
                <a:gd name="T44" fmla="*/ 15346 w 234"/>
                <a:gd name="T45" fmla="*/ 0 h 72"/>
                <a:gd name="T46" fmla="*/ 11113 w 234"/>
                <a:gd name="T47" fmla="*/ 529 h 72"/>
                <a:gd name="T48" fmla="*/ 7408 w 234"/>
                <a:gd name="T49" fmla="*/ 2646 h 72"/>
                <a:gd name="T50" fmla="*/ 5292 w 234"/>
                <a:gd name="T51" fmla="*/ 5292 h 72"/>
                <a:gd name="T52" fmla="*/ 3175 w 234"/>
                <a:gd name="T53" fmla="*/ 7408 h 72"/>
                <a:gd name="T54" fmla="*/ 1058 w 234"/>
                <a:gd name="T55" fmla="*/ 11113 h 72"/>
                <a:gd name="T56" fmla="*/ 0 w 234"/>
                <a:gd name="T57" fmla="*/ 14817 h 72"/>
                <a:gd name="T58" fmla="*/ 0 w 234"/>
                <a:gd name="T59" fmla="*/ 18521 h 72"/>
                <a:gd name="T60" fmla="*/ 0 w 234"/>
                <a:gd name="T61" fmla="*/ 18521 h 72"/>
                <a:gd name="T62" fmla="*/ 0 w 234"/>
                <a:gd name="T63" fmla="*/ 23283 h 72"/>
                <a:gd name="T64" fmla="*/ 1058 w 234"/>
                <a:gd name="T65" fmla="*/ 26458 h 72"/>
                <a:gd name="T66" fmla="*/ 3175 w 234"/>
                <a:gd name="T67" fmla="*/ 30162 h 72"/>
                <a:gd name="T68" fmla="*/ 5292 w 234"/>
                <a:gd name="T69" fmla="*/ 32808 h 72"/>
                <a:gd name="T70" fmla="*/ 7408 w 234"/>
                <a:gd name="T71" fmla="*/ 35454 h 72"/>
                <a:gd name="T72" fmla="*/ 11113 w 234"/>
                <a:gd name="T73" fmla="*/ 36513 h 72"/>
                <a:gd name="T74" fmla="*/ 15346 w 234"/>
                <a:gd name="T75" fmla="*/ 37571 h 72"/>
                <a:gd name="T76" fmla="*/ 19050 w 234"/>
                <a:gd name="T77" fmla="*/ 38100 h 72"/>
                <a:gd name="T78" fmla="*/ 19050 w 234"/>
                <a:gd name="T79" fmla="*/ 38100 h 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34" h="72">
                  <a:moveTo>
                    <a:pt x="36" y="72"/>
                  </a:moveTo>
                  <a:lnTo>
                    <a:pt x="197" y="72"/>
                  </a:lnTo>
                  <a:lnTo>
                    <a:pt x="204" y="71"/>
                  </a:lnTo>
                  <a:lnTo>
                    <a:pt x="211" y="69"/>
                  </a:lnTo>
                  <a:lnTo>
                    <a:pt x="218" y="67"/>
                  </a:lnTo>
                  <a:lnTo>
                    <a:pt x="222" y="62"/>
                  </a:lnTo>
                  <a:lnTo>
                    <a:pt x="226" y="57"/>
                  </a:lnTo>
                  <a:lnTo>
                    <a:pt x="231" y="50"/>
                  </a:lnTo>
                  <a:lnTo>
                    <a:pt x="232" y="44"/>
                  </a:lnTo>
                  <a:lnTo>
                    <a:pt x="234" y="35"/>
                  </a:lnTo>
                  <a:lnTo>
                    <a:pt x="232" y="28"/>
                  </a:lnTo>
                  <a:lnTo>
                    <a:pt x="231" y="21"/>
                  </a:lnTo>
                  <a:lnTo>
                    <a:pt x="226" y="14"/>
                  </a:lnTo>
                  <a:lnTo>
                    <a:pt x="222" y="10"/>
                  </a:lnTo>
                  <a:lnTo>
                    <a:pt x="218" y="5"/>
                  </a:lnTo>
                  <a:lnTo>
                    <a:pt x="211" y="1"/>
                  </a:lnTo>
                  <a:lnTo>
                    <a:pt x="204" y="0"/>
                  </a:lnTo>
                  <a:lnTo>
                    <a:pt x="197" y="0"/>
                  </a:lnTo>
                  <a:lnTo>
                    <a:pt x="36" y="0"/>
                  </a:lnTo>
                  <a:lnTo>
                    <a:pt x="29" y="0"/>
                  </a:lnTo>
                  <a:lnTo>
                    <a:pt x="21" y="1"/>
                  </a:lnTo>
                  <a:lnTo>
                    <a:pt x="14" y="5"/>
                  </a:lnTo>
                  <a:lnTo>
                    <a:pt x="10" y="10"/>
                  </a:lnTo>
                  <a:lnTo>
                    <a:pt x="6" y="14"/>
                  </a:lnTo>
                  <a:lnTo>
                    <a:pt x="2" y="21"/>
                  </a:lnTo>
                  <a:lnTo>
                    <a:pt x="0" y="28"/>
                  </a:lnTo>
                  <a:lnTo>
                    <a:pt x="0" y="35"/>
                  </a:lnTo>
                  <a:lnTo>
                    <a:pt x="0" y="44"/>
                  </a:lnTo>
                  <a:lnTo>
                    <a:pt x="2" y="50"/>
                  </a:lnTo>
                  <a:lnTo>
                    <a:pt x="6" y="57"/>
                  </a:lnTo>
                  <a:lnTo>
                    <a:pt x="10" y="62"/>
                  </a:lnTo>
                  <a:lnTo>
                    <a:pt x="14" y="67"/>
                  </a:lnTo>
                  <a:lnTo>
                    <a:pt x="21" y="69"/>
                  </a:lnTo>
                  <a:lnTo>
                    <a:pt x="29" y="71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119" name="Freeform 44"/>
            <p:cNvSpPr>
              <a:spLocks/>
            </p:cNvSpPr>
            <p:nvPr/>
          </p:nvSpPr>
          <p:spPr bwMode="auto">
            <a:xfrm>
              <a:off x="5570208" y="2691035"/>
              <a:ext cx="38100" cy="39687"/>
            </a:xfrm>
            <a:custGeom>
              <a:avLst/>
              <a:gdLst>
                <a:gd name="T0" fmla="*/ 18789 w 73"/>
                <a:gd name="T1" fmla="*/ 0 h 73"/>
                <a:gd name="T2" fmla="*/ 18789 w 73"/>
                <a:gd name="T3" fmla="*/ 0 h 73"/>
                <a:gd name="T4" fmla="*/ 15136 w 73"/>
                <a:gd name="T5" fmla="*/ 1087 h 73"/>
                <a:gd name="T6" fmla="*/ 10960 w 73"/>
                <a:gd name="T7" fmla="*/ 1631 h 73"/>
                <a:gd name="T8" fmla="*/ 7307 w 73"/>
                <a:gd name="T9" fmla="*/ 3262 h 73"/>
                <a:gd name="T10" fmla="*/ 5219 w 73"/>
                <a:gd name="T11" fmla="*/ 5437 h 73"/>
                <a:gd name="T12" fmla="*/ 3132 w 73"/>
                <a:gd name="T13" fmla="*/ 8699 h 73"/>
                <a:gd name="T14" fmla="*/ 1044 w 73"/>
                <a:gd name="T15" fmla="*/ 11960 h 73"/>
                <a:gd name="T16" fmla="*/ 0 w 73"/>
                <a:gd name="T17" fmla="*/ 15766 h 73"/>
                <a:gd name="T18" fmla="*/ 0 w 73"/>
                <a:gd name="T19" fmla="*/ 20115 h 73"/>
                <a:gd name="T20" fmla="*/ 0 w 73"/>
                <a:gd name="T21" fmla="*/ 20115 h 73"/>
                <a:gd name="T22" fmla="*/ 0 w 73"/>
                <a:gd name="T23" fmla="*/ 23921 h 73"/>
                <a:gd name="T24" fmla="*/ 1044 w 73"/>
                <a:gd name="T25" fmla="*/ 28270 h 73"/>
                <a:gd name="T26" fmla="*/ 3132 w 73"/>
                <a:gd name="T27" fmla="*/ 30988 h 73"/>
                <a:gd name="T28" fmla="*/ 5219 w 73"/>
                <a:gd name="T29" fmla="*/ 34250 h 73"/>
                <a:gd name="T30" fmla="*/ 7307 w 73"/>
                <a:gd name="T31" fmla="*/ 36425 h 73"/>
                <a:gd name="T32" fmla="*/ 10960 w 73"/>
                <a:gd name="T33" fmla="*/ 38056 h 73"/>
                <a:gd name="T34" fmla="*/ 15136 w 73"/>
                <a:gd name="T35" fmla="*/ 39687 h 73"/>
                <a:gd name="T36" fmla="*/ 18789 w 73"/>
                <a:gd name="T37" fmla="*/ 39687 h 73"/>
                <a:gd name="T38" fmla="*/ 18789 w 73"/>
                <a:gd name="T39" fmla="*/ 39687 h 73"/>
                <a:gd name="T40" fmla="*/ 22442 w 73"/>
                <a:gd name="T41" fmla="*/ 39687 h 73"/>
                <a:gd name="T42" fmla="*/ 26096 w 73"/>
                <a:gd name="T43" fmla="*/ 38056 h 73"/>
                <a:gd name="T44" fmla="*/ 29749 w 73"/>
                <a:gd name="T45" fmla="*/ 36425 h 73"/>
                <a:gd name="T46" fmla="*/ 31837 w 73"/>
                <a:gd name="T47" fmla="*/ 34250 h 73"/>
                <a:gd name="T48" fmla="*/ 34447 w 73"/>
                <a:gd name="T49" fmla="*/ 30988 h 73"/>
                <a:gd name="T50" fmla="*/ 36534 w 73"/>
                <a:gd name="T51" fmla="*/ 28270 h 73"/>
                <a:gd name="T52" fmla="*/ 37056 w 73"/>
                <a:gd name="T53" fmla="*/ 23921 h 73"/>
                <a:gd name="T54" fmla="*/ 38100 w 73"/>
                <a:gd name="T55" fmla="*/ 20115 h 73"/>
                <a:gd name="T56" fmla="*/ 38100 w 73"/>
                <a:gd name="T57" fmla="*/ 20115 h 73"/>
                <a:gd name="T58" fmla="*/ 37056 w 73"/>
                <a:gd name="T59" fmla="*/ 15766 h 73"/>
                <a:gd name="T60" fmla="*/ 36534 w 73"/>
                <a:gd name="T61" fmla="*/ 11960 h 73"/>
                <a:gd name="T62" fmla="*/ 34447 w 73"/>
                <a:gd name="T63" fmla="*/ 8699 h 73"/>
                <a:gd name="T64" fmla="*/ 31837 w 73"/>
                <a:gd name="T65" fmla="*/ 5437 h 73"/>
                <a:gd name="T66" fmla="*/ 29749 w 73"/>
                <a:gd name="T67" fmla="*/ 3262 h 73"/>
                <a:gd name="T68" fmla="*/ 26096 w 73"/>
                <a:gd name="T69" fmla="*/ 1631 h 73"/>
                <a:gd name="T70" fmla="*/ 22442 w 73"/>
                <a:gd name="T71" fmla="*/ 1087 h 73"/>
                <a:gd name="T72" fmla="*/ 18789 w 73"/>
                <a:gd name="T73" fmla="*/ 0 h 73"/>
                <a:gd name="T74" fmla="*/ 18789 w 73"/>
                <a:gd name="T75" fmla="*/ 0 h 7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73" h="73">
                  <a:moveTo>
                    <a:pt x="36" y="0"/>
                  </a:moveTo>
                  <a:lnTo>
                    <a:pt x="36" y="0"/>
                  </a:lnTo>
                  <a:lnTo>
                    <a:pt x="29" y="2"/>
                  </a:lnTo>
                  <a:lnTo>
                    <a:pt x="21" y="3"/>
                  </a:lnTo>
                  <a:lnTo>
                    <a:pt x="14" y="6"/>
                  </a:lnTo>
                  <a:lnTo>
                    <a:pt x="10" y="10"/>
                  </a:lnTo>
                  <a:lnTo>
                    <a:pt x="6" y="16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7"/>
                  </a:lnTo>
                  <a:lnTo>
                    <a:pt x="0" y="44"/>
                  </a:lnTo>
                  <a:lnTo>
                    <a:pt x="2" y="52"/>
                  </a:lnTo>
                  <a:lnTo>
                    <a:pt x="6" y="57"/>
                  </a:lnTo>
                  <a:lnTo>
                    <a:pt x="10" y="63"/>
                  </a:lnTo>
                  <a:lnTo>
                    <a:pt x="14" y="67"/>
                  </a:lnTo>
                  <a:lnTo>
                    <a:pt x="21" y="70"/>
                  </a:lnTo>
                  <a:lnTo>
                    <a:pt x="29" y="73"/>
                  </a:lnTo>
                  <a:lnTo>
                    <a:pt x="36" y="73"/>
                  </a:lnTo>
                  <a:lnTo>
                    <a:pt x="43" y="73"/>
                  </a:lnTo>
                  <a:lnTo>
                    <a:pt x="50" y="70"/>
                  </a:lnTo>
                  <a:lnTo>
                    <a:pt x="57" y="67"/>
                  </a:lnTo>
                  <a:lnTo>
                    <a:pt x="61" y="63"/>
                  </a:lnTo>
                  <a:lnTo>
                    <a:pt x="66" y="57"/>
                  </a:lnTo>
                  <a:lnTo>
                    <a:pt x="70" y="52"/>
                  </a:lnTo>
                  <a:lnTo>
                    <a:pt x="71" y="44"/>
                  </a:lnTo>
                  <a:lnTo>
                    <a:pt x="73" y="37"/>
                  </a:lnTo>
                  <a:lnTo>
                    <a:pt x="71" y="29"/>
                  </a:lnTo>
                  <a:lnTo>
                    <a:pt x="70" y="22"/>
                  </a:lnTo>
                  <a:lnTo>
                    <a:pt x="66" y="16"/>
                  </a:lnTo>
                  <a:lnTo>
                    <a:pt x="61" y="10"/>
                  </a:lnTo>
                  <a:lnTo>
                    <a:pt x="57" y="6"/>
                  </a:lnTo>
                  <a:lnTo>
                    <a:pt x="50" y="3"/>
                  </a:lnTo>
                  <a:lnTo>
                    <a:pt x="43" y="2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120" name="Freeform 45"/>
            <p:cNvSpPr>
              <a:spLocks/>
            </p:cNvSpPr>
            <p:nvPr/>
          </p:nvSpPr>
          <p:spPr bwMode="auto">
            <a:xfrm>
              <a:off x="5427333" y="2224310"/>
              <a:ext cx="407988" cy="222250"/>
            </a:xfrm>
            <a:custGeom>
              <a:avLst/>
              <a:gdLst>
                <a:gd name="T0" fmla="*/ 193927 w 770"/>
                <a:gd name="T1" fmla="*/ 0 h 422"/>
                <a:gd name="T2" fmla="*/ 163725 w 770"/>
                <a:gd name="T3" fmla="*/ 4213 h 422"/>
                <a:gd name="T4" fmla="*/ 135113 w 770"/>
                <a:gd name="T5" fmla="*/ 12113 h 422"/>
                <a:gd name="T6" fmla="*/ 108090 w 770"/>
                <a:gd name="T7" fmla="*/ 24753 h 422"/>
                <a:gd name="T8" fmla="*/ 83187 w 770"/>
                <a:gd name="T9" fmla="*/ 40553 h 422"/>
                <a:gd name="T10" fmla="*/ 60403 w 770"/>
                <a:gd name="T11" fmla="*/ 60039 h 422"/>
                <a:gd name="T12" fmla="*/ 41329 w 770"/>
                <a:gd name="T13" fmla="*/ 82159 h 422"/>
                <a:gd name="T14" fmla="*/ 24903 w 770"/>
                <a:gd name="T15" fmla="*/ 106912 h 422"/>
                <a:gd name="T16" fmla="*/ 12717 w 770"/>
                <a:gd name="T17" fmla="*/ 133771 h 422"/>
                <a:gd name="T18" fmla="*/ 4769 w 770"/>
                <a:gd name="T19" fmla="*/ 162211 h 422"/>
                <a:gd name="T20" fmla="*/ 530 w 770"/>
                <a:gd name="T21" fmla="*/ 192230 h 422"/>
                <a:gd name="T22" fmla="*/ 530 w 770"/>
                <a:gd name="T23" fmla="*/ 206450 h 422"/>
                <a:gd name="T24" fmla="*/ 5299 w 770"/>
                <a:gd name="T25" fmla="*/ 215930 h 422"/>
                <a:gd name="T26" fmla="*/ 15366 w 770"/>
                <a:gd name="T27" fmla="*/ 221197 h 422"/>
                <a:gd name="T28" fmla="*/ 23314 w 770"/>
                <a:gd name="T29" fmla="*/ 221197 h 422"/>
                <a:gd name="T30" fmla="*/ 33381 w 770"/>
                <a:gd name="T31" fmla="*/ 215930 h 422"/>
                <a:gd name="T32" fmla="*/ 38679 w 770"/>
                <a:gd name="T33" fmla="*/ 206450 h 422"/>
                <a:gd name="T34" fmla="*/ 39209 w 770"/>
                <a:gd name="T35" fmla="*/ 185911 h 422"/>
                <a:gd name="T36" fmla="*/ 51926 w 770"/>
                <a:gd name="T37" fmla="*/ 139565 h 422"/>
                <a:gd name="T38" fmla="*/ 76829 w 770"/>
                <a:gd name="T39" fmla="*/ 98485 h 422"/>
                <a:gd name="T40" fmla="*/ 112329 w 770"/>
                <a:gd name="T41" fmla="*/ 66886 h 422"/>
                <a:gd name="T42" fmla="*/ 155247 w 770"/>
                <a:gd name="T43" fmla="*/ 45819 h 422"/>
                <a:gd name="T44" fmla="*/ 204524 w 770"/>
                <a:gd name="T45" fmla="*/ 38446 h 422"/>
                <a:gd name="T46" fmla="*/ 237375 w 770"/>
                <a:gd name="T47" fmla="*/ 41606 h 422"/>
                <a:gd name="T48" fmla="*/ 282942 w 770"/>
                <a:gd name="T49" fmla="*/ 57932 h 422"/>
                <a:gd name="T50" fmla="*/ 320562 w 770"/>
                <a:gd name="T51" fmla="*/ 86372 h 422"/>
                <a:gd name="T52" fmla="*/ 349174 w 770"/>
                <a:gd name="T53" fmla="*/ 124818 h 422"/>
                <a:gd name="T54" fmla="*/ 365600 w 770"/>
                <a:gd name="T55" fmla="*/ 169584 h 422"/>
                <a:gd name="T56" fmla="*/ 369838 w 770"/>
                <a:gd name="T57" fmla="*/ 202764 h 422"/>
                <a:gd name="T58" fmla="*/ 372488 w 770"/>
                <a:gd name="T59" fmla="*/ 213823 h 422"/>
                <a:gd name="T60" fmla="*/ 380965 w 770"/>
                <a:gd name="T61" fmla="*/ 220670 h 422"/>
                <a:gd name="T62" fmla="*/ 388383 w 770"/>
                <a:gd name="T63" fmla="*/ 222250 h 422"/>
                <a:gd name="T64" fmla="*/ 399510 w 770"/>
                <a:gd name="T65" fmla="*/ 218563 h 422"/>
                <a:gd name="T66" fmla="*/ 406398 w 770"/>
                <a:gd name="T67" fmla="*/ 210137 h 422"/>
                <a:gd name="T68" fmla="*/ 407988 w 770"/>
                <a:gd name="T69" fmla="*/ 202764 h 422"/>
                <a:gd name="T70" fmla="*/ 405869 w 770"/>
                <a:gd name="T71" fmla="*/ 171691 h 422"/>
                <a:gd name="T72" fmla="*/ 398980 w 770"/>
                <a:gd name="T73" fmla="*/ 142725 h 422"/>
                <a:gd name="T74" fmla="*/ 387854 w 770"/>
                <a:gd name="T75" fmla="*/ 114812 h 422"/>
                <a:gd name="T76" fmla="*/ 373547 w 770"/>
                <a:gd name="T77" fmla="*/ 89532 h 422"/>
                <a:gd name="T78" fmla="*/ 355003 w 770"/>
                <a:gd name="T79" fmla="*/ 66359 h 422"/>
                <a:gd name="T80" fmla="*/ 333279 w 770"/>
                <a:gd name="T81" fmla="*/ 45819 h 422"/>
                <a:gd name="T82" fmla="*/ 309965 w 770"/>
                <a:gd name="T83" fmla="*/ 29493 h 422"/>
                <a:gd name="T84" fmla="*/ 283472 w 770"/>
                <a:gd name="T85" fmla="*/ 15800 h 422"/>
                <a:gd name="T86" fmla="*/ 254860 w 770"/>
                <a:gd name="T87" fmla="*/ 6320 h 422"/>
                <a:gd name="T88" fmla="*/ 224658 w 770"/>
                <a:gd name="T89" fmla="*/ 1053 h 422"/>
                <a:gd name="T90" fmla="*/ 204524 w 770"/>
                <a:gd name="T91" fmla="*/ 0 h 42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770" h="422">
                  <a:moveTo>
                    <a:pt x="386" y="0"/>
                  </a:moveTo>
                  <a:lnTo>
                    <a:pt x="386" y="0"/>
                  </a:lnTo>
                  <a:lnTo>
                    <a:pt x="366" y="0"/>
                  </a:lnTo>
                  <a:lnTo>
                    <a:pt x="346" y="2"/>
                  </a:lnTo>
                  <a:lnTo>
                    <a:pt x="327" y="5"/>
                  </a:lnTo>
                  <a:lnTo>
                    <a:pt x="309" y="8"/>
                  </a:lnTo>
                  <a:lnTo>
                    <a:pt x="290" y="12"/>
                  </a:lnTo>
                  <a:lnTo>
                    <a:pt x="272" y="18"/>
                  </a:lnTo>
                  <a:lnTo>
                    <a:pt x="255" y="23"/>
                  </a:lnTo>
                  <a:lnTo>
                    <a:pt x="236" y="30"/>
                  </a:lnTo>
                  <a:lnTo>
                    <a:pt x="221" y="39"/>
                  </a:lnTo>
                  <a:lnTo>
                    <a:pt x="204" y="47"/>
                  </a:lnTo>
                  <a:lnTo>
                    <a:pt x="188" y="56"/>
                  </a:lnTo>
                  <a:lnTo>
                    <a:pt x="172" y="67"/>
                  </a:lnTo>
                  <a:lnTo>
                    <a:pt x="157" y="77"/>
                  </a:lnTo>
                  <a:lnTo>
                    <a:pt x="142" y="89"/>
                  </a:lnTo>
                  <a:lnTo>
                    <a:pt x="128" y="102"/>
                  </a:lnTo>
                  <a:lnTo>
                    <a:pt x="114" y="114"/>
                  </a:lnTo>
                  <a:lnTo>
                    <a:pt x="101" y="127"/>
                  </a:lnTo>
                  <a:lnTo>
                    <a:pt x="90" y="141"/>
                  </a:lnTo>
                  <a:lnTo>
                    <a:pt x="78" y="156"/>
                  </a:lnTo>
                  <a:lnTo>
                    <a:pt x="67" y="171"/>
                  </a:lnTo>
                  <a:lnTo>
                    <a:pt x="57" y="187"/>
                  </a:lnTo>
                  <a:lnTo>
                    <a:pt x="47" y="203"/>
                  </a:lnTo>
                  <a:lnTo>
                    <a:pt x="38" y="220"/>
                  </a:lnTo>
                  <a:lnTo>
                    <a:pt x="31" y="237"/>
                  </a:lnTo>
                  <a:lnTo>
                    <a:pt x="24" y="254"/>
                  </a:lnTo>
                  <a:lnTo>
                    <a:pt x="19" y="272"/>
                  </a:lnTo>
                  <a:lnTo>
                    <a:pt x="13" y="289"/>
                  </a:lnTo>
                  <a:lnTo>
                    <a:pt x="9" y="308"/>
                  </a:lnTo>
                  <a:lnTo>
                    <a:pt x="4" y="326"/>
                  </a:lnTo>
                  <a:lnTo>
                    <a:pt x="3" y="346"/>
                  </a:lnTo>
                  <a:lnTo>
                    <a:pt x="1" y="365"/>
                  </a:lnTo>
                  <a:lnTo>
                    <a:pt x="0" y="385"/>
                  </a:lnTo>
                  <a:lnTo>
                    <a:pt x="1" y="392"/>
                  </a:lnTo>
                  <a:lnTo>
                    <a:pt x="3" y="399"/>
                  </a:lnTo>
                  <a:lnTo>
                    <a:pt x="6" y="406"/>
                  </a:lnTo>
                  <a:lnTo>
                    <a:pt x="10" y="410"/>
                  </a:lnTo>
                  <a:lnTo>
                    <a:pt x="16" y="415"/>
                  </a:lnTo>
                  <a:lnTo>
                    <a:pt x="21" y="419"/>
                  </a:lnTo>
                  <a:lnTo>
                    <a:pt x="29" y="420"/>
                  </a:lnTo>
                  <a:lnTo>
                    <a:pt x="37" y="422"/>
                  </a:lnTo>
                  <a:lnTo>
                    <a:pt x="44" y="420"/>
                  </a:lnTo>
                  <a:lnTo>
                    <a:pt x="51" y="419"/>
                  </a:lnTo>
                  <a:lnTo>
                    <a:pt x="57" y="415"/>
                  </a:lnTo>
                  <a:lnTo>
                    <a:pt x="63" y="410"/>
                  </a:lnTo>
                  <a:lnTo>
                    <a:pt x="67" y="406"/>
                  </a:lnTo>
                  <a:lnTo>
                    <a:pt x="70" y="399"/>
                  </a:lnTo>
                  <a:lnTo>
                    <a:pt x="73" y="392"/>
                  </a:lnTo>
                  <a:lnTo>
                    <a:pt x="73" y="385"/>
                  </a:lnTo>
                  <a:lnTo>
                    <a:pt x="74" y="353"/>
                  </a:lnTo>
                  <a:lnTo>
                    <a:pt x="80" y="322"/>
                  </a:lnTo>
                  <a:lnTo>
                    <a:pt x="87" y="294"/>
                  </a:lnTo>
                  <a:lnTo>
                    <a:pt x="98" y="265"/>
                  </a:lnTo>
                  <a:lnTo>
                    <a:pt x="111" y="237"/>
                  </a:lnTo>
                  <a:lnTo>
                    <a:pt x="127" y="211"/>
                  </a:lnTo>
                  <a:lnTo>
                    <a:pt x="145" y="187"/>
                  </a:lnTo>
                  <a:lnTo>
                    <a:pt x="165" y="166"/>
                  </a:lnTo>
                  <a:lnTo>
                    <a:pt x="188" y="146"/>
                  </a:lnTo>
                  <a:lnTo>
                    <a:pt x="212" y="127"/>
                  </a:lnTo>
                  <a:lnTo>
                    <a:pt x="238" y="111"/>
                  </a:lnTo>
                  <a:lnTo>
                    <a:pt x="265" y="97"/>
                  </a:lnTo>
                  <a:lnTo>
                    <a:pt x="293" y="87"/>
                  </a:lnTo>
                  <a:lnTo>
                    <a:pt x="323" y="79"/>
                  </a:lnTo>
                  <a:lnTo>
                    <a:pt x="354" y="74"/>
                  </a:lnTo>
                  <a:lnTo>
                    <a:pt x="386" y="73"/>
                  </a:lnTo>
                  <a:lnTo>
                    <a:pt x="417" y="74"/>
                  </a:lnTo>
                  <a:lnTo>
                    <a:pt x="448" y="79"/>
                  </a:lnTo>
                  <a:lnTo>
                    <a:pt x="478" y="87"/>
                  </a:lnTo>
                  <a:lnTo>
                    <a:pt x="507" y="97"/>
                  </a:lnTo>
                  <a:lnTo>
                    <a:pt x="534" y="110"/>
                  </a:lnTo>
                  <a:lnTo>
                    <a:pt x="559" y="126"/>
                  </a:lnTo>
                  <a:lnTo>
                    <a:pt x="584" y="144"/>
                  </a:lnTo>
                  <a:lnTo>
                    <a:pt x="605" y="164"/>
                  </a:lnTo>
                  <a:lnTo>
                    <a:pt x="626" y="187"/>
                  </a:lnTo>
                  <a:lnTo>
                    <a:pt x="643" y="211"/>
                  </a:lnTo>
                  <a:lnTo>
                    <a:pt x="659" y="237"/>
                  </a:lnTo>
                  <a:lnTo>
                    <a:pt x="673" y="264"/>
                  </a:lnTo>
                  <a:lnTo>
                    <a:pt x="683" y="292"/>
                  </a:lnTo>
                  <a:lnTo>
                    <a:pt x="690" y="322"/>
                  </a:lnTo>
                  <a:lnTo>
                    <a:pt x="696" y="353"/>
                  </a:lnTo>
                  <a:lnTo>
                    <a:pt x="698" y="385"/>
                  </a:lnTo>
                  <a:lnTo>
                    <a:pt x="698" y="392"/>
                  </a:lnTo>
                  <a:lnTo>
                    <a:pt x="700" y="399"/>
                  </a:lnTo>
                  <a:lnTo>
                    <a:pt x="703" y="406"/>
                  </a:lnTo>
                  <a:lnTo>
                    <a:pt x="707" y="410"/>
                  </a:lnTo>
                  <a:lnTo>
                    <a:pt x="713" y="415"/>
                  </a:lnTo>
                  <a:lnTo>
                    <a:pt x="719" y="419"/>
                  </a:lnTo>
                  <a:lnTo>
                    <a:pt x="726" y="420"/>
                  </a:lnTo>
                  <a:lnTo>
                    <a:pt x="733" y="422"/>
                  </a:lnTo>
                  <a:lnTo>
                    <a:pt x="742" y="420"/>
                  </a:lnTo>
                  <a:lnTo>
                    <a:pt x="749" y="419"/>
                  </a:lnTo>
                  <a:lnTo>
                    <a:pt x="754" y="415"/>
                  </a:lnTo>
                  <a:lnTo>
                    <a:pt x="760" y="410"/>
                  </a:lnTo>
                  <a:lnTo>
                    <a:pt x="764" y="406"/>
                  </a:lnTo>
                  <a:lnTo>
                    <a:pt x="767" y="399"/>
                  </a:lnTo>
                  <a:lnTo>
                    <a:pt x="769" y="392"/>
                  </a:lnTo>
                  <a:lnTo>
                    <a:pt x="770" y="385"/>
                  </a:lnTo>
                  <a:lnTo>
                    <a:pt x="770" y="365"/>
                  </a:lnTo>
                  <a:lnTo>
                    <a:pt x="767" y="345"/>
                  </a:lnTo>
                  <a:lnTo>
                    <a:pt x="766" y="326"/>
                  </a:lnTo>
                  <a:lnTo>
                    <a:pt x="762" y="308"/>
                  </a:lnTo>
                  <a:lnTo>
                    <a:pt x="757" y="289"/>
                  </a:lnTo>
                  <a:lnTo>
                    <a:pt x="753" y="271"/>
                  </a:lnTo>
                  <a:lnTo>
                    <a:pt x="746" y="252"/>
                  </a:lnTo>
                  <a:lnTo>
                    <a:pt x="740" y="235"/>
                  </a:lnTo>
                  <a:lnTo>
                    <a:pt x="732" y="218"/>
                  </a:lnTo>
                  <a:lnTo>
                    <a:pt x="723" y="201"/>
                  </a:lnTo>
                  <a:lnTo>
                    <a:pt x="715" y="185"/>
                  </a:lnTo>
                  <a:lnTo>
                    <a:pt x="705" y="170"/>
                  </a:lnTo>
                  <a:lnTo>
                    <a:pt x="693" y="154"/>
                  </a:lnTo>
                  <a:lnTo>
                    <a:pt x="682" y="140"/>
                  </a:lnTo>
                  <a:lnTo>
                    <a:pt x="670" y="126"/>
                  </a:lnTo>
                  <a:lnTo>
                    <a:pt x="658" y="113"/>
                  </a:lnTo>
                  <a:lnTo>
                    <a:pt x="643" y="100"/>
                  </a:lnTo>
                  <a:lnTo>
                    <a:pt x="629" y="87"/>
                  </a:lnTo>
                  <a:lnTo>
                    <a:pt x="615" y="76"/>
                  </a:lnTo>
                  <a:lnTo>
                    <a:pt x="601" y="66"/>
                  </a:lnTo>
                  <a:lnTo>
                    <a:pt x="585" y="56"/>
                  </a:lnTo>
                  <a:lnTo>
                    <a:pt x="568" y="46"/>
                  </a:lnTo>
                  <a:lnTo>
                    <a:pt x="552" y="37"/>
                  </a:lnTo>
                  <a:lnTo>
                    <a:pt x="535" y="30"/>
                  </a:lnTo>
                  <a:lnTo>
                    <a:pt x="517" y="23"/>
                  </a:lnTo>
                  <a:lnTo>
                    <a:pt x="500" y="18"/>
                  </a:lnTo>
                  <a:lnTo>
                    <a:pt x="481" y="12"/>
                  </a:lnTo>
                  <a:lnTo>
                    <a:pt x="463" y="8"/>
                  </a:lnTo>
                  <a:lnTo>
                    <a:pt x="444" y="5"/>
                  </a:lnTo>
                  <a:lnTo>
                    <a:pt x="424" y="2"/>
                  </a:lnTo>
                  <a:lnTo>
                    <a:pt x="404" y="0"/>
                  </a:lnTo>
                  <a:lnTo>
                    <a:pt x="386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121" name="Freeform 46"/>
            <p:cNvSpPr>
              <a:spLocks noEditPoints="1"/>
            </p:cNvSpPr>
            <p:nvPr/>
          </p:nvSpPr>
          <p:spPr bwMode="auto">
            <a:xfrm>
              <a:off x="5373358" y="2167160"/>
              <a:ext cx="517525" cy="517525"/>
            </a:xfrm>
            <a:custGeom>
              <a:avLst/>
              <a:gdLst>
                <a:gd name="T0" fmla="*/ 225425 w 978"/>
                <a:gd name="T1" fmla="*/ 479464 h 979"/>
                <a:gd name="T2" fmla="*/ 172508 w 978"/>
                <a:gd name="T3" fmla="*/ 464134 h 979"/>
                <a:gd name="T4" fmla="*/ 125942 w 978"/>
                <a:gd name="T5" fmla="*/ 438231 h 979"/>
                <a:gd name="T6" fmla="*/ 87313 w 978"/>
                <a:gd name="T7" fmla="*/ 401227 h 979"/>
                <a:gd name="T8" fmla="*/ 58737 w 978"/>
                <a:gd name="T9" fmla="*/ 356823 h 979"/>
                <a:gd name="T10" fmla="*/ 41275 w 978"/>
                <a:gd name="T11" fmla="*/ 305017 h 979"/>
                <a:gd name="T12" fmla="*/ 37042 w 978"/>
                <a:gd name="T13" fmla="*/ 260613 h 979"/>
                <a:gd name="T14" fmla="*/ 43921 w 978"/>
                <a:gd name="T15" fmla="*/ 204578 h 979"/>
                <a:gd name="T16" fmla="*/ 64029 w 978"/>
                <a:gd name="T17" fmla="*/ 154887 h 979"/>
                <a:gd name="T18" fmla="*/ 95250 w 978"/>
                <a:gd name="T19" fmla="*/ 111540 h 979"/>
                <a:gd name="T20" fmla="*/ 134938 w 978"/>
                <a:gd name="T21" fmla="*/ 76651 h 979"/>
                <a:gd name="T22" fmla="*/ 182563 w 978"/>
                <a:gd name="T23" fmla="*/ 52334 h 979"/>
                <a:gd name="T24" fmla="*/ 236008 w 978"/>
                <a:gd name="T25" fmla="*/ 40176 h 979"/>
                <a:gd name="T26" fmla="*/ 282046 w 978"/>
                <a:gd name="T27" fmla="*/ 40176 h 979"/>
                <a:gd name="T28" fmla="*/ 335492 w 978"/>
                <a:gd name="T29" fmla="*/ 52334 h 979"/>
                <a:gd name="T30" fmla="*/ 382588 w 978"/>
                <a:gd name="T31" fmla="*/ 76651 h 979"/>
                <a:gd name="T32" fmla="*/ 422804 w 978"/>
                <a:gd name="T33" fmla="*/ 111540 h 979"/>
                <a:gd name="T34" fmla="*/ 453496 w 978"/>
                <a:gd name="T35" fmla="*/ 154887 h 979"/>
                <a:gd name="T36" fmla="*/ 473604 w 978"/>
                <a:gd name="T37" fmla="*/ 204578 h 979"/>
                <a:gd name="T38" fmla="*/ 480483 w 978"/>
                <a:gd name="T39" fmla="*/ 260613 h 979"/>
                <a:gd name="T40" fmla="*/ 476250 w 978"/>
                <a:gd name="T41" fmla="*/ 305017 h 979"/>
                <a:gd name="T42" fmla="*/ 458787 w 978"/>
                <a:gd name="T43" fmla="*/ 356823 h 979"/>
                <a:gd name="T44" fmla="*/ 430212 w 978"/>
                <a:gd name="T45" fmla="*/ 401227 h 979"/>
                <a:gd name="T46" fmla="*/ 391583 w 978"/>
                <a:gd name="T47" fmla="*/ 438231 h 979"/>
                <a:gd name="T48" fmla="*/ 345017 w 978"/>
                <a:gd name="T49" fmla="*/ 464134 h 979"/>
                <a:gd name="T50" fmla="*/ 292100 w 978"/>
                <a:gd name="T51" fmla="*/ 479464 h 979"/>
                <a:gd name="T52" fmla="*/ 259292 w 978"/>
                <a:gd name="T53" fmla="*/ 0 h 979"/>
                <a:gd name="T54" fmla="*/ 206375 w 978"/>
                <a:gd name="T55" fmla="*/ 5286 h 979"/>
                <a:gd name="T56" fmla="*/ 147108 w 978"/>
                <a:gd name="T57" fmla="*/ 25903 h 979"/>
                <a:gd name="T58" fmla="*/ 94192 w 978"/>
                <a:gd name="T59" fmla="*/ 59735 h 979"/>
                <a:gd name="T60" fmla="*/ 51329 w 978"/>
                <a:gd name="T61" fmla="*/ 104668 h 979"/>
                <a:gd name="T62" fmla="*/ 20638 w 978"/>
                <a:gd name="T63" fmla="*/ 158059 h 979"/>
                <a:gd name="T64" fmla="*/ 3175 w 978"/>
                <a:gd name="T65" fmla="*/ 219908 h 979"/>
                <a:gd name="T66" fmla="*/ 0 w 978"/>
                <a:gd name="T67" fmla="*/ 272771 h 979"/>
                <a:gd name="T68" fmla="*/ 11642 w 978"/>
                <a:gd name="T69" fmla="*/ 335678 h 979"/>
                <a:gd name="T70" fmla="*/ 37571 w 978"/>
                <a:gd name="T71" fmla="*/ 392769 h 979"/>
                <a:gd name="T72" fmla="*/ 76200 w 978"/>
                <a:gd name="T73" fmla="*/ 441931 h 979"/>
                <a:gd name="T74" fmla="*/ 124354 w 978"/>
                <a:gd name="T75" fmla="*/ 479993 h 979"/>
                <a:gd name="T76" fmla="*/ 181504 w 978"/>
                <a:gd name="T77" fmla="*/ 505895 h 979"/>
                <a:gd name="T78" fmla="*/ 245533 w 978"/>
                <a:gd name="T79" fmla="*/ 516996 h 979"/>
                <a:gd name="T80" fmla="*/ 298450 w 978"/>
                <a:gd name="T81" fmla="*/ 514882 h 979"/>
                <a:gd name="T82" fmla="*/ 359304 w 978"/>
                <a:gd name="T83" fmla="*/ 497437 h 979"/>
                <a:gd name="T84" fmla="*/ 413808 w 978"/>
                <a:gd name="T85" fmla="*/ 466777 h 979"/>
                <a:gd name="T86" fmla="*/ 458787 w 978"/>
                <a:gd name="T87" fmla="*/ 423958 h 979"/>
                <a:gd name="T88" fmla="*/ 492125 w 978"/>
                <a:gd name="T89" fmla="*/ 371096 h 979"/>
                <a:gd name="T90" fmla="*/ 512233 w 978"/>
                <a:gd name="T91" fmla="*/ 310832 h 979"/>
                <a:gd name="T92" fmla="*/ 517525 w 978"/>
                <a:gd name="T93" fmla="*/ 259027 h 979"/>
                <a:gd name="T94" fmla="*/ 510117 w 978"/>
                <a:gd name="T95" fmla="*/ 194534 h 979"/>
                <a:gd name="T96" fmla="*/ 486833 w 978"/>
                <a:gd name="T97" fmla="*/ 135328 h 979"/>
                <a:gd name="T98" fmla="*/ 450321 w 978"/>
                <a:gd name="T99" fmla="*/ 85109 h 979"/>
                <a:gd name="T100" fmla="*/ 403754 w 978"/>
                <a:gd name="T101" fmla="*/ 44405 h 979"/>
                <a:gd name="T102" fmla="*/ 348192 w 978"/>
                <a:gd name="T103" fmla="*/ 15859 h 979"/>
                <a:gd name="T104" fmla="*/ 285750 w 978"/>
                <a:gd name="T105" fmla="*/ 1586 h 97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978" h="979">
                  <a:moveTo>
                    <a:pt x="490" y="913"/>
                  </a:moveTo>
                  <a:lnTo>
                    <a:pt x="490" y="913"/>
                  </a:lnTo>
                  <a:lnTo>
                    <a:pt x="467" y="911"/>
                  </a:lnTo>
                  <a:lnTo>
                    <a:pt x="446" y="910"/>
                  </a:lnTo>
                  <a:lnTo>
                    <a:pt x="426" y="907"/>
                  </a:lnTo>
                  <a:lnTo>
                    <a:pt x="404" y="904"/>
                  </a:lnTo>
                  <a:lnTo>
                    <a:pt x="384" y="898"/>
                  </a:lnTo>
                  <a:lnTo>
                    <a:pt x="365" y="893"/>
                  </a:lnTo>
                  <a:lnTo>
                    <a:pt x="345" y="887"/>
                  </a:lnTo>
                  <a:lnTo>
                    <a:pt x="326" y="878"/>
                  </a:lnTo>
                  <a:lnTo>
                    <a:pt x="308" y="870"/>
                  </a:lnTo>
                  <a:lnTo>
                    <a:pt x="289" y="861"/>
                  </a:lnTo>
                  <a:lnTo>
                    <a:pt x="272" y="851"/>
                  </a:lnTo>
                  <a:lnTo>
                    <a:pt x="255" y="840"/>
                  </a:lnTo>
                  <a:lnTo>
                    <a:pt x="238" y="829"/>
                  </a:lnTo>
                  <a:lnTo>
                    <a:pt x="222" y="816"/>
                  </a:lnTo>
                  <a:lnTo>
                    <a:pt x="208" y="803"/>
                  </a:lnTo>
                  <a:lnTo>
                    <a:pt x="192" y="789"/>
                  </a:lnTo>
                  <a:lnTo>
                    <a:pt x="180" y="775"/>
                  </a:lnTo>
                  <a:lnTo>
                    <a:pt x="165" y="759"/>
                  </a:lnTo>
                  <a:lnTo>
                    <a:pt x="154" y="743"/>
                  </a:lnTo>
                  <a:lnTo>
                    <a:pt x="141" y="728"/>
                  </a:lnTo>
                  <a:lnTo>
                    <a:pt x="131" y="710"/>
                  </a:lnTo>
                  <a:lnTo>
                    <a:pt x="121" y="692"/>
                  </a:lnTo>
                  <a:lnTo>
                    <a:pt x="111" y="675"/>
                  </a:lnTo>
                  <a:lnTo>
                    <a:pt x="103" y="656"/>
                  </a:lnTo>
                  <a:lnTo>
                    <a:pt x="96" y="636"/>
                  </a:lnTo>
                  <a:lnTo>
                    <a:pt x="88" y="618"/>
                  </a:lnTo>
                  <a:lnTo>
                    <a:pt x="83" y="598"/>
                  </a:lnTo>
                  <a:lnTo>
                    <a:pt x="78" y="577"/>
                  </a:lnTo>
                  <a:lnTo>
                    <a:pt x="74" y="557"/>
                  </a:lnTo>
                  <a:lnTo>
                    <a:pt x="73" y="535"/>
                  </a:lnTo>
                  <a:lnTo>
                    <a:pt x="70" y="514"/>
                  </a:lnTo>
                  <a:lnTo>
                    <a:pt x="70" y="493"/>
                  </a:lnTo>
                  <a:lnTo>
                    <a:pt x="70" y="471"/>
                  </a:lnTo>
                  <a:lnTo>
                    <a:pt x="73" y="450"/>
                  </a:lnTo>
                  <a:lnTo>
                    <a:pt x="74" y="429"/>
                  </a:lnTo>
                  <a:lnTo>
                    <a:pt x="78" y="409"/>
                  </a:lnTo>
                  <a:lnTo>
                    <a:pt x="83" y="387"/>
                  </a:lnTo>
                  <a:lnTo>
                    <a:pt x="88" y="369"/>
                  </a:lnTo>
                  <a:lnTo>
                    <a:pt x="96" y="349"/>
                  </a:lnTo>
                  <a:lnTo>
                    <a:pt x="103" y="329"/>
                  </a:lnTo>
                  <a:lnTo>
                    <a:pt x="111" y="311"/>
                  </a:lnTo>
                  <a:lnTo>
                    <a:pt x="121" y="293"/>
                  </a:lnTo>
                  <a:lnTo>
                    <a:pt x="131" y="275"/>
                  </a:lnTo>
                  <a:lnTo>
                    <a:pt x="141" y="258"/>
                  </a:lnTo>
                  <a:lnTo>
                    <a:pt x="154" y="242"/>
                  </a:lnTo>
                  <a:lnTo>
                    <a:pt x="165" y="227"/>
                  </a:lnTo>
                  <a:lnTo>
                    <a:pt x="180" y="211"/>
                  </a:lnTo>
                  <a:lnTo>
                    <a:pt x="192" y="197"/>
                  </a:lnTo>
                  <a:lnTo>
                    <a:pt x="208" y="182"/>
                  </a:lnTo>
                  <a:lnTo>
                    <a:pt x="222" y="170"/>
                  </a:lnTo>
                  <a:lnTo>
                    <a:pt x="238" y="157"/>
                  </a:lnTo>
                  <a:lnTo>
                    <a:pt x="255" y="145"/>
                  </a:lnTo>
                  <a:lnTo>
                    <a:pt x="272" y="134"/>
                  </a:lnTo>
                  <a:lnTo>
                    <a:pt x="289" y="124"/>
                  </a:lnTo>
                  <a:lnTo>
                    <a:pt x="308" y="116"/>
                  </a:lnTo>
                  <a:lnTo>
                    <a:pt x="326" y="107"/>
                  </a:lnTo>
                  <a:lnTo>
                    <a:pt x="345" y="99"/>
                  </a:lnTo>
                  <a:lnTo>
                    <a:pt x="365" y="93"/>
                  </a:lnTo>
                  <a:lnTo>
                    <a:pt x="384" y="87"/>
                  </a:lnTo>
                  <a:lnTo>
                    <a:pt x="404" y="81"/>
                  </a:lnTo>
                  <a:lnTo>
                    <a:pt x="426" y="79"/>
                  </a:lnTo>
                  <a:lnTo>
                    <a:pt x="446" y="76"/>
                  </a:lnTo>
                  <a:lnTo>
                    <a:pt x="467" y="74"/>
                  </a:lnTo>
                  <a:lnTo>
                    <a:pt x="490" y="73"/>
                  </a:lnTo>
                  <a:lnTo>
                    <a:pt x="511" y="74"/>
                  </a:lnTo>
                  <a:lnTo>
                    <a:pt x="533" y="76"/>
                  </a:lnTo>
                  <a:lnTo>
                    <a:pt x="552" y="79"/>
                  </a:lnTo>
                  <a:lnTo>
                    <a:pt x="574" y="81"/>
                  </a:lnTo>
                  <a:lnTo>
                    <a:pt x="594" y="87"/>
                  </a:lnTo>
                  <a:lnTo>
                    <a:pt x="614" y="93"/>
                  </a:lnTo>
                  <a:lnTo>
                    <a:pt x="634" y="99"/>
                  </a:lnTo>
                  <a:lnTo>
                    <a:pt x="652" y="107"/>
                  </a:lnTo>
                  <a:lnTo>
                    <a:pt x="671" y="116"/>
                  </a:lnTo>
                  <a:lnTo>
                    <a:pt x="689" y="124"/>
                  </a:lnTo>
                  <a:lnTo>
                    <a:pt x="706" y="134"/>
                  </a:lnTo>
                  <a:lnTo>
                    <a:pt x="723" y="145"/>
                  </a:lnTo>
                  <a:lnTo>
                    <a:pt x="740" y="157"/>
                  </a:lnTo>
                  <a:lnTo>
                    <a:pt x="756" y="170"/>
                  </a:lnTo>
                  <a:lnTo>
                    <a:pt x="770" y="182"/>
                  </a:lnTo>
                  <a:lnTo>
                    <a:pt x="786" y="197"/>
                  </a:lnTo>
                  <a:lnTo>
                    <a:pt x="799" y="211"/>
                  </a:lnTo>
                  <a:lnTo>
                    <a:pt x="813" y="227"/>
                  </a:lnTo>
                  <a:lnTo>
                    <a:pt x="826" y="242"/>
                  </a:lnTo>
                  <a:lnTo>
                    <a:pt x="837" y="258"/>
                  </a:lnTo>
                  <a:lnTo>
                    <a:pt x="847" y="275"/>
                  </a:lnTo>
                  <a:lnTo>
                    <a:pt x="857" y="293"/>
                  </a:lnTo>
                  <a:lnTo>
                    <a:pt x="867" y="311"/>
                  </a:lnTo>
                  <a:lnTo>
                    <a:pt x="876" y="329"/>
                  </a:lnTo>
                  <a:lnTo>
                    <a:pt x="883" y="349"/>
                  </a:lnTo>
                  <a:lnTo>
                    <a:pt x="890" y="369"/>
                  </a:lnTo>
                  <a:lnTo>
                    <a:pt x="895" y="387"/>
                  </a:lnTo>
                  <a:lnTo>
                    <a:pt x="900" y="409"/>
                  </a:lnTo>
                  <a:lnTo>
                    <a:pt x="904" y="429"/>
                  </a:lnTo>
                  <a:lnTo>
                    <a:pt x="907" y="450"/>
                  </a:lnTo>
                  <a:lnTo>
                    <a:pt x="908" y="471"/>
                  </a:lnTo>
                  <a:lnTo>
                    <a:pt x="908" y="493"/>
                  </a:lnTo>
                  <a:lnTo>
                    <a:pt x="908" y="514"/>
                  </a:lnTo>
                  <a:lnTo>
                    <a:pt x="907" y="535"/>
                  </a:lnTo>
                  <a:lnTo>
                    <a:pt x="904" y="557"/>
                  </a:lnTo>
                  <a:lnTo>
                    <a:pt x="900" y="577"/>
                  </a:lnTo>
                  <a:lnTo>
                    <a:pt x="895" y="598"/>
                  </a:lnTo>
                  <a:lnTo>
                    <a:pt x="890" y="618"/>
                  </a:lnTo>
                  <a:lnTo>
                    <a:pt x="883" y="636"/>
                  </a:lnTo>
                  <a:lnTo>
                    <a:pt x="876" y="656"/>
                  </a:lnTo>
                  <a:lnTo>
                    <a:pt x="867" y="675"/>
                  </a:lnTo>
                  <a:lnTo>
                    <a:pt x="857" y="692"/>
                  </a:lnTo>
                  <a:lnTo>
                    <a:pt x="847" y="710"/>
                  </a:lnTo>
                  <a:lnTo>
                    <a:pt x="837" y="728"/>
                  </a:lnTo>
                  <a:lnTo>
                    <a:pt x="826" y="743"/>
                  </a:lnTo>
                  <a:lnTo>
                    <a:pt x="813" y="759"/>
                  </a:lnTo>
                  <a:lnTo>
                    <a:pt x="799" y="775"/>
                  </a:lnTo>
                  <a:lnTo>
                    <a:pt x="786" y="789"/>
                  </a:lnTo>
                  <a:lnTo>
                    <a:pt x="770" y="803"/>
                  </a:lnTo>
                  <a:lnTo>
                    <a:pt x="756" y="816"/>
                  </a:lnTo>
                  <a:lnTo>
                    <a:pt x="740" y="829"/>
                  </a:lnTo>
                  <a:lnTo>
                    <a:pt x="723" y="840"/>
                  </a:lnTo>
                  <a:lnTo>
                    <a:pt x="706" y="851"/>
                  </a:lnTo>
                  <a:lnTo>
                    <a:pt x="689" y="861"/>
                  </a:lnTo>
                  <a:lnTo>
                    <a:pt x="671" y="870"/>
                  </a:lnTo>
                  <a:lnTo>
                    <a:pt x="652" y="878"/>
                  </a:lnTo>
                  <a:lnTo>
                    <a:pt x="634" y="887"/>
                  </a:lnTo>
                  <a:lnTo>
                    <a:pt x="614" y="893"/>
                  </a:lnTo>
                  <a:lnTo>
                    <a:pt x="594" y="898"/>
                  </a:lnTo>
                  <a:lnTo>
                    <a:pt x="574" y="904"/>
                  </a:lnTo>
                  <a:lnTo>
                    <a:pt x="552" y="907"/>
                  </a:lnTo>
                  <a:lnTo>
                    <a:pt x="533" y="910"/>
                  </a:lnTo>
                  <a:lnTo>
                    <a:pt x="511" y="911"/>
                  </a:lnTo>
                  <a:lnTo>
                    <a:pt x="490" y="913"/>
                  </a:lnTo>
                  <a:close/>
                  <a:moveTo>
                    <a:pt x="490" y="0"/>
                  </a:moveTo>
                  <a:lnTo>
                    <a:pt x="490" y="0"/>
                  </a:lnTo>
                  <a:lnTo>
                    <a:pt x="464" y="2"/>
                  </a:lnTo>
                  <a:lnTo>
                    <a:pt x="439" y="3"/>
                  </a:lnTo>
                  <a:lnTo>
                    <a:pt x="414" y="6"/>
                  </a:lnTo>
                  <a:lnTo>
                    <a:pt x="390" y="10"/>
                  </a:lnTo>
                  <a:lnTo>
                    <a:pt x="367" y="16"/>
                  </a:lnTo>
                  <a:lnTo>
                    <a:pt x="343" y="23"/>
                  </a:lnTo>
                  <a:lnTo>
                    <a:pt x="320" y="30"/>
                  </a:lnTo>
                  <a:lnTo>
                    <a:pt x="299" y="39"/>
                  </a:lnTo>
                  <a:lnTo>
                    <a:pt x="278" y="49"/>
                  </a:lnTo>
                  <a:lnTo>
                    <a:pt x="256" y="60"/>
                  </a:lnTo>
                  <a:lnTo>
                    <a:pt x="235" y="71"/>
                  </a:lnTo>
                  <a:lnTo>
                    <a:pt x="215" y="84"/>
                  </a:lnTo>
                  <a:lnTo>
                    <a:pt x="197" y="99"/>
                  </a:lnTo>
                  <a:lnTo>
                    <a:pt x="178" y="113"/>
                  </a:lnTo>
                  <a:lnTo>
                    <a:pt x="161" y="128"/>
                  </a:lnTo>
                  <a:lnTo>
                    <a:pt x="144" y="144"/>
                  </a:lnTo>
                  <a:lnTo>
                    <a:pt x="127" y="161"/>
                  </a:lnTo>
                  <a:lnTo>
                    <a:pt x="111" y="180"/>
                  </a:lnTo>
                  <a:lnTo>
                    <a:pt x="97" y="198"/>
                  </a:lnTo>
                  <a:lnTo>
                    <a:pt x="84" y="217"/>
                  </a:lnTo>
                  <a:lnTo>
                    <a:pt x="71" y="237"/>
                  </a:lnTo>
                  <a:lnTo>
                    <a:pt x="59" y="256"/>
                  </a:lnTo>
                  <a:lnTo>
                    <a:pt x="49" y="278"/>
                  </a:lnTo>
                  <a:lnTo>
                    <a:pt x="39" y="299"/>
                  </a:lnTo>
                  <a:lnTo>
                    <a:pt x="30" y="322"/>
                  </a:lnTo>
                  <a:lnTo>
                    <a:pt x="22" y="345"/>
                  </a:lnTo>
                  <a:lnTo>
                    <a:pt x="16" y="368"/>
                  </a:lnTo>
                  <a:lnTo>
                    <a:pt x="10" y="392"/>
                  </a:lnTo>
                  <a:lnTo>
                    <a:pt x="6" y="416"/>
                  </a:lnTo>
                  <a:lnTo>
                    <a:pt x="3" y="440"/>
                  </a:lnTo>
                  <a:lnTo>
                    <a:pt x="0" y="464"/>
                  </a:lnTo>
                  <a:lnTo>
                    <a:pt x="0" y="490"/>
                  </a:lnTo>
                  <a:lnTo>
                    <a:pt x="0" y="516"/>
                  </a:lnTo>
                  <a:lnTo>
                    <a:pt x="3" y="540"/>
                  </a:lnTo>
                  <a:lnTo>
                    <a:pt x="6" y="564"/>
                  </a:lnTo>
                  <a:lnTo>
                    <a:pt x="10" y="588"/>
                  </a:lnTo>
                  <a:lnTo>
                    <a:pt x="16" y="612"/>
                  </a:lnTo>
                  <a:lnTo>
                    <a:pt x="22" y="635"/>
                  </a:lnTo>
                  <a:lnTo>
                    <a:pt x="30" y="658"/>
                  </a:lnTo>
                  <a:lnTo>
                    <a:pt x="39" y="681"/>
                  </a:lnTo>
                  <a:lnTo>
                    <a:pt x="49" y="702"/>
                  </a:lnTo>
                  <a:lnTo>
                    <a:pt x="59" y="723"/>
                  </a:lnTo>
                  <a:lnTo>
                    <a:pt x="71" y="743"/>
                  </a:lnTo>
                  <a:lnTo>
                    <a:pt x="84" y="763"/>
                  </a:lnTo>
                  <a:lnTo>
                    <a:pt x="97" y="783"/>
                  </a:lnTo>
                  <a:lnTo>
                    <a:pt x="111" y="802"/>
                  </a:lnTo>
                  <a:lnTo>
                    <a:pt x="127" y="819"/>
                  </a:lnTo>
                  <a:lnTo>
                    <a:pt x="144" y="836"/>
                  </a:lnTo>
                  <a:lnTo>
                    <a:pt x="161" y="853"/>
                  </a:lnTo>
                  <a:lnTo>
                    <a:pt x="178" y="867"/>
                  </a:lnTo>
                  <a:lnTo>
                    <a:pt x="197" y="883"/>
                  </a:lnTo>
                  <a:lnTo>
                    <a:pt x="215" y="896"/>
                  </a:lnTo>
                  <a:lnTo>
                    <a:pt x="235" y="908"/>
                  </a:lnTo>
                  <a:lnTo>
                    <a:pt x="256" y="920"/>
                  </a:lnTo>
                  <a:lnTo>
                    <a:pt x="278" y="931"/>
                  </a:lnTo>
                  <a:lnTo>
                    <a:pt x="299" y="941"/>
                  </a:lnTo>
                  <a:lnTo>
                    <a:pt x="320" y="950"/>
                  </a:lnTo>
                  <a:lnTo>
                    <a:pt x="343" y="957"/>
                  </a:lnTo>
                  <a:lnTo>
                    <a:pt x="367" y="964"/>
                  </a:lnTo>
                  <a:lnTo>
                    <a:pt x="390" y="970"/>
                  </a:lnTo>
                  <a:lnTo>
                    <a:pt x="414" y="974"/>
                  </a:lnTo>
                  <a:lnTo>
                    <a:pt x="439" y="977"/>
                  </a:lnTo>
                  <a:lnTo>
                    <a:pt x="464" y="978"/>
                  </a:lnTo>
                  <a:lnTo>
                    <a:pt x="490" y="979"/>
                  </a:lnTo>
                  <a:lnTo>
                    <a:pt x="514" y="978"/>
                  </a:lnTo>
                  <a:lnTo>
                    <a:pt x="540" y="977"/>
                  </a:lnTo>
                  <a:lnTo>
                    <a:pt x="564" y="974"/>
                  </a:lnTo>
                  <a:lnTo>
                    <a:pt x="588" y="970"/>
                  </a:lnTo>
                  <a:lnTo>
                    <a:pt x="611" y="964"/>
                  </a:lnTo>
                  <a:lnTo>
                    <a:pt x="635" y="957"/>
                  </a:lnTo>
                  <a:lnTo>
                    <a:pt x="658" y="950"/>
                  </a:lnTo>
                  <a:lnTo>
                    <a:pt x="679" y="941"/>
                  </a:lnTo>
                  <a:lnTo>
                    <a:pt x="700" y="931"/>
                  </a:lnTo>
                  <a:lnTo>
                    <a:pt x="722" y="920"/>
                  </a:lnTo>
                  <a:lnTo>
                    <a:pt x="743" y="908"/>
                  </a:lnTo>
                  <a:lnTo>
                    <a:pt x="763" y="896"/>
                  </a:lnTo>
                  <a:lnTo>
                    <a:pt x="782" y="883"/>
                  </a:lnTo>
                  <a:lnTo>
                    <a:pt x="800" y="867"/>
                  </a:lnTo>
                  <a:lnTo>
                    <a:pt x="819" y="851"/>
                  </a:lnTo>
                  <a:lnTo>
                    <a:pt x="836" y="836"/>
                  </a:lnTo>
                  <a:lnTo>
                    <a:pt x="851" y="819"/>
                  </a:lnTo>
                  <a:lnTo>
                    <a:pt x="867" y="802"/>
                  </a:lnTo>
                  <a:lnTo>
                    <a:pt x="881" y="783"/>
                  </a:lnTo>
                  <a:lnTo>
                    <a:pt x="895" y="763"/>
                  </a:lnTo>
                  <a:lnTo>
                    <a:pt x="908" y="743"/>
                  </a:lnTo>
                  <a:lnTo>
                    <a:pt x="920" y="723"/>
                  </a:lnTo>
                  <a:lnTo>
                    <a:pt x="930" y="702"/>
                  </a:lnTo>
                  <a:lnTo>
                    <a:pt x="940" y="681"/>
                  </a:lnTo>
                  <a:lnTo>
                    <a:pt x="948" y="658"/>
                  </a:lnTo>
                  <a:lnTo>
                    <a:pt x="957" y="635"/>
                  </a:lnTo>
                  <a:lnTo>
                    <a:pt x="964" y="612"/>
                  </a:lnTo>
                  <a:lnTo>
                    <a:pt x="968" y="588"/>
                  </a:lnTo>
                  <a:lnTo>
                    <a:pt x="972" y="564"/>
                  </a:lnTo>
                  <a:lnTo>
                    <a:pt x="977" y="540"/>
                  </a:lnTo>
                  <a:lnTo>
                    <a:pt x="978" y="516"/>
                  </a:lnTo>
                  <a:lnTo>
                    <a:pt x="978" y="490"/>
                  </a:lnTo>
                  <a:lnTo>
                    <a:pt x="978" y="464"/>
                  </a:lnTo>
                  <a:lnTo>
                    <a:pt x="977" y="440"/>
                  </a:lnTo>
                  <a:lnTo>
                    <a:pt x="972" y="416"/>
                  </a:lnTo>
                  <a:lnTo>
                    <a:pt x="968" y="392"/>
                  </a:lnTo>
                  <a:lnTo>
                    <a:pt x="964" y="368"/>
                  </a:lnTo>
                  <a:lnTo>
                    <a:pt x="957" y="345"/>
                  </a:lnTo>
                  <a:lnTo>
                    <a:pt x="948" y="322"/>
                  </a:lnTo>
                  <a:lnTo>
                    <a:pt x="940" y="299"/>
                  </a:lnTo>
                  <a:lnTo>
                    <a:pt x="930" y="278"/>
                  </a:lnTo>
                  <a:lnTo>
                    <a:pt x="920" y="256"/>
                  </a:lnTo>
                  <a:lnTo>
                    <a:pt x="908" y="237"/>
                  </a:lnTo>
                  <a:lnTo>
                    <a:pt x="895" y="217"/>
                  </a:lnTo>
                  <a:lnTo>
                    <a:pt x="881" y="198"/>
                  </a:lnTo>
                  <a:lnTo>
                    <a:pt x="867" y="180"/>
                  </a:lnTo>
                  <a:lnTo>
                    <a:pt x="851" y="161"/>
                  </a:lnTo>
                  <a:lnTo>
                    <a:pt x="836" y="144"/>
                  </a:lnTo>
                  <a:lnTo>
                    <a:pt x="819" y="128"/>
                  </a:lnTo>
                  <a:lnTo>
                    <a:pt x="800" y="113"/>
                  </a:lnTo>
                  <a:lnTo>
                    <a:pt x="782" y="99"/>
                  </a:lnTo>
                  <a:lnTo>
                    <a:pt x="763" y="84"/>
                  </a:lnTo>
                  <a:lnTo>
                    <a:pt x="743" y="71"/>
                  </a:lnTo>
                  <a:lnTo>
                    <a:pt x="722" y="60"/>
                  </a:lnTo>
                  <a:lnTo>
                    <a:pt x="700" y="49"/>
                  </a:lnTo>
                  <a:lnTo>
                    <a:pt x="679" y="39"/>
                  </a:lnTo>
                  <a:lnTo>
                    <a:pt x="658" y="30"/>
                  </a:lnTo>
                  <a:lnTo>
                    <a:pt x="635" y="23"/>
                  </a:lnTo>
                  <a:lnTo>
                    <a:pt x="611" y="16"/>
                  </a:lnTo>
                  <a:lnTo>
                    <a:pt x="588" y="10"/>
                  </a:lnTo>
                  <a:lnTo>
                    <a:pt x="564" y="6"/>
                  </a:lnTo>
                  <a:lnTo>
                    <a:pt x="540" y="3"/>
                  </a:lnTo>
                  <a:lnTo>
                    <a:pt x="514" y="2"/>
                  </a:lnTo>
                  <a:lnTo>
                    <a:pt x="49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122" name="Freeform 47"/>
            <p:cNvSpPr>
              <a:spLocks noEditPoints="1"/>
            </p:cNvSpPr>
            <p:nvPr/>
          </p:nvSpPr>
          <p:spPr bwMode="auto">
            <a:xfrm>
              <a:off x="5173333" y="1968722"/>
              <a:ext cx="917575" cy="917575"/>
            </a:xfrm>
            <a:custGeom>
              <a:avLst/>
              <a:gdLst>
                <a:gd name="T0" fmla="*/ 395060 w 1735"/>
                <a:gd name="T1" fmla="*/ 874688 h 1733"/>
                <a:gd name="T2" fmla="*/ 295105 w 1735"/>
                <a:gd name="T3" fmla="*/ 846096 h 1733"/>
                <a:gd name="T4" fmla="*/ 207314 w 1735"/>
                <a:gd name="T5" fmla="*/ 795796 h 1733"/>
                <a:gd name="T6" fmla="*/ 134331 w 1735"/>
                <a:gd name="T7" fmla="*/ 726436 h 1733"/>
                <a:gd name="T8" fmla="*/ 79329 w 1735"/>
                <a:gd name="T9" fmla="*/ 641191 h 1733"/>
                <a:gd name="T10" fmla="*/ 47069 w 1735"/>
                <a:gd name="T11" fmla="*/ 543238 h 1733"/>
                <a:gd name="T12" fmla="*/ 38078 w 1735"/>
                <a:gd name="T13" fmla="*/ 459052 h 1733"/>
                <a:gd name="T14" fmla="*/ 51828 w 1735"/>
                <a:gd name="T15" fmla="*/ 354217 h 1733"/>
                <a:gd name="T16" fmla="*/ 89378 w 1735"/>
                <a:gd name="T17" fmla="*/ 258382 h 1733"/>
                <a:gd name="T18" fmla="*/ 148081 w 1735"/>
                <a:gd name="T19" fmla="*/ 176314 h 1733"/>
                <a:gd name="T20" fmla="*/ 224237 w 1735"/>
                <a:gd name="T21" fmla="*/ 110130 h 1733"/>
                <a:gd name="T22" fmla="*/ 314673 w 1735"/>
                <a:gd name="T23" fmla="*/ 64066 h 1733"/>
                <a:gd name="T24" fmla="*/ 416214 w 1735"/>
                <a:gd name="T25" fmla="*/ 40769 h 1733"/>
                <a:gd name="T26" fmla="*/ 501890 w 1735"/>
                <a:gd name="T27" fmla="*/ 40769 h 1733"/>
                <a:gd name="T28" fmla="*/ 602902 w 1735"/>
                <a:gd name="T29" fmla="*/ 64066 h 1733"/>
                <a:gd name="T30" fmla="*/ 692809 w 1735"/>
                <a:gd name="T31" fmla="*/ 110130 h 1733"/>
                <a:gd name="T32" fmla="*/ 770023 w 1735"/>
                <a:gd name="T33" fmla="*/ 176314 h 1733"/>
                <a:gd name="T34" fmla="*/ 827669 w 1735"/>
                <a:gd name="T35" fmla="*/ 258382 h 1733"/>
                <a:gd name="T36" fmla="*/ 865218 w 1735"/>
                <a:gd name="T37" fmla="*/ 354217 h 1733"/>
                <a:gd name="T38" fmla="*/ 878968 w 1735"/>
                <a:gd name="T39" fmla="*/ 459052 h 1733"/>
                <a:gd name="T40" fmla="*/ 869977 w 1735"/>
                <a:gd name="T41" fmla="*/ 543238 h 1733"/>
                <a:gd name="T42" fmla="*/ 837717 w 1735"/>
                <a:gd name="T43" fmla="*/ 641191 h 1733"/>
                <a:gd name="T44" fmla="*/ 782715 w 1735"/>
                <a:gd name="T45" fmla="*/ 726436 h 1733"/>
                <a:gd name="T46" fmla="*/ 709732 w 1735"/>
                <a:gd name="T47" fmla="*/ 795796 h 1733"/>
                <a:gd name="T48" fmla="*/ 622470 w 1735"/>
                <a:gd name="T49" fmla="*/ 846096 h 1733"/>
                <a:gd name="T50" fmla="*/ 521986 w 1735"/>
                <a:gd name="T51" fmla="*/ 874688 h 1733"/>
                <a:gd name="T52" fmla="*/ 459052 w 1735"/>
                <a:gd name="T53" fmla="*/ 0 h 1733"/>
                <a:gd name="T54" fmla="*/ 366501 w 1735"/>
                <a:gd name="T55" fmla="*/ 9001 h 1733"/>
                <a:gd name="T56" fmla="*/ 260200 w 1735"/>
                <a:gd name="T57" fmla="*/ 45005 h 1733"/>
                <a:gd name="T58" fmla="*/ 167120 w 1735"/>
                <a:gd name="T59" fmla="*/ 104835 h 1733"/>
                <a:gd name="T60" fmla="*/ 90964 w 1735"/>
                <a:gd name="T61" fmla="*/ 184786 h 1733"/>
                <a:gd name="T62" fmla="*/ 35963 w 1735"/>
                <a:gd name="T63" fmla="*/ 280091 h 1733"/>
                <a:gd name="T64" fmla="*/ 4760 w 1735"/>
                <a:gd name="T65" fmla="*/ 388632 h 1733"/>
                <a:gd name="T66" fmla="*/ 529 w 1735"/>
                <a:gd name="T67" fmla="*/ 482349 h 1733"/>
                <a:gd name="T68" fmla="*/ 20626 w 1735"/>
                <a:gd name="T69" fmla="*/ 595127 h 1733"/>
                <a:gd name="T70" fmla="*/ 66637 w 1735"/>
                <a:gd name="T71" fmla="*/ 696785 h 1733"/>
                <a:gd name="T72" fmla="*/ 134331 w 1735"/>
                <a:gd name="T73" fmla="*/ 783619 h 1733"/>
                <a:gd name="T74" fmla="*/ 221064 w 1735"/>
                <a:gd name="T75" fmla="*/ 851391 h 1733"/>
                <a:gd name="T76" fmla="*/ 322606 w 1735"/>
                <a:gd name="T77" fmla="*/ 897455 h 1733"/>
                <a:gd name="T78" fmla="*/ 434724 w 1735"/>
                <a:gd name="T79" fmla="*/ 917575 h 1733"/>
                <a:gd name="T80" fmla="*/ 528333 w 1735"/>
                <a:gd name="T81" fmla="*/ 912810 h 1733"/>
                <a:gd name="T82" fmla="*/ 636749 w 1735"/>
                <a:gd name="T83" fmla="*/ 881571 h 1733"/>
                <a:gd name="T84" fmla="*/ 733002 w 1735"/>
                <a:gd name="T85" fmla="*/ 826506 h 1733"/>
                <a:gd name="T86" fmla="*/ 812860 w 1735"/>
                <a:gd name="T87" fmla="*/ 750791 h 1733"/>
                <a:gd name="T88" fmla="*/ 872093 w 1735"/>
                <a:gd name="T89" fmla="*/ 657604 h 1733"/>
                <a:gd name="T90" fmla="*/ 907527 w 1735"/>
                <a:gd name="T91" fmla="*/ 551710 h 1733"/>
                <a:gd name="T92" fmla="*/ 917575 w 1735"/>
                <a:gd name="T93" fmla="*/ 459052 h 1733"/>
                <a:gd name="T94" fmla="*/ 903296 w 1735"/>
                <a:gd name="T95" fmla="*/ 344157 h 1733"/>
                <a:gd name="T96" fmla="*/ 861516 w 1735"/>
                <a:gd name="T97" fmla="*/ 240380 h 1733"/>
                <a:gd name="T98" fmla="*/ 797523 w 1735"/>
                <a:gd name="T99" fmla="*/ 150900 h 1733"/>
                <a:gd name="T100" fmla="*/ 715021 w 1735"/>
                <a:gd name="T101" fmla="*/ 78362 h 1733"/>
                <a:gd name="T102" fmla="*/ 616124 w 1735"/>
                <a:gd name="T103" fmla="*/ 28062 h 1733"/>
                <a:gd name="T104" fmla="*/ 505592 w 1735"/>
                <a:gd name="T105" fmla="*/ 2118 h 1733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735" h="1733">
                  <a:moveTo>
                    <a:pt x="868" y="1661"/>
                  </a:moveTo>
                  <a:lnTo>
                    <a:pt x="868" y="1661"/>
                  </a:lnTo>
                  <a:lnTo>
                    <a:pt x="827" y="1659"/>
                  </a:lnTo>
                  <a:lnTo>
                    <a:pt x="787" y="1657"/>
                  </a:lnTo>
                  <a:lnTo>
                    <a:pt x="747" y="1652"/>
                  </a:lnTo>
                  <a:lnTo>
                    <a:pt x="707" y="1645"/>
                  </a:lnTo>
                  <a:lnTo>
                    <a:pt x="669" y="1637"/>
                  </a:lnTo>
                  <a:lnTo>
                    <a:pt x="632" y="1625"/>
                  </a:lnTo>
                  <a:lnTo>
                    <a:pt x="595" y="1613"/>
                  </a:lnTo>
                  <a:lnTo>
                    <a:pt x="558" y="1598"/>
                  </a:lnTo>
                  <a:lnTo>
                    <a:pt x="523" y="1583"/>
                  </a:lnTo>
                  <a:lnTo>
                    <a:pt x="489" y="1566"/>
                  </a:lnTo>
                  <a:lnTo>
                    <a:pt x="455" y="1546"/>
                  </a:lnTo>
                  <a:lnTo>
                    <a:pt x="424" y="1526"/>
                  </a:lnTo>
                  <a:lnTo>
                    <a:pt x="392" y="1503"/>
                  </a:lnTo>
                  <a:lnTo>
                    <a:pt x="363" y="1480"/>
                  </a:lnTo>
                  <a:lnTo>
                    <a:pt x="333" y="1455"/>
                  </a:lnTo>
                  <a:lnTo>
                    <a:pt x="306" y="1429"/>
                  </a:lnTo>
                  <a:lnTo>
                    <a:pt x="280" y="1400"/>
                  </a:lnTo>
                  <a:lnTo>
                    <a:pt x="254" y="1372"/>
                  </a:lnTo>
                  <a:lnTo>
                    <a:pt x="230" y="1342"/>
                  </a:lnTo>
                  <a:lnTo>
                    <a:pt x="209" y="1311"/>
                  </a:lnTo>
                  <a:lnTo>
                    <a:pt x="187" y="1278"/>
                  </a:lnTo>
                  <a:lnTo>
                    <a:pt x="169" y="1245"/>
                  </a:lnTo>
                  <a:lnTo>
                    <a:pt x="150" y="1211"/>
                  </a:lnTo>
                  <a:lnTo>
                    <a:pt x="135" y="1176"/>
                  </a:lnTo>
                  <a:lnTo>
                    <a:pt x="121" y="1140"/>
                  </a:lnTo>
                  <a:lnTo>
                    <a:pt x="108" y="1103"/>
                  </a:lnTo>
                  <a:lnTo>
                    <a:pt x="98" y="1065"/>
                  </a:lnTo>
                  <a:lnTo>
                    <a:pt x="89" y="1026"/>
                  </a:lnTo>
                  <a:lnTo>
                    <a:pt x="82" y="988"/>
                  </a:lnTo>
                  <a:lnTo>
                    <a:pt x="76" y="948"/>
                  </a:lnTo>
                  <a:lnTo>
                    <a:pt x="74" y="908"/>
                  </a:lnTo>
                  <a:lnTo>
                    <a:pt x="72" y="867"/>
                  </a:lnTo>
                  <a:lnTo>
                    <a:pt x="74" y="825"/>
                  </a:lnTo>
                  <a:lnTo>
                    <a:pt x="76" y="786"/>
                  </a:lnTo>
                  <a:lnTo>
                    <a:pt x="82" y="746"/>
                  </a:lnTo>
                  <a:lnTo>
                    <a:pt x="89" y="707"/>
                  </a:lnTo>
                  <a:lnTo>
                    <a:pt x="98" y="669"/>
                  </a:lnTo>
                  <a:lnTo>
                    <a:pt x="108" y="630"/>
                  </a:lnTo>
                  <a:lnTo>
                    <a:pt x="121" y="593"/>
                  </a:lnTo>
                  <a:lnTo>
                    <a:pt x="135" y="558"/>
                  </a:lnTo>
                  <a:lnTo>
                    <a:pt x="150" y="522"/>
                  </a:lnTo>
                  <a:lnTo>
                    <a:pt x="169" y="488"/>
                  </a:lnTo>
                  <a:lnTo>
                    <a:pt x="187" y="455"/>
                  </a:lnTo>
                  <a:lnTo>
                    <a:pt x="209" y="423"/>
                  </a:lnTo>
                  <a:lnTo>
                    <a:pt x="230" y="391"/>
                  </a:lnTo>
                  <a:lnTo>
                    <a:pt x="254" y="362"/>
                  </a:lnTo>
                  <a:lnTo>
                    <a:pt x="280" y="333"/>
                  </a:lnTo>
                  <a:lnTo>
                    <a:pt x="306" y="305"/>
                  </a:lnTo>
                  <a:lnTo>
                    <a:pt x="333" y="279"/>
                  </a:lnTo>
                  <a:lnTo>
                    <a:pt x="363" y="253"/>
                  </a:lnTo>
                  <a:lnTo>
                    <a:pt x="392" y="231"/>
                  </a:lnTo>
                  <a:lnTo>
                    <a:pt x="424" y="208"/>
                  </a:lnTo>
                  <a:lnTo>
                    <a:pt x="455" y="188"/>
                  </a:lnTo>
                  <a:lnTo>
                    <a:pt x="489" y="168"/>
                  </a:lnTo>
                  <a:lnTo>
                    <a:pt x="523" y="151"/>
                  </a:lnTo>
                  <a:lnTo>
                    <a:pt x="558" y="135"/>
                  </a:lnTo>
                  <a:lnTo>
                    <a:pt x="595" y="121"/>
                  </a:lnTo>
                  <a:lnTo>
                    <a:pt x="632" y="108"/>
                  </a:lnTo>
                  <a:lnTo>
                    <a:pt x="669" y="97"/>
                  </a:lnTo>
                  <a:lnTo>
                    <a:pt x="707" y="88"/>
                  </a:lnTo>
                  <a:lnTo>
                    <a:pt x="747" y="81"/>
                  </a:lnTo>
                  <a:lnTo>
                    <a:pt x="787" y="77"/>
                  </a:lnTo>
                  <a:lnTo>
                    <a:pt x="827" y="74"/>
                  </a:lnTo>
                  <a:lnTo>
                    <a:pt x="868" y="73"/>
                  </a:lnTo>
                  <a:lnTo>
                    <a:pt x="908" y="74"/>
                  </a:lnTo>
                  <a:lnTo>
                    <a:pt x="949" y="77"/>
                  </a:lnTo>
                  <a:lnTo>
                    <a:pt x="987" y="81"/>
                  </a:lnTo>
                  <a:lnTo>
                    <a:pt x="1027" y="88"/>
                  </a:lnTo>
                  <a:lnTo>
                    <a:pt x="1066" y="97"/>
                  </a:lnTo>
                  <a:lnTo>
                    <a:pt x="1103" y="108"/>
                  </a:lnTo>
                  <a:lnTo>
                    <a:pt x="1140" y="121"/>
                  </a:lnTo>
                  <a:lnTo>
                    <a:pt x="1177" y="135"/>
                  </a:lnTo>
                  <a:lnTo>
                    <a:pt x="1211" y="151"/>
                  </a:lnTo>
                  <a:lnTo>
                    <a:pt x="1245" y="168"/>
                  </a:lnTo>
                  <a:lnTo>
                    <a:pt x="1279" y="188"/>
                  </a:lnTo>
                  <a:lnTo>
                    <a:pt x="1310" y="208"/>
                  </a:lnTo>
                  <a:lnTo>
                    <a:pt x="1342" y="231"/>
                  </a:lnTo>
                  <a:lnTo>
                    <a:pt x="1372" y="253"/>
                  </a:lnTo>
                  <a:lnTo>
                    <a:pt x="1402" y="279"/>
                  </a:lnTo>
                  <a:lnTo>
                    <a:pt x="1429" y="305"/>
                  </a:lnTo>
                  <a:lnTo>
                    <a:pt x="1456" y="333"/>
                  </a:lnTo>
                  <a:lnTo>
                    <a:pt x="1480" y="362"/>
                  </a:lnTo>
                  <a:lnTo>
                    <a:pt x="1504" y="391"/>
                  </a:lnTo>
                  <a:lnTo>
                    <a:pt x="1525" y="423"/>
                  </a:lnTo>
                  <a:lnTo>
                    <a:pt x="1547" y="455"/>
                  </a:lnTo>
                  <a:lnTo>
                    <a:pt x="1565" y="488"/>
                  </a:lnTo>
                  <a:lnTo>
                    <a:pt x="1584" y="522"/>
                  </a:lnTo>
                  <a:lnTo>
                    <a:pt x="1599" y="558"/>
                  </a:lnTo>
                  <a:lnTo>
                    <a:pt x="1614" y="593"/>
                  </a:lnTo>
                  <a:lnTo>
                    <a:pt x="1626" y="630"/>
                  </a:lnTo>
                  <a:lnTo>
                    <a:pt x="1636" y="669"/>
                  </a:lnTo>
                  <a:lnTo>
                    <a:pt x="1645" y="707"/>
                  </a:lnTo>
                  <a:lnTo>
                    <a:pt x="1652" y="746"/>
                  </a:lnTo>
                  <a:lnTo>
                    <a:pt x="1658" y="786"/>
                  </a:lnTo>
                  <a:lnTo>
                    <a:pt x="1661" y="825"/>
                  </a:lnTo>
                  <a:lnTo>
                    <a:pt x="1662" y="867"/>
                  </a:lnTo>
                  <a:lnTo>
                    <a:pt x="1661" y="908"/>
                  </a:lnTo>
                  <a:lnTo>
                    <a:pt x="1658" y="948"/>
                  </a:lnTo>
                  <a:lnTo>
                    <a:pt x="1652" y="988"/>
                  </a:lnTo>
                  <a:lnTo>
                    <a:pt x="1645" y="1026"/>
                  </a:lnTo>
                  <a:lnTo>
                    <a:pt x="1636" y="1065"/>
                  </a:lnTo>
                  <a:lnTo>
                    <a:pt x="1626" y="1103"/>
                  </a:lnTo>
                  <a:lnTo>
                    <a:pt x="1614" y="1140"/>
                  </a:lnTo>
                  <a:lnTo>
                    <a:pt x="1599" y="1176"/>
                  </a:lnTo>
                  <a:lnTo>
                    <a:pt x="1584" y="1211"/>
                  </a:lnTo>
                  <a:lnTo>
                    <a:pt x="1565" y="1245"/>
                  </a:lnTo>
                  <a:lnTo>
                    <a:pt x="1547" y="1278"/>
                  </a:lnTo>
                  <a:lnTo>
                    <a:pt x="1525" y="1311"/>
                  </a:lnTo>
                  <a:lnTo>
                    <a:pt x="1504" y="1342"/>
                  </a:lnTo>
                  <a:lnTo>
                    <a:pt x="1480" y="1372"/>
                  </a:lnTo>
                  <a:lnTo>
                    <a:pt x="1456" y="1400"/>
                  </a:lnTo>
                  <a:lnTo>
                    <a:pt x="1429" y="1429"/>
                  </a:lnTo>
                  <a:lnTo>
                    <a:pt x="1402" y="1455"/>
                  </a:lnTo>
                  <a:lnTo>
                    <a:pt x="1372" y="1480"/>
                  </a:lnTo>
                  <a:lnTo>
                    <a:pt x="1342" y="1503"/>
                  </a:lnTo>
                  <a:lnTo>
                    <a:pt x="1310" y="1526"/>
                  </a:lnTo>
                  <a:lnTo>
                    <a:pt x="1279" y="1546"/>
                  </a:lnTo>
                  <a:lnTo>
                    <a:pt x="1245" y="1566"/>
                  </a:lnTo>
                  <a:lnTo>
                    <a:pt x="1211" y="1583"/>
                  </a:lnTo>
                  <a:lnTo>
                    <a:pt x="1177" y="1598"/>
                  </a:lnTo>
                  <a:lnTo>
                    <a:pt x="1140" y="1613"/>
                  </a:lnTo>
                  <a:lnTo>
                    <a:pt x="1103" y="1625"/>
                  </a:lnTo>
                  <a:lnTo>
                    <a:pt x="1066" y="1637"/>
                  </a:lnTo>
                  <a:lnTo>
                    <a:pt x="1027" y="1645"/>
                  </a:lnTo>
                  <a:lnTo>
                    <a:pt x="987" y="1652"/>
                  </a:lnTo>
                  <a:lnTo>
                    <a:pt x="949" y="1657"/>
                  </a:lnTo>
                  <a:lnTo>
                    <a:pt x="908" y="1659"/>
                  </a:lnTo>
                  <a:lnTo>
                    <a:pt x="868" y="1661"/>
                  </a:lnTo>
                  <a:close/>
                  <a:moveTo>
                    <a:pt x="868" y="0"/>
                  </a:moveTo>
                  <a:lnTo>
                    <a:pt x="868" y="0"/>
                  </a:lnTo>
                  <a:lnTo>
                    <a:pt x="822" y="0"/>
                  </a:lnTo>
                  <a:lnTo>
                    <a:pt x="778" y="4"/>
                  </a:lnTo>
                  <a:lnTo>
                    <a:pt x="735" y="10"/>
                  </a:lnTo>
                  <a:lnTo>
                    <a:pt x="693" y="17"/>
                  </a:lnTo>
                  <a:lnTo>
                    <a:pt x="650" y="27"/>
                  </a:lnTo>
                  <a:lnTo>
                    <a:pt x="610" y="38"/>
                  </a:lnTo>
                  <a:lnTo>
                    <a:pt x="569" y="53"/>
                  </a:lnTo>
                  <a:lnTo>
                    <a:pt x="530" y="68"/>
                  </a:lnTo>
                  <a:lnTo>
                    <a:pt x="492" y="85"/>
                  </a:lnTo>
                  <a:lnTo>
                    <a:pt x="454" y="104"/>
                  </a:lnTo>
                  <a:lnTo>
                    <a:pt x="418" y="125"/>
                  </a:lnTo>
                  <a:lnTo>
                    <a:pt x="382" y="148"/>
                  </a:lnTo>
                  <a:lnTo>
                    <a:pt x="348" y="172"/>
                  </a:lnTo>
                  <a:lnTo>
                    <a:pt x="316" y="198"/>
                  </a:lnTo>
                  <a:lnTo>
                    <a:pt x="284" y="225"/>
                  </a:lnTo>
                  <a:lnTo>
                    <a:pt x="254" y="253"/>
                  </a:lnTo>
                  <a:lnTo>
                    <a:pt x="226" y="285"/>
                  </a:lnTo>
                  <a:lnTo>
                    <a:pt x="199" y="316"/>
                  </a:lnTo>
                  <a:lnTo>
                    <a:pt x="172" y="349"/>
                  </a:lnTo>
                  <a:lnTo>
                    <a:pt x="148" y="383"/>
                  </a:lnTo>
                  <a:lnTo>
                    <a:pt x="126" y="417"/>
                  </a:lnTo>
                  <a:lnTo>
                    <a:pt x="105" y="454"/>
                  </a:lnTo>
                  <a:lnTo>
                    <a:pt x="85" y="491"/>
                  </a:lnTo>
                  <a:lnTo>
                    <a:pt x="68" y="529"/>
                  </a:lnTo>
                  <a:lnTo>
                    <a:pt x="52" y="569"/>
                  </a:lnTo>
                  <a:lnTo>
                    <a:pt x="39" y="609"/>
                  </a:lnTo>
                  <a:lnTo>
                    <a:pt x="27" y="650"/>
                  </a:lnTo>
                  <a:lnTo>
                    <a:pt x="18" y="692"/>
                  </a:lnTo>
                  <a:lnTo>
                    <a:pt x="9" y="734"/>
                  </a:lnTo>
                  <a:lnTo>
                    <a:pt x="4" y="779"/>
                  </a:lnTo>
                  <a:lnTo>
                    <a:pt x="1" y="823"/>
                  </a:lnTo>
                  <a:lnTo>
                    <a:pt x="0" y="867"/>
                  </a:lnTo>
                  <a:lnTo>
                    <a:pt x="1" y="911"/>
                  </a:lnTo>
                  <a:lnTo>
                    <a:pt x="4" y="955"/>
                  </a:lnTo>
                  <a:lnTo>
                    <a:pt x="9" y="999"/>
                  </a:lnTo>
                  <a:lnTo>
                    <a:pt x="18" y="1042"/>
                  </a:lnTo>
                  <a:lnTo>
                    <a:pt x="27" y="1083"/>
                  </a:lnTo>
                  <a:lnTo>
                    <a:pt x="39" y="1124"/>
                  </a:lnTo>
                  <a:lnTo>
                    <a:pt x="52" y="1164"/>
                  </a:lnTo>
                  <a:lnTo>
                    <a:pt x="68" y="1204"/>
                  </a:lnTo>
                  <a:lnTo>
                    <a:pt x="85" y="1242"/>
                  </a:lnTo>
                  <a:lnTo>
                    <a:pt x="105" y="1279"/>
                  </a:lnTo>
                  <a:lnTo>
                    <a:pt x="126" y="1316"/>
                  </a:lnTo>
                  <a:lnTo>
                    <a:pt x="148" y="1351"/>
                  </a:lnTo>
                  <a:lnTo>
                    <a:pt x="172" y="1385"/>
                  </a:lnTo>
                  <a:lnTo>
                    <a:pt x="199" y="1418"/>
                  </a:lnTo>
                  <a:lnTo>
                    <a:pt x="226" y="1449"/>
                  </a:lnTo>
                  <a:lnTo>
                    <a:pt x="254" y="1480"/>
                  </a:lnTo>
                  <a:lnTo>
                    <a:pt x="284" y="1509"/>
                  </a:lnTo>
                  <a:lnTo>
                    <a:pt x="316" y="1536"/>
                  </a:lnTo>
                  <a:lnTo>
                    <a:pt x="348" y="1561"/>
                  </a:lnTo>
                  <a:lnTo>
                    <a:pt x="382" y="1585"/>
                  </a:lnTo>
                  <a:lnTo>
                    <a:pt x="418" y="1608"/>
                  </a:lnTo>
                  <a:lnTo>
                    <a:pt x="454" y="1630"/>
                  </a:lnTo>
                  <a:lnTo>
                    <a:pt x="492" y="1648"/>
                  </a:lnTo>
                  <a:lnTo>
                    <a:pt x="530" y="1665"/>
                  </a:lnTo>
                  <a:lnTo>
                    <a:pt x="569" y="1681"/>
                  </a:lnTo>
                  <a:lnTo>
                    <a:pt x="610" y="1695"/>
                  </a:lnTo>
                  <a:lnTo>
                    <a:pt x="650" y="1706"/>
                  </a:lnTo>
                  <a:lnTo>
                    <a:pt x="693" y="1716"/>
                  </a:lnTo>
                  <a:lnTo>
                    <a:pt x="735" y="1724"/>
                  </a:lnTo>
                  <a:lnTo>
                    <a:pt x="778" y="1729"/>
                  </a:lnTo>
                  <a:lnTo>
                    <a:pt x="822" y="1733"/>
                  </a:lnTo>
                  <a:lnTo>
                    <a:pt x="868" y="1733"/>
                  </a:lnTo>
                  <a:lnTo>
                    <a:pt x="912" y="1733"/>
                  </a:lnTo>
                  <a:lnTo>
                    <a:pt x="956" y="1729"/>
                  </a:lnTo>
                  <a:lnTo>
                    <a:pt x="999" y="1724"/>
                  </a:lnTo>
                  <a:lnTo>
                    <a:pt x="1041" y="1716"/>
                  </a:lnTo>
                  <a:lnTo>
                    <a:pt x="1084" y="1706"/>
                  </a:lnTo>
                  <a:lnTo>
                    <a:pt x="1125" y="1695"/>
                  </a:lnTo>
                  <a:lnTo>
                    <a:pt x="1165" y="1681"/>
                  </a:lnTo>
                  <a:lnTo>
                    <a:pt x="1204" y="1665"/>
                  </a:lnTo>
                  <a:lnTo>
                    <a:pt x="1242" y="1648"/>
                  </a:lnTo>
                  <a:lnTo>
                    <a:pt x="1281" y="1630"/>
                  </a:lnTo>
                  <a:lnTo>
                    <a:pt x="1316" y="1608"/>
                  </a:lnTo>
                  <a:lnTo>
                    <a:pt x="1352" y="1585"/>
                  </a:lnTo>
                  <a:lnTo>
                    <a:pt x="1386" y="1561"/>
                  </a:lnTo>
                  <a:lnTo>
                    <a:pt x="1419" y="1536"/>
                  </a:lnTo>
                  <a:lnTo>
                    <a:pt x="1450" y="1509"/>
                  </a:lnTo>
                  <a:lnTo>
                    <a:pt x="1480" y="1480"/>
                  </a:lnTo>
                  <a:lnTo>
                    <a:pt x="1508" y="1449"/>
                  </a:lnTo>
                  <a:lnTo>
                    <a:pt x="1537" y="1418"/>
                  </a:lnTo>
                  <a:lnTo>
                    <a:pt x="1562" y="1385"/>
                  </a:lnTo>
                  <a:lnTo>
                    <a:pt x="1587" y="1351"/>
                  </a:lnTo>
                  <a:lnTo>
                    <a:pt x="1609" y="1316"/>
                  </a:lnTo>
                  <a:lnTo>
                    <a:pt x="1629" y="1279"/>
                  </a:lnTo>
                  <a:lnTo>
                    <a:pt x="1649" y="1242"/>
                  </a:lnTo>
                  <a:lnTo>
                    <a:pt x="1666" y="1204"/>
                  </a:lnTo>
                  <a:lnTo>
                    <a:pt x="1682" y="1164"/>
                  </a:lnTo>
                  <a:lnTo>
                    <a:pt x="1695" y="1124"/>
                  </a:lnTo>
                  <a:lnTo>
                    <a:pt x="1708" y="1083"/>
                  </a:lnTo>
                  <a:lnTo>
                    <a:pt x="1716" y="1042"/>
                  </a:lnTo>
                  <a:lnTo>
                    <a:pt x="1725" y="999"/>
                  </a:lnTo>
                  <a:lnTo>
                    <a:pt x="1730" y="955"/>
                  </a:lnTo>
                  <a:lnTo>
                    <a:pt x="1733" y="911"/>
                  </a:lnTo>
                  <a:lnTo>
                    <a:pt x="1735" y="867"/>
                  </a:lnTo>
                  <a:lnTo>
                    <a:pt x="1733" y="823"/>
                  </a:lnTo>
                  <a:lnTo>
                    <a:pt x="1730" y="779"/>
                  </a:lnTo>
                  <a:lnTo>
                    <a:pt x="1725" y="734"/>
                  </a:lnTo>
                  <a:lnTo>
                    <a:pt x="1716" y="692"/>
                  </a:lnTo>
                  <a:lnTo>
                    <a:pt x="1708" y="650"/>
                  </a:lnTo>
                  <a:lnTo>
                    <a:pt x="1695" y="609"/>
                  </a:lnTo>
                  <a:lnTo>
                    <a:pt x="1682" y="569"/>
                  </a:lnTo>
                  <a:lnTo>
                    <a:pt x="1666" y="529"/>
                  </a:lnTo>
                  <a:lnTo>
                    <a:pt x="1649" y="491"/>
                  </a:lnTo>
                  <a:lnTo>
                    <a:pt x="1629" y="454"/>
                  </a:lnTo>
                  <a:lnTo>
                    <a:pt x="1609" y="417"/>
                  </a:lnTo>
                  <a:lnTo>
                    <a:pt x="1587" y="383"/>
                  </a:lnTo>
                  <a:lnTo>
                    <a:pt x="1562" y="349"/>
                  </a:lnTo>
                  <a:lnTo>
                    <a:pt x="1537" y="316"/>
                  </a:lnTo>
                  <a:lnTo>
                    <a:pt x="1508" y="285"/>
                  </a:lnTo>
                  <a:lnTo>
                    <a:pt x="1480" y="253"/>
                  </a:lnTo>
                  <a:lnTo>
                    <a:pt x="1450" y="225"/>
                  </a:lnTo>
                  <a:lnTo>
                    <a:pt x="1419" y="198"/>
                  </a:lnTo>
                  <a:lnTo>
                    <a:pt x="1386" y="172"/>
                  </a:lnTo>
                  <a:lnTo>
                    <a:pt x="1352" y="148"/>
                  </a:lnTo>
                  <a:lnTo>
                    <a:pt x="1316" y="125"/>
                  </a:lnTo>
                  <a:lnTo>
                    <a:pt x="1281" y="104"/>
                  </a:lnTo>
                  <a:lnTo>
                    <a:pt x="1242" y="85"/>
                  </a:lnTo>
                  <a:lnTo>
                    <a:pt x="1204" y="68"/>
                  </a:lnTo>
                  <a:lnTo>
                    <a:pt x="1165" y="53"/>
                  </a:lnTo>
                  <a:lnTo>
                    <a:pt x="1125" y="38"/>
                  </a:lnTo>
                  <a:lnTo>
                    <a:pt x="1084" y="27"/>
                  </a:lnTo>
                  <a:lnTo>
                    <a:pt x="1041" y="17"/>
                  </a:lnTo>
                  <a:lnTo>
                    <a:pt x="999" y="10"/>
                  </a:lnTo>
                  <a:lnTo>
                    <a:pt x="956" y="4"/>
                  </a:lnTo>
                  <a:lnTo>
                    <a:pt x="912" y="0"/>
                  </a:lnTo>
                  <a:lnTo>
                    <a:pt x="868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123" name="Freeform 48"/>
            <p:cNvSpPr>
              <a:spLocks/>
            </p:cNvSpPr>
            <p:nvPr/>
          </p:nvSpPr>
          <p:spPr bwMode="auto">
            <a:xfrm>
              <a:off x="5690858" y="2302097"/>
              <a:ext cx="38100" cy="38100"/>
            </a:xfrm>
            <a:custGeom>
              <a:avLst/>
              <a:gdLst>
                <a:gd name="T0" fmla="*/ 18521 w 72"/>
                <a:gd name="T1" fmla="*/ 0 h 73"/>
                <a:gd name="T2" fmla="*/ 18521 w 72"/>
                <a:gd name="T3" fmla="*/ 0 h 73"/>
                <a:gd name="T4" fmla="*/ 14817 w 72"/>
                <a:gd name="T5" fmla="*/ 522 h 73"/>
                <a:gd name="T6" fmla="*/ 11113 w 72"/>
                <a:gd name="T7" fmla="*/ 1566 h 73"/>
                <a:gd name="T8" fmla="*/ 7408 w 72"/>
                <a:gd name="T9" fmla="*/ 3132 h 73"/>
                <a:gd name="T10" fmla="*/ 5292 w 72"/>
                <a:gd name="T11" fmla="*/ 5219 h 73"/>
                <a:gd name="T12" fmla="*/ 3175 w 72"/>
                <a:gd name="T13" fmla="*/ 8351 h 73"/>
                <a:gd name="T14" fmla="*/ 529 w 72"/>
                <a:gd name="T15" fmla="*/ 10960 h 73"/>
                <a:gd name="T16" fmla="*/ 0 w 72"/>
                <a:gd name="T17" fmla="*/ 15136 h 73"/>
                <a:gd name="T18" fmla="*/ 0 w 72"/>
                <a:gd name="T19" fmla="*/ 19311 h 73"/>
                <a:gd name="T20" fmla="*/ 0 w 72"/>
                <a:gd name="T21" fmla="*/ 19311 h 73"/>
                <a:gd name="T22" fmla="*/ 0 w 72"/>
                <a:gd name="T23" fmla="*/ 22964 h 73"/>
                <a:gd name="T24" fmla="*/ 529 w 72"/>
                <a:gd name="T25" fmla="*/ 26618 h 73"/>
                <a:gd name="T26" fmla="*/ 3175 w 72"/>
                <a:gd name="T27" fmla="*/ 29749 h 73"/>
                <a:gd name="T28" fmla="*/ 5292 w 72"/>
                <a:gd name="T29" fmla="*/ 32881 h 73"/>
                <a:gd name="T30" fmla="*/ 7408 w 72"/>
                <a:gd name="T31" fmla="*/ 34968 h 73"/>
                <a:gd name="T32" fmla="*/ 11113 w 72"/>
                <a:gd name="T33" fmla="*/ 36534 h 73"/>
                <a:gd name="T34" fmla="*/ 14817 w 72"/>
                <a:gd name="T35" fmla="*/ 38100 h 73"/>
                <a:gd name="T36" fmla="*/ 18521 w 72"/>
                <a:gd name="T37" fmla="*/ 38100 h 73"/>
                <a:gd name="T38" fmla="*/ 18521 w 72"/>
                <a:gd name="T39" fmla="*/ 38100 h 73"/>
                <a:gd name="T40" fmla="*/ 23283 w 72"/>
                <a:gd name="T41" fmla="*/ 38100 h 73"/>
                <a:gd name="T42" fmla="*/ 26458 w 72"/>
                <a:gd name="T43" fmla="*/ 36534 h 73"/>
                <a:gd name="T44" fmla="*/ 30162 w 72"/>
                <a:gd name="T45" fmla="*/ 34968 h 73"/>
                <a:gd name="T46" fmla="*/ 32808 w 72"/>
                <a:gd name="T47" fmla="*/ 32881 h 73"/>
                <a:gd name="T48" fmla="*/ 35454 w 72"/>
                <a:gd name="T49" fmla="*/ 29749 h 73"/>
                <a:gd name="T50" fmla="*/ 37042 w 72"/>
                <a:gd name="T51" fmla="*/ 26618 h 73"/>
                <a:gd name="T52" fmla="*/ 37571 w 72"/>
                <a:gd name="T53" fmla="*/ 22964 h 73"/>
                <a:gd name="T54" fmla="*/ 38100 w 72"/>
                <a:gd name="T55" fmla="*/ 19311 h 73"/>
                <a:gd name="T56" fmla="*/ 38100 w 72"/>
                <a:gd name="T57" fmla="*/ 19311 h 73"/>
                <a:gd name="T58" fmla="*/ 37571 w 72"/>
                <a:gd name="T59" fmla="*/ 15136 h 73"/>
                <a:gd name="T60" fmla="*/ 37042 w 72"/>
                <a:gd name="T61" fmla="*/ 10960 h 73"/>
                <a:gd name="T62" fmla="*/ 35454 w 72"/>
                <a:gd name="T63" fmla="*/ 8351 h 73"/>
                <a:gd name="T64" fmla="*/ 32808 w 72"/>
                <a:gd name="T65" fmla="*/ 5219 h 73"/>
                <a:gd name="T66" fmla="*/ 30162 w 72"/>
                <a:gd name="T67" fmla="*/ 3132 h 73"/>
                <a:gd name="T68" fmla="*/ 26458 w 72"/>
                <a:gd name="T69" fmla="*/ 1566 h 73"/>
                <a:gd name="T70" fmla="*/ 23283 w 72"/>
                <a:gd name="T71" fmla="*/ 522 h 73"/>
                <a:gd name="T72" fmla="*/ 18521 w 72"/>
                <a:gd name="T73" fmla="*/ 0 h 73"/>
                <a:gd name="T74" fmla="*/ 18521 w 72"/>
                <a:gd name="T75" fmla="*/ 0 h 7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72" h="73">
                  <a:moveTo>
                    <a:pt x="35" y="0"/>
                  </a:moveTo>
                  <a:lnTo>
                    <a:pt x="35" y="0"/>
                  </a:lnTo>
                  <a:lnTo>
                    <a:pt x="28" y="1"/>
                  </a:lnTo>
                  <a:lnTo>
                    <a:pt x="21" y="3"/>
                  </a:lnTo>
                  <a:lnTo>
                    <a:pt x="14" y="6"/>
                  </a:lnTo>
                  <a:lnTo>
                    <a:pt x="10" y="10"/>
                  </a:lnTo>
                  <a:lnTo>
                    <a:pt x="6" y="16"/>
                  </a:lnTo>
                  <a:lnTo>
                    <a:pt x="1" y="21"/>
                  </a:lnTo>
                  <a:lnTo>
                    <a:pt x="0" y="29"/>
                  </a:lnTo>
                  <a:lnTo>
                    <a:pt x="0" y="37"/>
                  </a:lnTo>
                  <a:lnTo>
                    <a:pt x="0" y="44"/>
                  </a:lnTo>
                  <a:lnTo>
                    <a:pt x="1" y="51"/>
                  </a:lnTo>
                  <a:lnTo>
                    <a:pt x="6" y="57"/>
                  </a:lnTo>
                  <a:lnTo>
                    <a:pt x="10" y="63"/>
                  </a:lnTo>
                  <a:lnTo>
                    <a:pt x="14" y="67"/>
                  </a:lnTo>
                  <a:lnTo>
                    <a:pt x="21" y="70"/>
                  </a:lnTo>
                  <a:lnTo>
                    <a:pt x="28" y="73"/>
                  </a:lnTo>
                  <a:lnTo>
                    <a:pt x="35" y="73"/>
                  </a:lnTo>
                  <a:lnTo>
                    <a:pt x="44" y="73"/>
                  </a:lnTo>
                  <a:lnTo>
                    <a:pt x="50" y="70"/>
                  </a:lnTo>
                  <a:lnTo>
                    <a:pt x="57" y="67"/>
                  </a:lnTo>
                  <a:lnTo>
                    <a:pt x="62" y="63"/>
                  </a:lnTo>
                  <a:lnTo>
                    <a:pt x="67" y="57"/>
                  </a:lnTo>
                  <a:lnTo>
                    <a:pt x="70" y="51"/>
                  </a:lnTo>
                  <a:lnTo>
                    <a:pt x="71" y="44"/>
                  </a:lnTo>
                  <a:lnTo>
                    <a:pt x="72" y="37"/>
                  </a:lnTo>
                  <a:lnTo>
                    <a:pt x="71" y="29"/>
                  </a:lnTo>
                  <a:lnTo>
                    <a:pt x="70" y="21"/>
                  </a:lnTo>
                  <a:lnTo>
                    <a:pt x="67" y="16"/>
                  </a:lnTo>
                  <a:lnTo>
                    <a:pt x="62" y="10"/>
                  </a:lnTo>
                  <a:lnTo>
                    <a:pt x="57" y="6"/>
                  </a:lnTo>
                  <a:lnTo>
                    <a:pt x="50" y="3"/>
                  </a:lnTo>
                  <a:lnTo>
                    <a:pt x="44" y="1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124" name="Freeform 49"/>
            <p:cNvSpPr>
              <a:spLocks noEditPoints="1"/>
            </p:cNvSpPr>
            <p:nvPr/>
          </p:nvSpPr>
          <p:spPr bwMode="auto">
            <a:xfrm>
              <a:off x="5230483" y="2025872"/>
              <a:ext cx="803275" cy="803275"/>
            </a:xfrm>
            <a:custGeom>
              <a:avLst/>
              <a:gdLst>
                <a:gd name="T0" fmla="*/ 345620 w 1520"/>
                <a:gd name="T1" fmla="*/ 760469 h 1520"/>
                <a:gd name="T2" fmla="*/ 260007 w 1520"/>
                <a:gd name="T3" fmla="*/ 736159 h 1520"/>
                <a:gd name="T4" fmla="*/ 183908 w 1520"/>
                <a:gd name="T5" fmla="*/ 692825 h 1520"/>
                <a:gd name="T6" fmla="*/ 121020 w 1520"/>
                <a:gd name="T7" fmla="*/ 632579 h 1520"/>
                <a:gd name="T8" fmla="*/ 73457 w 1520"/>
                <a:gd name="T9" fmla="*/ 558593 h 1520"/>
                <a:gd name="T10" fmla="*/ 45977 w 1520"/>
                <a:gd name="T11" fmla="*/ 474566 h 1520"/>
                <a:gd name="T12" fmla="*/ 38050 w 1520"/>
                <a:gd name="T13" fmla="*/ 401638 h 1520"/>
                <a:gd name="T14" fmla="*/ 49676 w 1520"/>
                <a:gd name="T15" fmla="*/ 310741 h 1520"/>
                <a:gd name="T16" fmla="*/ 81913 w 1520"/>
                <a:gd name="T17" fmla="*/ 228299 h 1520"/>
                <a:gd name="T18" fmla="*/ 132118 w 1520"/>
                <a:gd name="T19" fmla="*/ 158013 h 1520"/>
                <a:gd name="T20" fmla="*/ 198176 w 1520"/>
                <a:gd name="T21" fmla="*/ 100409 h 1520"/>
                <a:gd name="T22" fmla="*/ 276918 w 1520"/>
                <a:gd name="T23" fmla="*/ 60246 h 1520"/>
                <a:gd name="T24" fmla="*/ 364116 w 1520"/>
                <a:gd name="T25" fmla="*/ 40692 h 1520"/>
                <a:gd name="T26" fmla="*/ 438630 w 1520"/>
                <a:gd name="T27" fmla="*/ 40692 h 1520"/>
                <a:gd name="T28" fmla="*/ 525828 w 1520"/>
                <a:gd name="T29" fmla="*/ 60246 h 1520"/>
                <a:gd name="T30" fmla="*/ 604042 w 1520"/>
                <a:gd name="T31" fmla="*/ 100409 h 1520"/>
                <a:gd name="T32" fmla="*/ 670100 w 1520"/>
                <a:gd name="T33" fmla="*/ 158013 h 1520"/>
                <a:gd name="T34" fmla="*/ 720305 w 1520"/>
                <a:gd name="T35" fmla="*/ 228299 h 1520"/>
                <a:gd name="T36" fmla="*/ 753070 w 1520"/>
                <a:gd name="T37" fmla="*/ 310741 h 1520"/>
                <a:gd name="T38" fmla="*/ 764168 w 1520"/>
                <a:gd name="T39" fmla="*/ 401638 h 1520"/>
                <a:gd name="T40" fmla="*/ 757298 w 1520"/>
                <a:gd name="T41" fmla="*/ 474566 h 1520"/>
                <a:gd name="T42" fmla="*/ 728761 w 1520"/>
                <a:gd name="T43" fmla="*/ 558593 h 1520"/>
                <a:gd name="T44" fmla="*/ 681198 w 1520"/>
                <a:gd name="T45" fmla="*/ 632579 h 1520"/>
                <a:gd name="T46" fmla="*/ 618310 w 1520"/>
                <a:gd name="T47" fmla="*/ 692825 h 1520"/>
                <a:gd name="T48" fmla="*/ 542211 w 1520"/>
                <a:gd name="T49" fmla="*/ 736159 h 1520"/>
                <a:gd name="T50" fmla="*/ 456598 w 1520"/>
                <a:gd name="T51" fmla="*/ 760469 h 1520"/>
                <a:gd name="T52" fmla="*/ 401638 w 1520"/>
                <a:gd name="T53" fmla="*/ 0 h 1520"/>
                <a:gd name="T54" fmla="*/ 320253 w 1520"/>
                <a:gd name="T55" fmla="*/ 7927 h 1520"/>
                <a:gd name="T56" fmla="*/ 227242 w 1520"/>
                <a:gd name="T57" fmla="*/ 39635 h 1520"/>
                <a:gd name="T58" fmla="*/ 145858 w 1520"/>
                <a:gd name="T59" fmla="*/ 91425 h 1520"/>
                <a:gd name="T60" fmla="*/ 79799 w 1520"/>
                <a:gd name="T61" fmla="*/ 161712 h 1520"/>
                <a:gd name="T62" fmla="*/ 31180 w 1520"/>
                <a:gd name="T63" fmla="*/ 245210 h 1520"/>
                <a:gd name="T64" fmla="*/ 4228 w 1520"/>
                <a:gd name="T65" fmla="*/ 340335 h 1520"/>
                <a:gd name="T66" fmla="*/ 0 w 1520"/>
                <a:gd name="T67" fmla="*/ 421719 h 1520"/>
                <a:gd name="T68" fmla="*/ 17968 w 1520"/>
                <a:gd name="T69" fmla="*/ 521072 h 1520"/>
                <a:gd name="T70" fmla="*/ 57603 w 1520"/>
                <a:gd name="T71" fmla="*/ 609855 h 1520"/>
                <a:gd name="T72" fmla="*/ 117320 w 1520"/>
                <a:gd name="T73" fmla="*/ 684898 h 1520"/>
                <a:gd name="T74" fmla="*/ 193420 w 1520"/>
                <a:gd name="T75" fmla="*/ 745143 h 1520"/>
                <a:gd name="T76" fmla="*/ 281675 w 1520"/>
                <a:gd name="T77" fmla="*/ 785307 h 1520"/>
                <a:gd name="T78" fmla="*/ 380499 w 1520"/>
                <a:gd name="T79" fmla="*/ 802218 h 1520"/>
                <a:gd name="T80" fmla="*/ 462412 w 1520"/>
                <a:gd name="T81" fmla="*/ 798519 h 1520"/>
                <a:gd name="T82" fmla="*/ 557008 w 1520"/>
                <a:gd name="T83" fmla="*/ 771567 h 1520"/>
                <a:gd name="T84" fmla="*/ 641563 w 1520"/>
                <a:gd name="T85" fmla="*/ 723476 h 1520"/>
                <a:gd name="T86" fmla="*/ 710793 w 1520"/>
                <a:gd name="T87" fmla="*/ 656360 h 1520"/>
                <a:gd name="T88" fmla="*/ 763111 w 1520"/>
                <a:gd name="T89" fmla="*/ 575504 h 1520"/>
                <a:gd name="T90" fmla="*/ 794819 w 1520"/>
                <a:gd name="T91" fmla="*/ 481965 h 1520"/>
                <a:gd name="T92" fmla="*/ 803275 w 1520"/>
                <a:gd name="T93" fmla="*/ 401638 h 1520"/>
                <a:gd name="T94" fmla="*/ 790592 w 1520"/>
                <a:gd name="T95" fmla="*/ 301228 h 1520"/>
                <a:gd name="T96" fmla="*/ 754127 w 1520"/>
                <a:gd name="T97" fmla="*/ 210331 h 1520"/>
                <a:gd name="T98" fmla="*/ 698638 w 1520"/>
                <a:gd name="T99" fmla="*/ 131589 h 1520"/>
                <a:gd name="T100" fmla="*/ 625709 w 1520"/>
                <a:gd name="T101" fmla="*/ 68173 h 1520"/>
                <a:gd name="T102" fmla="*/ 539040 w 1520"/>
                <a:gd name="T103" fmla="*/ 23781 h 1520"/>
                <a:gd name="T104" fmla="*/ 442330 w 1520"/>
                <a:gd name="T105" fmla="*/ 2114 h 152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520" h="1520">
                  <a:moveTo>
                    <a:pt x="760" y="1447"/>
                  </a:moveTo>
                  <a:lnTo>
                    <a:pt x="760" y="1447"/>
                  </a:lnTo>
                  <a:lnTo>
                    <a:pt x="724" y="1446"/>
                  </a:lnTo>
                  <a:lnTo>
                    <a:pt x="689" y="1443"/>
                  </a:lnTo>
                  <a:lnTo>
                    <a:pt x="654" y="1439"/>
                  </a:lnTo>
                  <a:lnTo>
                    <a:pt x="620" y="1433"/>
                  </a:lnTo>
                  <a:lnTo>
                    <a:pt x="588" y="1426"/>
                  </a:lnTo>
                  <a:lnTo>
                    <a:pt x="555" y="1416"/>
                  </a:lnTo>
                  <a:lnTo>
                    <a:pt x="524" y="1406"/>
                  </a:lnTo>
                  <a:lnTo>
                    <a:pt x="492" y="1393"/>
                  </a:lnTo>
                  <a:lnTo>
                    <a:pt x="461" y="1379"/>
                  </a:lnTo>
                  <a:lnTo>
                    <a:pt x="432" y="1365"/>
                  </a:lnTo>
                  <a:lnTo>
                    <a:pt x="403" y="1348"/>
                  </a:lnTo>
                  <a:lnTo>
                    <a:pt x="375" y="1329"/>
                  </a:lnTo>
                  <a:lnTo>
                    <a:pt x="348" y="1311"/>
                  </a:lnTo>
                  <a:lnTo>
                    <a:pt x="323" y="1289"/>
                  </a:lnTo>
                  <a:lnTo>
                    <a:pt x="297" y="1268"/>
                  </a:lnTo>
                  <a:lnTo>
                    <a:pt x="273" y="1245"/>
                  </a:lnTo>
                  <a:lnTo>
                    <a:pt x="250" y="1222"/>
                  </a:lnTo>
                  <a:lnTo>
                    <a:pt x="229" y="1197"/>
                  </a:lnTo>
                  <a:lnTo>
                    <a:pt x="209" y="1171"/>
                  </a:lnTo>
                  <a:lnTo>
                    <a:pt x="189" y="1144"/>
                  </a:lnTo>
                  <a:lnTo>
                    <a:pt x="172" y="1116"/>
                  </a:lnTo>
                  <a:lnTo>
                    <a:pt x="155" y="1087"/>
                  </a:lnTo>
                  <a:lnTo>
                    <a:pt x="139" y="1057"/>
                  </a:lnTo>
                  <a:lnTo>
                    <a:pt x="126" y="1027"/>
                  </a:lnTo>
                  <a:lnTo>
                    <a:pt x="114" y="996"/>
                  </a:lnTo>
                  <a:lnTo>
                    <a:pt x="102" y="963"/>
                  </a:lnTo>
                  <a:lnTo>
                    <a:pt x="94" y="932"/>
                  </a:lnTo>
                  <a:lnTo>
                    <a:pt x="87" y="898"/>
                  </a:lnTo>
                  <a:lnTo>
                    <a:pt x="79" y="864"/>
                  </a:lnTo>
                  <a:lnTo>
                    <a:pt x="75" y="829"/>
                  </a:lnTo>
                  <a:lnTo>
                    <a:pt x="72" y="795"/>
                  </a:lnTo>
                  <a:lnTo>
                    <a:pt x="72" y="760"/>
                  </a:lnTo>
                  <a:lnTo>
                    <a:pt x="72" y="724"/>
                  </a:lnTo>
                  <a:lnTo>
                    <a:pt x="75" y="690"/>
                  </a:lnTo>
                  <a:lnTo>
                    <a:pt x="79" y="656"/>
                  </a:lnTo>
                  <a:lnTo>
                    <a:pt x="87" y="622"/>
                  </a:lnTo>
                  <a:lnTo>
                    <a:pt x="94" y="588"/>
                  </a:lnTo>
                  <a:lnTo>
                    <a:pt x="102" y="556"/>
                  </a:lnTo>
                  <a:lnTo>
                    <a:pt x="114" y="523"/>
                  </a:lnTo>
                  <a:lnTo>
                    <a:pt x="126" y="492"/>
                  </a:lnTo>
                  <a:lnTo>
                    <a:pt x="139" y="462"/>
                  </a:lnTo>
                  <a:lnTo>
                    <a:pt x="155" y="432"/>
                  </a:lnTo>
                  <a:lnTo>
                    <a:pt x="172" y="404"/>
                  </a:lnTo>
                  <a:lnTo>
                    <a:pt x="189" y="375"/>
                  </a:lnTo>
                  <a:lnTo>
                    <a:pt x="209" y="348"/>
                  </a:lnTo>
                  <a:lnTo>
                    <a:pt x="229" y="323"/>
                  </a:lnTo>
                  <a:lnTo>
                    <a:pt x="250" y="299"/>
                  </a:lnTo>
                  <a:lnTo>
                    <a:pt x="273" y="274"/>
                  </a:lnTo>
                  <a:lnTo>
                    <a:pt x="297" y="252"/>
                  </a:lnTo>
                  <a:lnTo>
                    <a:pt x="323" y="230"/>
                  </a:lnTo>
                  <a:lnTo>
                    <a:pt x="348" y="209"/>
                  </a:lnTo>
                  <a:lnTo>
                    <a:pt x="375" y="190"/>
                  </a:lnTo>
                  <a:lnTo>
                    <a:pt x="403" y="172"/>
                  </a:lnTo>
                  <a:lnTo>
                    <a:pt x="432" y="156"/>
                  </a:lnTo>
                  <a:lnTo>
                    <a:pt x="461" y="141"/>
                  </a:lnTo>
                  <a:lnTo>
                    <a:pt x="492" y="126"/>
                  </a:lnTo>
                  <a:lnTo>
                    <a:pt x="524" y="114"/>
                  </a:lnTo>
                  <a:lnTo>
                    <a:pt x="555" y="104"/>
                  </a:lnTo>
                  <a:lnTo>
                    <a:pt x="588" y="94"/>
                  </a:lnTo>
                  <a:lnTo>
                    <a:pt x="620" y="87"/>
                  </a:lnTo>
                  <a:lnTo>
                    <a:pt x="654" y="81"/>
                  </a:lnTo>
                  <a:lnTo>
                    <a:pt x="689" y="77"/>
                  </a:lnTo>
                  <a:lnTo>
                    <a:pt x="724" y="74"/>
                  </a:lnTo>
                  <a:lnTo>
                    <a:pt x="760" y="72"/>
                  </a:lnTo>
                  <a:lnTo>
                    <a:pt x="794" y="74"/>
                  </a:lnTo>
                  <a:lnTo>
                    <a:pt x="830" y="77"/>
                  </a:lnTo>
                  <a:lnTo>
                    <a:pt x="864" y="81"/>
                  </a:lnTo>
                  <a:lnTo>
                    <a:pt x="898" y="87"/>
                  </a:lnTo>
                  <a:lnTo>
                    <a:pt x="931" y="94"/>
                  </a:lnTo>
                  <a:lnTo>
                    <a:pt x="963" y="104"/>
                  </a:lnTo>
                  <a:lnTo>
                    <a:pt x="995" y="114"/>
                  </a:lnTo>
                  <a:lnTo>
                    <a:pt x="1026" y="126"/>
                  </a:lnTo>
                  <a:lnTo>
                    <a:pt x="1057" y="141"/>
                  </a:lnTo>
                  <a:lnTo>
                    <a:pt x="1087" y="156"/>
                  </a:lnTo>
                  <a:lnTo>
                    <a:pt x="1116" y="172"/>
                  </a:lnTo>
                  <a:lnTo>
                    <a:pt x="1143" y="190"/>
                  </a:lnTo>
                  <a:lnTo>
                    <a:pt x="1170" y="209"/>
                  </a:lnTo>
                  <a:lnTo>
                    <a:pt x="1197" y="230"/>
                  </a:lnTo>
                  <a:lnTo>
                    <a:pt x="1221" y="252"/>
                  </a:lnTo>
                  <a:lnTo>
                    <a:pt x="1245" y="274"/>
                  </a:lnTo>
                  <a:lnTo>
                    <a:pt x="1268" y="299"/>
                  </a:lnTo>
                  <a:lnTo>
                    <a:pt x="1289" y="323"/>
                  </a:lnTo>
                  <a:lnTo>
                    <a:pt x="1309" y="348"/>
                  </a:lnTo>
                  <a:lnTo>
                    <a:pt x="1329" y="375"/>
                  </a:lnTo>
                  <a:lnTo>
                    <a:pt x="1346" y="404"/>
                  </a:lnTo>
                  <a:lnTo>
                    <a:pt x="1363" y="432"/>
                  </a:lnTo>
                  <a:lnTo>
                    <a:pt x="1379" y="462"/>
                  </a:lnTo>
                  <a:lnTo>
                    <a:pt x="1392" y="492"/>
                  </a:lnTo>
                  <a:lnTo>
                    <a:pt x="1405" y="523"/>
                  </a:lnTo>
                  <a:lnTo>
                    <a:pt x="1416" y="556"/>
                  </a:lnTo>
                  <a:lnTo>
                    <a:pt x="1425" y="588"/>
                  </a:lnTo>
                  <a:lnTo>
                    <a:pt x="1433" y="622"/>
                  </a:lnTo>
                  <a:lnTo>
                    <a:pt x="1439" y="656"/>
                  </a:lnTo>
                  <a:lnTo>
                    <a:pt x="1443" y="690"/>
                  </a:lnTo>
                  <a:lnTo>
                    <a:pt x="1446" y="724"/>
                  </a:lnTo>
                  <a:lnTo>
                    <a:pt x="1446" y="760"/>
                  </a:lnTo>
                  <a:lnTo>
                    <a:pt x="1446" y="795"/>
                  </a:lnTo>
                  <a:lnTo>
                    <a:pt x="1443" y="829"/>
                  </a:lnTo>
                  <a:lnTo>
                    <a:pt x="1439" y="864"/>
                  </a:lnTo>
                  <a:lnTo>
                    <a:pt x="1433" y="898"/>
                  </a:lnTo>
                  <a:lnTo>
                    <a:pt x="1425" y="932"/>
                  </a:lnTo>
                  <a:lnTo>
                    <a:pt x="1416" y="963"/>
                  </a:lnTo>
                  <a:lnTo>
                    <a:pt x="1405" y="996"/>
                  </a:lnTo>
                  <a:lnTo>
                    <a:pt x="1392" y="1027"/>
                  </a:lnTo>
                  <a:lnTo>
                    <a:pt x="1379" y="1057"/>
                  </a:lnTo>
                  <a:lnTo>
                    <a:pt x="1363" y="1087"/>
                  </a:lnTo>
                  <a:lnTo>
                    <a:pt x="1346" y="1116"/>
                  </a:lnTo>
                  <a:lnTo>
                    <a:pt x="1329" y="1144"/>
                  </a:lnTo>
                  <a:lnTo>
                    <a:pt x="1309" y="1171"/>
                  </a:lnTo>
                  <a:lnTo>
                    <a:pt x="1289" y="1197"/>
                  </a:lnTo>
                  <a:lnTo>
                    <a:pt x="1268" y="1222"/>
                  </a:lnTo>
                  <a:lnTo>
                    <a:pt x="1245" y="1245"/>
                  </a:lnTo>
                  <a:lnTo>
                    <a:pt x="1221" y="1268"/>
                  </a:lnTo>
                  <a:lnTo>
                    <a:pt x="1197" y="1289"/>
                  </a:lnTo>
                  <a:lnTo>
                    <a:pt x="1170" y="1311"/>
                  </a:lnTo>
                  <a:lnTo>
                    <a:pt x="1143" y="1329"/>
                  </a:lnTo>
                  <a:lnTo>
                    <a:pt x="1116" y="1348"/>
                  </a:lnTo>
                  <a:lnTo>
                    <a:pt x="1087" y="1365"/>
                  </a:lnTo>
                  <a:lnTo>
                    <a:pt x="1057" y="1379"/>
                  </a:lnTo>
                  <a:lnTo>
                    <a:pt x="1026" y="1393"/>
                  </a:lnTo>
                  <a:lnTo>
                    <a:pt x="995" y="1406"/>
                  </a:lnTo>
                  <a:lnTo>
                    <a:pt x="963" y="1416"/>
                  </a:lnTo>
                  <a:lnTo>
                    <a:pt x="931" y="1426"/>
                  </a:lnTo>
                  <a:lnTo>
                    <a:pt x="898" y="1433"/>
                  </a:lnTo>
                  <a:lnTo>
                    <a:pt x="864" y="1439"/>
                  </a:lnTo>
                  <a:lnTo>
                    <a:pt x="830" y="1443"/>
                  </a:lnTo>
                  <a:lnTo>
                    <a:pt x="794" y="1446"/>
                  </a:lnTo>
                  <a:lnTo>
                    <a:pt x="760" y="1447"/>
                  </a:lnTo>
                  <a:close/>
                  <a:moveTo>
                    <a:pt x="760" y="0"/>
                  </a:moveTo>
                  <a:lnTo>
                    <a:pt x="760" y="0"/>
                  </a:lnTo>
                  <a:lnTo>
                    <a:pt x="720" y="1"/>
                  </a:lnTo>
                  <a:lnTo>
                    <a:pt x="682" y="4"/>
                  </a:lnTo>
                  <a:lnTo>
                    <a:pt x="643" y="8"/>
                  </a:lnTo>
                  <a:lnTo>
                    <a:pt x="606" y="15"/>
                  </a:lnTo>
                  <a:lnTo>
                    <a:pt x="569" y="24"/>
                  </a:lnTo>
                  <a:lnTo>
                    <a:pt x="533" y="34"/>
                  </a:lnTo>
                  <a:lnTo>
                    <a:pt x="498" y="45"/>
                  </a:lnTo>
                  <a:lnTo>
                    <a:pt x="464" y="60"/>
                  </a:lnTo>
                  <a:lnTo>
                    <a:pt x="430" y="75"/>
                  </a:lnTo>
                  <a:lnTo>
                    <a:pt x="397" y="92"/>
                  </a:lnTo>
                  <a:lnTo>
                    <a:pt x="366" y="109"/>
                  </a:lnTo>
                  <a:lnTo>
                    <a:pt x="334" y="129"/>
                  </a:lnTo>
                  <a:lnTo>
                    <a:pt x="304" y="151"/>
                  </a:lnTo>
                  <a:lnTo>
                    <a:pt x="276" y="173"/>
                  </a:lnTo>
                  <a:lnTo>
                    <a:pt x="249" y="198"/>
                  </a:lnTo>
                  <a:lnTo>
                    <a:pt x="222" y="223"/>
                  </a:lnTo>
                  <a:lnTo>
                    <a:pt x="196" y="249"/>
                  </a:lnTo>
                  <a:lnTo>
                    <a:pt x="173" y="277"/>
                  </a:lnTo>
                  <a:lnTo>
                    <a:pt x="151" y="306"/>
                  </a:lnTo>
                  <a:lnTo>
                    <a:pt x="129" y="336"/>
                  </a:lnTo>
                  <a:lnTo>
                    <a:pt x="109" y="366"/>
                  </a:lnTo>
                  <a:lnTo>
                    <a:pt x="91" y="398"/>
                  </a:lnTo>
                  <a:lnTo>
                    <a:pt x="74" y="431"/>
                  </a:lnTo>
                  <a:lnTo>
                    <a:pt x="59" y="464"/>
                  </a:lnTo>
                  <a:lnTo>
                    <a:pt x="45" y="499"/>
                  </a:lnTo>
                  <a:lnTo>
                    <a:pt x="34" y="533"/>
                  </a:lnTo>
                  <a:lnTo>
                    <a:pt x="22" y="570"/>
                  </a:lnTo>
                  <a:lnTo>
                    <a:pt x="14" y="607"/>
                  </a:lnTo>
                  <a:lnTo>
                    <a:pt x="8" y="644"/>
                  </a:lnTo>
                  <a:lnTo>
                    <a:pt x="3" y="681"/>
                  </a:lnTo>
                  <a:lnTo>
                    <a:pt x="0" y="721"/>
                  </a:lnTo>
                  <a:lnTo>
                    <a:pt x="0" y="760"/>
                  </a:lnTo>
                  <a:lnTo>
                    <a:pt x="0" y="798"/>
                  </a:lnTo>
                  <a:lnTo>
                    <a:pt x="3" y="838"/>
                  </a:lnTo>
                  <a:lnTo>
                    <a:pt x="8" y="875"/>
                  </a:lnTo>
                  <a:lnTo>
                    <a:pt x="14" y="912"/>
                  </a:lnTo>
                  <a:lnTo>
                    <a:pt x="22" y="949"/>
                  </a:lnTo>
                  <a:lnTo>
                    <a:pt x="34" y="986"/>
                  </a:lnTo>
                  <a:lnTo>
                    <a:pt x="45" y="1020"/>
                  </a:lnTo>
                  <a:lnTo>
                    <a:pt x="59" y="1056"/>
                  </a:lnTo>
                  <a:lnTo>
                    <a:pt x="74" y="1089"/>
                  </a:lnTo>
                  <a:lnTo>
                    <a:pt x="91" y="1121"/>
                  </a:lnTo>
                  <a:lnTo>
                    <a:pt x="109" y="1154"/>
                  </a:lnTo>
                  <a:lnTo>
                    <a:pt x="129" y="1184"/>
                  </a:lnTo>
                  <a:lnTo>
                    <a:pt x="151" y="1214"/>
                  </a:lnTo>
                  <a:lnTo>
                    <a:pt x="173" y="1242"/>
                  </a:lnTo>
                  <a:lnTo>
                    <a:pt x="196" y="1271"/>
                  </a:lnTo>
                  <a:lnTo>
                    <a:pt x="222" y="1296"/>
                  </a:lnTo>
                  <a:lnTo>
                    <a:pt x="249" y="1322"/>
                  </a:lnTo>
                  <a:lnTo>
                    <a:pt x="276" y="1346"/>
                  </a:lnTo>
                  <a:lnTo>
                    <a:pt x="304" y="1369"/>
                  </a:lnTo>
                  <a:lnTo>
                    <a:pt x="334" y="1390"/>
                  </a:lnTo>
                  <a:lnTo>
                    <a:pt x="366" y="1410"/>
                  </a:lnTo>
                  <a:lnTo>
                    <a:pt x="397" y="1427"/>
                  </a:lnTo>
                  <a:lnTo>
                    <a:pt x="430" y="1444"/>
                  </a:lnTo>
                  <a:lnTo>
                    <a:pt x="464" y="1460"/>
                  </a:lnTo>
                  <a:lnTo>
                    <a:pt x="498" y="1474"/>
                  </a:lnTo>
                  <a:lnTo>
                    <a:pt x="533" y="1486"/>
                  </a:lnTo>
                  <a:lnTo>
                    <a:pt x="569" y="1496"/>
                  </a:lnTo>
                  <a:lnTo>
                    <a:pt x="606" y="1504"/>
                  </a:lnTo>
                  <a:lnTo>
                    <a:pt x="643" y="1511"/>
                  </a:lnTo>
                  <a:lnTo>
                    <a:pt x="682" y="1515"/>
                  </a:lnTo>
                  <a:lnTo>
                    <a:pt x="720" y="1518"/>
                  </a:lnTo>
                  <a:lnTo>
                    <a:pt x="760" y="1520"/>
                  </a:lnTo>
                  <a:lnTo>
                    <a:pt x="798" y="1518"/>
                  </a:lnTo>
                  <a:lnTo>
                    <a:pt x="837" y="1515"/>
                  </a:lnTo>
                  <a:lnTo>
                    <a:pt x="875" y="1511"/>
                  </a:lnTo>
                  <a:lnTo>
                    <a:pt x="912" y="1504"/>
                  </a:lnTo>
                  <a:lnTo>
                    <a:pt x="949" y="1496"/>
                  </a:lnTo>
                  <a:lnTo>
                    <a:pt x="985" y="1486"/>
                  </a:lnTo>
                  <a:lnTo>
                    <a:pt x="1020" y="1474"/>
                  </a:lnTo>
                  <a:lnTo>
                    <a:pt x="1054" y="1460"/>
                  </a:lnTo>
                  <a:lnTo>
                    <a:pt x="1089" y="1444"/>
                  </a:lnTo>
                  <a:lnTo>
                    <a:pt x="1121" y="1427"/>
                  </a:lnTo>
                  <a:lnTo>
                    <a:pt x="1153" y="1410"/>
                  </a:lnTo>
                  <a:lnTo>
                    <a:pt x="1184" y="1390"/>
                  </a:lnTo>
                  <a:lnTo>
                    <a:pt x="1214" y="1369"/>
                  </a:lnTo>
                  <a:lnTo>
                    <a:pt x="1242" y="1346"/>
                  </a:lnTo>
                  <a:lnTo>
                    <a:pt x="1269" y="1322"/>
                  </a:lnTo>
                  <a:lnTo>
                    <a:pt x="1296" y="1296"/>
                  </a:lnTo>
                  <a:lnTo>
                    <a:pt x="1322" y="1271"/>
                  </a:lnTo>
                  <a:lnTo>
                    <a:pt x="1345" y="1242"/>
                  </a:lnTo>
                  <a:lnTo>
                    <a:pt x="1368" y="1214"/>
                  </a:lnTo>
                  <a:lnTo>
                    <a:pt x="1389" y="1184"/>
                  </a:lnTo>
                  <a:lnTo>
                    <a:pt x="1409" y="1154"/>
                  </a:lnTo>
                  <a:lnTo>
                    <a:pt x="1427" y="1121"/>
                  </a:lnTo>
                  <a:lnTo>
                    <a:pt x="1444" y="1089"/>
                  </a:lnTo>
                  <a:lnTo>
                    <a:pt x="1459" y="1056"/>
                  </a:lnTo>
                  <a:lnTo>
                    <a:pt x="1473" y="1020"/>
                  </a:lnTo>
                  <a:lnTo>
                    <a:pt x="1484" y="986"/>
                  </a:lnTo>
                  <a:lnTo>
                    <a:pt x="1496" y="949"/>
                  </a:lnTo>
                  <a:lnTo>
                    <a:pt x="1504" y="912"/>
                  </a:lnTo>
                  <a:lnTo>
                    <a:pt x="1510" y="875"/>
                  </a:lnTo>
                  <a:lnTo>
                    <a:pt x="1516" y="838"/>
                  </a:lnTo>
                  <a:lnTo>
                    <a:pt x="1518" y="798"/>
                  </a:lnTo>
                  <a:lnTo>
                    <a:pt x="1520" y="760"/>
                  </a:lnTo>
                  <a:lnTo>
                    <a:pt x="1518" y="721"/>
                  </a:lnTo>
                  <a:lnTo>
                    <a:pt x="1516" y="681"/>
                  </a:lnTo>
                  <a:lnTo>
                    <a:pt x="1510" y="644"/>
                  </a:lnTo>
                  <a:lnTo>
                    <a:pt x="1504" y="607"/>
                  </a:lnTo>
                  <a:lnTo>
                    <a:pt x="1496" y="570"/>
                  </a:lnTo>
                  <a:lnTo>
                    <a:pt x="1484" y="533"/>
                  </a:lnTo>
                  <a:lnTo>
                    <a:pt x="1473" y="499"/>
                  </a:lnTo>
                  <a:lnTo>
                    <a:pt x="1459" y="464"/>
                  </a:lnTo>
                  <a:lnTo>
                    <a:pt x="1444" y="431"/>
                  </a:lnTo>
                  <a:lnTo>
                    <a:pt x="1427" y="398"/>
                  </a:lnTo>
                  <a:lnTo>
                    <a:pt x="1409" y="366"/>
                  </a:lnTo>
                  <a:lnTo>
                    <a:pt x="1389" y="336"/>
                  </a:lnTo>
                  <a:lnTo>
                    <a:pt x="1368" y="306"/>
                  </a:lnTo>
                  <a:lnTo>
                    <a:pt x="1345" y="277"/>
                  </a:lnTo>
                  <a:lnTo>
                    <a:pt x="1322" y="249"/>
                  </a:lnTo>
                  <a:lnTo>
                    <a:pt x="1296" y="223"/>
                  </a:lnTo>
                  <a:lnTo>
                    <a:pt x="1269" y="198"/>
                  </a:lnTo>
                  <a:lnTo>
                    <a:pt x="1242" y="173"/>
                  </a:lnTo>
                  <a:lnTo>
                    <a:pt x="1214" y="151"/>
                  </a:lnTo>
                  <a:lnTo>
                    <a:pt x="1184" y="129"/>
                  </a:lnTo>
                  <a:lnTo>
                    <a:pt x="1153" y="109"/>
                  </a:lnTo>
                  <a:lnTo>
                    <a:pt x="1121" y="92"/>
                  </a:lnTo>
                  <a:lnTo>
                    <a:pt x="1089" y="75"/>
                  </a:lnTo>
                  <a:lnTo>
                    <a:pt x="1054" y="60"/>
                  </a:lnTo>
                  <a:lnTo>
                    <a:pt x="1020" y="45"/>
                  </a:lnTo>
                  <a:lnTo>
                    <a:pt x="985" y="34"/>
                  </a:lnTo>
                  <a:lnTo>
                    <a:pt x="949" y="24"/>
                  </a:lnTo>
                  <a:lnTo>
                    <a:pt x="912" y="15"/>
                  </a:lnTo>
                  <a:lnTo>
                    <a:pt x="875" y="8"/>
                  </a:lnTo>
                  <a:lnTo>
                    <a:pt x="837" y="4"/>
                  </a:lnTo>
                  <a:lnTo>
                    <a:pt x="798" y="1"/>
                  </a:lnTo>
                  <a:lnTo>
                    <a:pt x="76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125" name="Freeform 50"/>
            <p:cNvSpPr>
              <a:spLocks/>
            </p:cNvSpPr>
            <p:nvPr/>
          </p:nvSpPr>
          <p:spPr bwMode="auto">
            <a:xfrm>
              <a:off x="5697208" y="2691035"/>
              <a:ext cx="38100" cy="39687"/>
            </a:xfrm>
            <a:custGeom>
              <a:avLst/>
              <a:gdLst>
                <a:gd name="T0" fmla="*/ 19579 w 72"/>
                <a:gd name="T1" fmla="*/ 0 h 73"/>
                <a:gd name="T2" fmla="*/ 19579 w 72"/>
                <a:gd name="T3" fmla="*/ 0 h 73"/>
                <a:gd name="T4" fmla="*/ 14817 w 72"/>
                <a:gd name="T5" fmla="*/ 1087 h 73"/>
                <a:gd name="T6" fmla="*/ 11113 w 72"/>
                <a:gd name="T7" fmla="*/ 1631 h 73"/>
                <a:gd name="T8" fmla="*/ 7937 w 72"/>
                <a:gd name="T9" fmla="*/ 3262 h 73"/>
                <a:gd name="T10" fmla="*/ 5292 w 72"/>
                <a:gd name="T11" fmla="*/ 5437 h 73"/>
                <a:gd name="T12" fmla="*/ 2646 w 72"/>
                <a:gd name="T13" fmla="*/ 8699 h 73"/>
                <a:gd name="T14" fmla="*/ 1058 w 72"/>
                <a:gd name="T15" fmla="*/ 11960 h 73"/>
                <a:gd name="T16" fmla="*/ 0 w 72"/>
                <a:gd name="T17" fmla="*/ 15766 h 73"/>
                <a:gd name="T18" fmla="*/ 0 w 72"/>
                <a:gd name="T19" fmla="*/ 20115 h 73"/>
                <a:gd name="T20" fmla="*/ 0 w 72"/>
                <a:gd name="T21" fmla="*/ 20115 h 73"/>
                <a:gd name="T22" fmla="*/ 0 w 72"/>
                <a:gd name="T23" fmla="*/ 23921 h 73"/>
                <a:gd name="T24" fmla="*/ 1058 w 72"/>
                <a:gd name="T25" fmla="*/ 28270 h 73"/>
                <a:gd name="T26" fmla="*/ 2646 w 72"/>
                <a:gd name="T27" fmla="*/ 30988 h 73"/>
                <a:gd name="T28" fmla="*/ 5292 w 72"/>
                <a:gd name="T29" fmla="*/ 34250 h 73"/>
                <a:gd name="T30" fmla="*/ 7937 w 72"/>
                <a:gd name="T31" fmla="*/ 36425 h 73"/>
                <a:gd name="T32" fmla="*/ 11113 w 72"/>
                <a:gd name="T33" fmla="*/ 38056 h 73"/>
                <a:gd name="T34" fmla="*/ 14817 w 72"/>
                <a:gd name="T35" fmla="*/ 39687 h 73"/>
                <a:gd name="T36" fmla="*/ 19579 w 72"/>
                <a:gd name="T37" fmla="*/ 39687 h 73"/>
                <a:gd name="T38" fmla="*/ 19579 w 72"/>
                <a:gd name="T39" fmla="*/ 39687 h 73"/>
                <a:gd name="T40" fmla="*/ 23283 w 72"/>
                <a:gd name="T41" fmla="*/ 39687 h 73"/>
                <a:gd name="T42" fmla="*/ 26987 w 72"/>
                <a:gd name="T43" fmla="*/ 38056 h 73"/>
                <a:gd name="T44" fmla="*/ 30162 w 72"/>
                <a:gd name="T45" fmla="*/ 36425 h 73"/>
                <a:gd name="T46" fmla="*/ 32808 w 72"/>
                <a:gd name="T47" fmla="*/ 34250 h 73"/>
                <a:gd name="T48" fmla="*/ 35454 w 72"/>
                <a:gd name="T49" fmla="*/ 30988 h 73"/>
                <a:gd name="T50" fmla="*/ 36513 w 72"/>
                <a:gd name="T51" fmla="*/ 28270 h 73"/>
                <a:gd name="T52" fmla="*/ 38100 w 72"/>
                <a:gd name="T53" fmla="*/ 23921 h 73"/>
                <a:gd name="T54" fmla="*/ 38100 w 72"/>
                <a:gd name="T55" fmla="*/ 20115 h 73"/>
                <a:gd name="T56" fmla="*/ 38100 w 72"/>
                <a:gd name="T57" fmla="*/ 20115 h 73"/>
                <a:gd name="T58" fmla="*/ 38100 w 72"/>
                <a:gd name="T59" fmla="*/ 15766 h 73"/>
                <a:gd name="T60" fmla="*/ 36513 w 72"/>
                <a:gd name="T61" fmla="*/ 11960 h 73"/>
                <a:gd name="T62" fmla="*/ 35454 w 72"/>
                <a:gd name="T63" fmla="*/ 8699 h 73"/>
                <a:gd name="T64" fmla="*/ 32808 w 72"/>
                <a:gd name="T65" fmla="*/ 5437 h 73"/>
                <a:gd name="T66" fmla="*/ 30162 w 72"/>
                <a:gd name="T67" fmla="*/ 3262 h 73"/>
                <a:gd name="T68" fmla="*/ 26987 w 72"/>
                <a:gd name="T69" fmla="*/ 1631 h 73"/>
                <a:gd name="T70" fmla="*/ 23283 w 72"/>
                <a:gd name="T71" fmla="*/ 1087 h 73"/>
                <a:gd name="T72" fmla="*/ 19579 w 72"/>
                <a:gd name="T73" fmla="*/ 0 h 73"/>
                <a:gd name="T74" fmla="*/ 19579 w 72"/>
                <a:gd name="T75" fmla="*/ 0 h 7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72" h="73">
                  <a:moveTo>
                    <a:pt x="37" y="0"/>
                  </a:moveTo>
                  <a:lnTo>
                    <a:pt x="37" y="0"/>
                  </a:lnTo>
                  <a:lnTo>
                    <a:pt x="28" y="2"/>
                  </a:lnTo>
                  <a:lnTo>
                    <a:pt x="21" y="3"/>
                  </a:lnTo>
                  <a:lnTo>
                    <a:pt x="15" y="6"/>
                  </a:lnTo>
                  <a:lnTo>
                    <a:pt x="10" y="10"/>
                  </a:lnTo>
                  <a:lnTo>
                    <a:pt x="5" y="16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7"/>
                  </a:lnTo>
                  <a:lnTo>
                    <a:pt x="0" y="44"/>
                  </a:lnTo>
                  <a:lnTo>
                    <a:pt x="2" y="52"/>
                  </a:lnTo>
                  <a:lnTo>
                    <a:pt x="5" y="57"/>
                  </a:lnTo>
                  <a:lnTo>
                    <a:pt x="10" y="63"/>
                  </a:lnTo>
                  <a:lnTo>
                    <a:pt x="15" y="67"/>
                  </a:lnTo>
                  <a:lnTo>
                    <a:pt x="21" y="70"/>
                  </a:lnTo>
                  <a:lnTo>
                    <a:pt x="28" y="73"/>
                  </a:lnTo>
                  <a:lnTo>
                    <a:pt x="37" y="73"/>
                  </a:lnTo>
                  <a:lnTo>
                    <a:pt x="44" y="73"/>
                  </a:lnTo>
                  <a:lnTo>
                    <a:pt x="51" y="70"/>
                  </a:lnTo>
                  <a:lnTo>
                    <a:pt x="57" y="67"/>
                  </a:lnTo>
                  <a:lnTo>
                    <a:pt x="62" y="63"/>
                  </a:lnTo>
                  <a:lnTo>
                    <a:pt x="67" y="57"/>
                  </a:lnTo>
                  <a:lnTo>
                    <a:pt x="69" y="52"/>
                  </a:lnTo>
                  <a:lnTo>
                    <a:pt x="72" y="44"/>
                  </a:lnTo>
                  <a:lnTo>
                    <a:pt x="72" y="37"/>
                  </a:lnTo>
                  <a:lnTo>
                    <a:pt x="72" y="29"/>
                  </a:lnTo>
                  <a:lnTo>
                    <a:pt x="69" y="22"/>
                  </a:lnTo>
                  <a:lnTo>
                    <a:pt x="67" y="16"/>
                  </a:lnTo>
                  <a:lnTo>
                    <a:pt x="62" y="10"/>
                  </a:lnTo>
                  <a:lnTo>
                    <a:pt x="57" y="6"/>
                  </a:lnTo>
                  <a:lnTo>
                    <a:pt x="51" y="3"/>
                  </a:lnTo>
                  <a:lnTo>
                    <a:pt x="44" y="2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126" name="Freeform 51"/>
            <p:cNvSpPr>
              <a:spLocks/>
            </p:cNvSpPr>
            <p:nvPr/>
          </p:nvSpPr>
          <p:spPr bwMode="auto">
            <a:xfrm>
              <a:off x="5547983" y="2379885"/>
              <a:ext cx="74613" cy="123825"/>
            </a:xfrm>
            <a:custGeom>
              <a:avLst/>
              <a:gdLst>
                <a:gd name="T0" fmla="*/ 41332 w 139"/>
                <a:gd name="T1" fmla="*/ 0 h 233"/>
                <a:gd name="T2" fmla="*/ 19861 w 139"/>
                <a:gd name="T3" fmla="*/ 0 h 233"/>
                <a:gd name="T4" fmla="*/ 19861 w 139"/>
                <a:gd name="T5" fmla="*/ 0 h 233"/>
                <a:gd name="T6" fmla="*/ 15030 w 139"/>
                <a:gd name="T7" fmla="*/ 0 h 233"/>
                <a:gd name="T8" fmla="*/ 11272 w 139"/>
                <a:gd name="T9" fmla="*/ 1594 h 233"/>
                <a:gd name="T10" fmla="*/ 8052 w 139"/>
                <a:gd name="T11" fmla="*/ 3189 h 233"/>
                <a:gd name="T12" fmla="*/ 5368 w 139"/>
                <a:gd name="T13" fmla="*/ 5314 h 233"/>
                <a:gd name="T14" fmla="*/ 3221 w 139"/>
                <a:gd name="T15" fmla="*/ 8503 h 233"/>
                <a:gd name="T16" fmla="*/ 1610 w 139"/>
                <a:gd name="T17" fmla="*/ 11160 h 233"/>
                <a:gd name="T18" fmla="*/ 537 w 139"/>
                <a:gd name="T19" fmla="*/ 15412 h 233"/>
                <a:gd name="T20" fmla="*/ 0 w 139"/>
                <a:gd name="T21" fmla="*/ 19132 h 233"/>
                <a:gd name="T22" fmla="*/ 0 w 139"/>
                <a:gd name="T23" fmla="*/ 19132 h 233"/>
                <a:gd name="T24" fmla="*/ 537 w 139"/>
                <a:gd name="T25" fmla="*/ 23383 h 233"/>
                <a:gd name="T26" fmla="*/ 1610 w 139"/>
                <a:gd name="T27" fmla="*/ 27103 h 233"/>
                <a:gd name="T28" fmla="*/ 3221 w 139"/>
                <a:gd name="T29" fmla="*/ 30292 h 233"/>
                <a:gd name="T30" fmla="*/ 5368 w 139"/>
                <a:gd name="T31" fmla="*/ 33481 h 233"/>
                <a:gd name="T32" fmla="*/ 8052 w 139"/>
                <a:gd name="T33" fmla="*/ 35606 h 233"/>
                <a:gd name="T34" fmla="*/ 11272 w 139"/>
                <a:gd name="T35" fmla="*/ 37201 h 233"/>
                <a:gd name="T36" fmla="*/ 15030 w 139"/>
                <a:gd name="T37" fmla="*/ 37732 h 233"/>
                <a:gd name="T38" fmla="*/ 19861 w 139"/>
                <a:gd name="T39" fmla="*/ 38795 h 233"/>
                <a:gd name="T40" fmla="*/ 35965 w 139"/>
                <a:gd name="T41" fmla="*/ 38795 h 233"/>
                <a:gd name="T42" fmla="*/ 35965 w 139"/>
                <a:gd name="T43" fmla="*/ 104162 h 233"/>
                <a:gd name="T44" fmla="*/ 35965 w 139"/>
                <a:gd name="T45" fmla="*/ 104162 h 233"/>
                <a:gd name="T46" fmla="*/ 36501 w 139"/>
                <a:gd name="T47" fmla="*/ 108945 h 233"/>
                <a:gd name="T48" fmla="*/ 37575 w 139"/>
                <a:gd name="T49" fmla="*/ 112665 h 233"/>
                <a:gd name="T50" fmla="*/ 38648 w 139"/>
                <a:gd name="T51" fmla="*/ 115853 h 233"/>
                <a:gd name="T52" fmla="*/ 41332 w 139"/>
                <a:gd name="T53" fmla="*/ 119042 h 233"/>
                <a:gd name="T54" fmla="*/ 44016 w 139"/>
                <a:gd name="T55" fmla="*/ 121168 h 233"/>
                <a:gd name="T56" fmla="*/ 47774 w 139"/>
                <a:gd name="T57" fmla="*/ 122762 h 233"/>
                <a:gd name="T58" fmla="*/ 50994 w 139"/>
                <a:gd name="T59" fmla="*/ 123294 h 233"/>
                <a:gd name="T60" fmla="*/ 55826 w 139"/>
                <a:gd name="T61" fmla="*/ 123825 h 233"/>
                <a:gd name="T62" fmla="*/ 55826 w 139"/>
                <a:gd name="T63" fmla="*/ 123825 h 233"/>
                <a:gd name="T64" fmla="*/ 59583 w 139"/>
                <a:gd name="T65" fmla="*/ 123294 h 233"/>
                <a:gd name="T66" fmla="*/ 63341 w 139"/>
                <a:gd name="T67" fmla="*/ 122762 h 233"/>
                <a:gd name="T68" fmla="*/ 67098 w 139"/>
                <a:gd name="T69" fmla="*/ 121168 h 233"/>
                <a:gd name="T70" fmla="*/ 69245 w 139"/>
                <a:gd name="T71" fmla="*/ 119042 h 233"/>
                <a:gd name="T72" fmla="*/ 71929 w 139"/>
                <a:gd name="T73" fmla="*/ 115853 h 233"/>
                <a:gd name="T74" fmla="*/ 74076 w 139"/>
                <a:gd name="T75" fmla="*/ 112665 h 233"/>
                <a:gd name="T76" fmla="*/ 74613 w 139"/>
                <a:gd name="T77" fmla="*/ 108945 h 233"/>
                <a:gd name="T78" fmla="*/ 74613 w 139"/>
                <a:gd name="T79" fmla="*/ 104162 h 233"/>
                <a:gd name="T80" fmla="*/ 74613 w 139"/>
                <a:gd name="T81" fmla="*/ 33481 h 233"/>
                <a:gd name="T82" fmla="*/ 74613 w 139"/>
                <a:gd name="T83" fmla="*/ 33481 h 233"/>
                <a:gd name="T84" fmla="*/ 74613 w 139"/>
                <a:gd name="T85" fmla="*/ 26572 h 233"/>
                <a:gd name="T86" fmla="*/ 72466 w 139"/>
                <a:gd name="T87" fmla="*/ 19663 h 233"/>
                <a:gd name="T88" fmla="*/ 69245 w 139"/>
                <a:gd name="T89" fmla="*/ 14349 h 233"/>
                <a:gd name="T90" fmla="*/ 65488 w 139"/>
                <a:gd name="T91" fmla="*/ 9034 h 233"/>
                <a:gd name="T92" fmla="*/ 61193 w 139"/>
                <a:gd name="T93" fmla="*/ 5314 h 233"/>
                <a:gd name="T94" fmla="*/ 54752 w 139"/>
                <a:gd name="T95" fmla="*/ 2126 h 233"/>
                <a:gd name="T96" fmla="*/ 47774 w 139"/>
                <a:gd name="T97" fmla="*/ 1063 h 233"/>
                <a:gd name="T98" fmla="*/ 41332 w 139"/>
                <a:gd name="T99" fmla="*/ 0 h 233"/>
                <a:gd name="T100" fmla="*/ 41332 w 139"/>
                <a:gd name="T101" fmla="*/ 0 h 23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39" h="233">
                  <a:moveTo>
                    <a:pt x="77" y="0"/>
                  </a:moveTo>
                  <a:lnTo>
                    <a:pt x="37" y="0"/>
                  </a:lnTo>
                  <a:lnTo>
                    <a:pt x="28" y="0"/>
                  </a:lnTo>
                  <a:lnTo>
                    <a:pt x="21" y="3"/>
                  </a:lnTo>
                  <a:lnTo>
                    <a:pt x="15" y="6"/>
                  </a:lnTo>
                  <a:lnTo>
                    <a:pt x="10" y="10"/>
                  </a:lnTo>
                  <a:lnTo>
                    <a:pt x="6" y="16"/>
                  </a:lnTo>
                  <a:lnTo>
                    <a:pt x="3" y="21"/>
                  </a:lnTo>
                  <a:lnTo>
                    <a:pt x="1" y="29"/>
                  </a:lnTo>
                  <a:lnTo>
                    <a:pt x="0" y="36"/>
                  </a:lnTo>
                  <a:lnTo>
                    <a:pt x="1" y="44"/>
                  </a:lnTo>
                  <a:lnTo>
                    <a:pt x="3" y="51"/>
                  </a:lnTo>
                  <a:lnTo>
                    <a:pt x="6" y="57"/>
                  </a:lnTo>
                  <a:lnTo>
                    <a:pt x="10" y="63"/>
                  </a:lnTo>
                  <a:lnTo>
                    <a:pt x="15" y="67"/>
                  </a:lnTo>
                  <a:lnTo>
                    <a:pt x="21" y="70"/>
                  </a:lnTo>
                  <a:lnTo>
                    <a:pt x="28" y="71"/>
                  </a:lnTo>
                  <a:lnTo>
                    <a:pt x="37" y="73"/>
                  </a:lnTo>
                  <a:lnTo>
                    <a:pt x="67" y="73"/>
                  </a:lnTo>
                  <a:lnTo>
                    <a:pt x="67" y="196"/>
                  </a:lnTo>
                  <a:lnTo>
                    <a:pt x="68" y="205"/>
                  </a:lnTo>
                  <a:lnTo>
                    <a:pt x="70" y="212"/>
                  </a:lnTo>
                  <a:lnTo>
                    <a:pt x="72" y="218"/>
                  </a:lnTo>
                  <a:lnTo>
                    <a:pt x="77" y="224"/>
                  </a:lnTo>
                  <a:lnTo>
                    <a:pt x="82" y="228"/>
                  </a:lnTo>
                  <a:lnTo>
                    <a:pt x="89" y="231"/>
                  </a:lnTo>
                  <a:lnTo>
                    <a:pt x="95" y="232"/>
                  </a:lnTo>
                  <a:lnTo>
                    <a:pt x="104" y="233"/>
                  </a:lnTo>
                  <a:lnTo>
                    <a:pt x="111" y="232"/>
                  </a:lnTo>
                  <a:lnTo>
                    <a:pt x="118" y="231"/>
                  </a:lnTo>
                  <a:lnTo>
                    <a:pt x="125" y="228"/>
                  </a:lnTo>
                  <a:lnTo>
                    <a:pt x="129" y="224"/>
                  </a:lnTo>
                  <a:lnTo>
                    <a:pt x="134" y="218"/>
                  </a:lnTo>
                  <a:lnTo>
                    <a:pt x="138" y="212"/>
                  </a:lnTo>
                  <a:lnTo>
                    <a:pt x="139" y="205"/>
                  </a:lnTo>
                  <a:lnTo>
                    <a:pt x="139" y="196"/>
                  </a:lnTo>
                  <a:lnTo>
                    <a:pt x="139" y="63"/>
                  </a:lnTo>
                  <a:lnTo>
                    <a:pt x="139" y="50"/>
                  </a:lnTo>
                  <a:lnTo>
                    <a:pt x="135" y="37"/>
                  </a:lnTo>
                  <a:lnTo>
                    <a:pt x="129" y="27"/>
                  </a:lnTo>
                  <a:lnTo>
                    <a:pt x="122" y="17"/>
                  </a:lnTo>
                  <a:lnTo>
                    <a:pt x="114" y="10"/>
                  </a:lnTo>
                  <a:lnTo>
                    <a:pt x="102" y="4"/>
                  </a:lnTo>
                  <a:lnTo>
                    <a:pt x="89" y="2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127" name="Freeform 52"/>
            <p:cNvSpPr>
              <a:spLocks/>
            </p:cNvSpPr>
            <p:nvPr/>
          </p:nvSpPr>
          <p:spPr bwMode="auto">
            <a:xfrm>
              <a:off x="5627358" y="2379885"/>
              <a:ext cx="79375" cy="123825"/>
            </a:xfrm>
            <a:custGeom>
              <a:avLst/>
              <a:gdLst>
                <a:gd name="T0" fmla="*/ 18277 w 152"/>
                <a:gd name="T1" fmla="*/ 0 h 233"/>
                <a:gd name="T2" fmla="*/ 14622 w 152"/>
                <a:gd name="T3" fmla="*/ 0 h 233"/>
                <a:gd name="T4" fmla="*/ 8355 w 152"/>
                <a:gd name="T5" fmla="*/ 3189 h 233"/>
                <a:gd name="T6" fmla="*/ 3133 w 152"/>
                <a:gd name="T7" fmla="*/ 8503 h 233"/>
                <a:gd name="T8" fmla="*/ 0 w 152"/>
                <a:gd name="T9" fmla="*/ 15412 h 233"/>
                <a:gd name="T10" fmla="*/ 0 w 152"/>
                <a:gd name="T11" fmla="*/ 19132 h 233"/>
                <a:gd name="T12" fmla="*/ 1567 w 152"/>
                <a:gd name="T13" fmla="*/ 27103 h 233"/>
                <a:gd name="T14" fmla="*/ 5222 w 152"/>
                <a:gd name="T15" fmla="*/ 33481 h 233"/>
                <a:gd name="T16" fmla="*/ 10966 w 152"/>
                <a:gd name="T17" fmla="*/ 37201 h 233"/>
                <a:gd name="T18" fmla="*/ 18277 w 152"/>
                <a:gd name="T19" fmla="*/ 38795 h 233"/>
                <a:gd name="T20" fmla="*/ 41776 w 152"/>
                <a:gd name="T21" fmla="*/ 42515 h 233"/>
                <a:gd name="T22" fmla="*/ 32377 w 152"/>
                <a:gd name="T23" fmla="*/ 42515 h 233"/>
                <a:gd name="T24" fmla="*/ 19322 w 152"/>
                <a:gd name="T25" fmla="*/ 45172 h 233"/>
                <a:gd name="T26" fmla="*/ 8877 w 152"/>
                <a:gd name="T27" fmla="*/ 52081 h 233"/>
                <a:gd name="T28" fmla="*/ 2089 w 152"/>
                <a:gd name="T29" fmla="*/ 62710 h 233"/>
                <a:gd name="T30" fmla="*/ 0 w 152"/>
                <a:gd name="T31" fmla="*/ 76527 h 233"/>
                <a:gd name="T32" fmla="*/ 0 w 152"/>
                <a:gd name="T33" fmla="*/ 89813 h 233"/>
                <a:gd name="T34" fmla="*/ 2089 w 152"/>
                <a:gd name="T35" fmla="*/ 103630 h 233"/>
                <a:gd name="T36" fmla="*/ 8877 w 152"/>
                <a:gd name="T37" fmla="*/ 114259 h 233"/>
                <a:gd name="T38" fmla="*/ 19322 w 152"/>
                <a:gd name="T39" fmla="*/ 121699 h 233"/>
                <a:gd name="T40" fmla="*/ 32377 w 152"/>
                <a:gd name="T41" fmla="*/ 123825 h 233"/>
                <a:gd name="T42" fmla="*/ 61098 w 152"/>
                <a:gd name="T43" fmla="*/ 123825 h 233"/>
                <a:gd name="T44" fmla="*/ 68409 w 152"/>
                <a:gd name="T45" fmla="*/ 122762 h 233"/>
                <a:gd name="T46" fmla="*/ 74153 w 152"/>
                <a:gd name="T47" fmla="*/ 119042 h 233"/>
                <a:gd name="T48" fmla="*/ 78853 w 152"/>
                <a:gd name="T49" fmla="*/ 112665 h 233"/>
                <a:gd name="T50" fmla="*/ 79375 w 152"/>
                <a:gd name="T51" fmla="*/ 104162 h 233"/>
                <a:gd name="T52" fmla="*/ 79375 w 152"/>
                <a:gd name="T53" fmla="*/ 100442 h 233"/>
                <a:gd name="T54" fmla="*/ 76242 w 152"/>
                <a:gd name="T55" fmla="*/ 94064 h 233"/>
                <a:gd name="T56" fmla="*/ 72064 w 152"/>
                <a:gd name="T57" fmla="*/ 88750 h 233"/>
                <a:gd name="T58" fmla="*/ 64753 w 152"/>
                <a:gd name="T59" fmla="*/ 85561 h 233"/>
                <a:gd name="T60" fmla="*/ 37599 w 152"/>
                <a:gd name="T61" fmla="*/ 85561 h 233"/>
                <a:gd name="T62" fmla="*/ 46998 w 152"/>
                <a:gd name="T63" fmla="*/ 80779 h 233"/>
                <a:gd name="T64" fmla="*/ 53265 w 152"/>
                <a:gd name="T65" fmla="*/ 80779 h 233"/>
                <a:gd name="T66" fmla="*/ 66320 w 152"/>
                <a:gd name="T67" fmla="*/ 75464 h 233"/>
                <a:gd name="T68" fmla="*/ 74153 w 152"/>
                <a:gd name="T69" fmla="*/ 67493 h 233"/>
                <a:gd name="T70" fmla="*/ 79375 w 152"/>
                <a:gd name="T71" fmla="*/ 54738 h 233"/>
                <a:gd name="T72" fmla="*/ 79375 w 152"/>
                <a:gd name="T73" fmla="*/ 33481 h 233"/>
                <a:gd name="T74" fmla="*/ 79375 w 152"/>
                <a:gd name="T75" fmla="*/ 26572 h 233"/>
                <a:gd name="T76" fmla="*/ 74153 w 152"/>
                <a:gd name="T77" fmla="*/ 14349 h 233"/>
                <a:gd name="T78" fmla="*/ 66320 w 152"/>
                <a:gd name="T79" fmla="*/ 5314 h 233"/>
                <a:gd name="T80" fmla="*/ 53265 w 152"/>
                <a:gd name="T81" fmla="*/ 1063 h 233"/>
                <a:gd name="T82" fmla="*/ 46998 w 152"/>
                <a:gd name="T83" fmla="*/ 0 h 23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52" h="233">
                  <a:moveTo>
                    <a:pt x="90" y="0"/>
                  </a:moveTo>
                  <a:lnTo>
                    <a:pt x="35" y="0"/>
                  </a:lnTo>
                  <a:lnTo>
                    <a:pt x="28" y="0"/>
                  </a:lnTo>
                  <a:lnTo>
                    <a:pt x="21" y="3"/>
                  </a:lnTo>
                  <a:lnTo>
                    <a:pt x="16" y="6"/>
                  </a:lnTo>
                  <a:lnTo>
                    <a:pt x="10" y="10"/>
                  </a:lnTo>
                  <a:lnTo>
                    <a:pt x="6" y="16"/>
                  </a:lnTo>
                  <a:lnTo>
                    <a:pt x="3" y="21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4"/>
                  </a:lnTo>
                  <a:lnTo>
                    <a:pt x="3" y="51"/>
                  </a:lnTo>
                  <a:lnTo>
                    <a:pt x="6" y="57"/>
                  </a:lnTo>
                  <a:lnTo>
                    <a:pt x="10" y="63"/>
                  </a:lnTo>
                  <a:lnTo>
                    <a:pt x="16" y="67"/>
                  </a:lnTo>
                  <a:lnTo>
                    <a:pt x="21" y="70"/>
                  </a:lnTo>
                  <a:lnTo>
                    <a:pt x="28" y="71"/>
                  </a:lnTo>
                  <a:lnTo>
                    <a:pt x="35" y="73"/>
                  </a:lnTo>
                  <a:lnTo>
                    <a:pt x="80" y="73"/>
                  </a:lnTo>
                  <a:lnTo>
                    <a:pt x="80" y="80"/>
                  </a:lnTo>
                  <a:lnTo>
                    <a:pt x="62" y="80"/>
                  </a:lnTo>
                  <a:lnTo>
                    <a:pt x="50" y="81"/>
                  </a:lnTo>
                  <a:lnTo>
                    <a:pt x="37" y="85"/>
                  </a:lnTo>
                  <a:lnTo>
                    <a:pt x="27" y="90"/>
                  </a:lnTo>
                  <a:lnTo>
                    <a:pt x="17" y="98"/>
                  </a:lnTo>
                  <a:lnTo>
                    <a:pt x="10" y="107"/>
                  </a:lnTo>
                  <a:lnTo>
                    <a:pt x="4" y="118"/>
                  </a:lnTo>
                  <a:lnTo>
                    <a:pt x="1" y="130"/>
                  </a:lnTo>
                  <a:lnTo>
                    <a:pt x="0" y="144"/>
                  </a:lnTo>
                  <a:lnTo>
                    <a:pt x="0" y="169"/>
                  </a:lnTo>
                  <a:lnTo>
                    <a:pt x="1" y="184"/>
                  </a:lnTo>
                  <a:lnTo>
                    <a:pt x="4" y="195"/>
                  </a:lnTo>
                  <a:lnTo>
                    <a:pt x="10" y="206"/>
                  </a:lnTo>
                  <a:lnTo>
                    <a:pt x="17" y="215"/>
                  </a:lnTo>
                  <a:lnTo>
                    <a:pt x="27" y="224"/>
                  </a:lnTo>
                  <a:lnTo>
                    <a:pt x="37" y="229"/>
                  </a:lnTo>
                  <a:lnTo>
                    <a:pt x="50" y="232"/>
                  </a:lnTo>
                  <a:lnTo>
                    <a:pt x="62" y="233"/>
                  </a:lnTo>
                  <a:lnTo>
                    <a:pt x="117" y="233"/>
                  </a:lnTo>
                  <a:lnTo>
                    <a:pt x="124" y="232"/>
                  </a:lnTo>
                  <a:lnTo>
                    <a:pt x="131" y="231"/>
                  </a:lnTo>
                  <a:lnTo>
                    <a:pt x="138" y="228"/>
                  </a:lnTo>
                  <a:lnTo>
                    <a:pt x="142" y="224"/>
                  </a:lnTo>
                  <a:lnTo>
                    <a:pt x="146" y="218"/>
                  </a:lnTo>
                  <a:lnTo>
                    <a:pt x="151" y="212"/>
                  </a:lnTo>
                  <a:lnTo>
                    <a:pt x="152" y="205"/>
                  </a:lnTo>
                  <a:lnTo>
                    <a:pt x="152" y="196"/>
                  </a:lnTo>
                  <a:lnTo>
                    <a:pt x="152" y="189"/>
                  </a:lnTo>
                  <a:lnTo>
                    <a:pt x="151" y="182"/>
                  </a:lnTo>
                  <a:lnTo>
                    <a:pt x="146" y="177"/>
                  </a:lnTo>
                  <a:lnTo>
                    <a:pt x="142" y="171"/>
                  </a:lnTo>
                  <a:lnTo>
                    <a:pt x="138" y="167"/>
                  </a:lnTo>
                  <a:lnTo>
                    <a:pt x="131" y="164"/>
                  </a:lnTo>
                  <a:lnTo>
                    <a:pt x="124" y="161"/>
                  </a:lnTo>
                  <a:lnTo>
                    <a:pt x="117" y="161"/>
                  </a:lnTo>
                  <a:lnTo>
                    <a:pt x="72" y="161"/>
                  </a:lnTo>
                  <a:lnTo>
                    <a:pt x="72" y="152"/>
                  </a:lnTo>
                  <a:lnTo>
                    <a:pt x="90" y="152"/>
                  </a:lnTo>
                  <a:lnTo>
                    <a:pt x="102" y="152"/>
                  </a:lnTo>
                  <a:lnTo>
                    <a:pt x="115" y="148"/>
                  </a:lnTo>
                  <a:lnTo>
                    <a:pt x="127" y="142"/>
                  </a:lnTo>
                  <a:lnTo>
                    <a:pt x="135" y="135"/>
                  </a:lnTo>
                  <a:lnTo>
                    <a:pt x="142" y="127"/>
                  </a:lnTo>
                  <a:lnTo>
                    <a:pt x="148" y="115"/>
                  </a:lnTo>
                  <a:lnTo>
                    <a:pt x="152" y="103"/>
                  </a:lnTo>
                  <a:lnTo>
                    <a:pt x="152" y="90"/>
                  </a:lnTo>
                  <a:lnTo>
                    <a:pt x="152" y="63"/>
                  </a:lnTo>
                  <a:lnTo>
                    <a:pt x="152" y="50"/>
                  </a:lnTo>
                  <a:lnTo>
                    <a:pt x="148" y="37"/>
                  </a:lnTo>
                  <a:lnTo>
                    <a:pt x="142" y="27"/>
                  </a:lnTo>
                  <a:lnTo>
                    <a:pt x="135" y="17"/>
                  </a:lnTo>
                  <a:lnTo>
                    <a:pt x="127" y="10"/>
                  </a:lnTo>
                  <a:lnTo>
                    <a:pt x="115" y="4"/>
                  </a:lnTo>
                  <a:lnTo>
                    <a:pt x="102" y="2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</p:grpSp>
      <p:grpSp>
        <p:nvGrpSpPr>
          <p:cNvPr id="128" name="Group 102"/>
          <p:cNvGrpSpPr>
            <a:grpSpLocks/>
          </p:cNvGrpSpPr>
          <p:nvPr/>
        </p:nvGrpSpPr>
        <p:grpSpPr bwMode="auto">
          <a:xfrm>
            <a:off x="7834956" y="3344289"/>
            <a:ext cx="552450" cy="285750"/>
            <a:chOff x="6430633" y="2057622"/>
            <a:chExt cx="1512888" cy="779463"/>
          </a:xfrm>
        </p:grpSpPr>
        <p:sp>
          <p:nvSpPr>
            <p:cNvPr id="129" name="Freeform 53"/>
            <p:cNvSpPr>
              <a:spLocks noEditPoints="1"/>
            </p:cNvSpPr>
            <p:nvPr/>
          </p:nvSpPr>
          <p:spPr bwMode="auto">
            <a:xfrm>
              <a:off x="6827508" y="2211610"/>
              <a:ext cx="723900" cy="625475"/>
            </a:xfrm>
            <a:custGeom>
              <a:avLst/>
              <a:gdLst>
                <a:gd name="T0" fmla="*/ 588963 w 1368"/>
                <a:gd name="T1" fmla="*/ 400050 h 1182"/>
                <a:gd name="T2" fmla="*/ 569383 w 1368"/>
                <a:gd name="T3" fmla="*/ 387350 h 1182"/>
                <a:gd name="T4" fmla="*/ 557213 w 1368"/>
                <a:gd name="T5" fmla="*/ 365654 h 1182"/>
                <a:gd name="T6" fmla="*/ 555625 w 1368"/>
                <a:gd name="T7" fmla="*/ 345017 h 1182"/>
                <a:gd name="T8" fmla="*/ 563033 w 1368"/>
                <a:gd name="T9" fmla="*/ 321204 h 1182"/>
                <a:gd name="T10" fmla="*/ 580496 w 1368"/>
                <a:gd name="T11" fmla="*/ 304271 h 1182"/>
                <a:gd name="T12" fmla="*/ 603250 w 1368"/>
                <a:gd name="T13" fmla="*/ 298450 h 1182"/>
                <a:gd name="T14" fmla="*/ 621771 w 1368"/>
                <a:gd name="T15" fmla="*/ 302154 h 1182"/>
                <a:gd name="T16" fmla="*/ 640292 w 1368"/>
                <a:gd name="T17" fmla="*/ 316971 h 1182"/>
                <a:gd name="T18" fmla="*/ 649817 w 1368"/>
                <a:gd name="T19" fmla="*/ 339725 h 1182"/>
                <a:gd name="T20" fmla="*/ 649817 w 1368"/>
                <a:gd name="T21" fmla="*/ 360892 h 1182"/>
                <a:gd name="T22" fmla="*/ 640292 w 1368"/>
                <a:gd name="T23" fmla="*/ 383646 h 1182"/>
                <a:gd name="T24" fmla="*/ 621771 w 1368"/>
                <a:gd name="T25" fmla="*/ 398463 h 1182"/>
                <a:gd name="T26" fmla="*/ 603250 w 1368"/>
                <a:gd name="T27" fmla="*/ 402167 h 1182"/>
                <a:gd name="T28" fmla="*/ 113771 w 1368"/>
                <a:gd name="T29" fmla="*/ 400050 h 1182"/>
                <a:gd name="T30" fmla="*/ 94192 w 1368"/>
                <a:gd name="T31" fmla="*/ 387350 h 1182"/>
                <a:gd name="T32" fmla="*/ 82550 w 1368"/>
                <a:gd name="T33" fmla="*/ 365654 h 1182"/>
                <a:gd name="T34" fmla="*/ 80433 w 1368"/>
                <a:gd name="T35" fmla="*/ 345017 h 1182"/>
                <a:gd name="T36" fmla="*/ 88900 w 1368"/>
                <a:gd name="T37" fmla="*/ 321204 h 1182"/>
                <a:gd name="T38" fmla="*/ 105304 w 1368"/>
                <a:gd name="T39" fmla="*/ 304271 h 1182"/>
                <a:gd name="T40" fmla="*/ 128058 w 1368"/>
                <a:gd name="T41" fmla="*/ 298450 h 1182"/>
                <a:gd name="T42" fmla="*/ 146579 w 1368"/>
                <a:gd name="T43" fmla="*/ 302154 h 1182"/>
                <a:gd name="T44" fmla="*/ 164571 w 1368"/>
                <a:gd name="T45" fmla="*/ 316971 h 1182"/>
                <a:gd name="T46" fmla="*/ 174625 w 1368"/>
                <a:gd name="T47" fmla="*/ 339725 h 1182"/>
                <a:gd name="T48" fmla="*/ 174625 w 1368"/>
                <a:gd name="T49" fmla="*/ 360892 h 1182"/>
                <a:gd name="T50" fmla="*/ 164571 w 1368"/>
                <a:gd name="T51" fmla="*/ 383646 h 1182"/>
                <a:gd name="T52" fmla="*/ 146579 w 1368"/>
                <a:gd name="T53" fmla="*/ 398463 h 1182"/>
                <a:gd name="T54" fmla="*/ 128058 w 1368"/>
                <a:gd name="T55" fmla="*/ 402167 h 1182"/>
                <a:gd name="T56" fmla="*/ 141288 w 1368"/>
                <a:gd name="T57" fmla="*/ 46038 h 1182"/>
                <a:gd name="T58" fmla="*/ 164571 w 1368"/>
                <a:gd name="T59" fmla="*/ 30162 h 1182"/>
                <a:gd name="T60" fmla="*/ 518054 w 1368"/>
                <a:gd name="T61" fmla="*/ 26458 h 1182"/>
                <a:gd name="T62" fmla="*/ 542925 w 1368"/>
                <a:gd name="T63" fmla="*/ 31221 h 1182"/>
                <a:gd name="T64" fmla="*/ 569383 w 1368"/>
                <a:gd name="T65" fmla="*/ 51858 h 1182"/>
                <a:gd name="T66" fmla="*/ 76200 w 1368"/>
                <a:gd name="T67" fmla="*/ 216958 h 1182"/>
                <a:gd name="T68" fmla="*/ 614363 w 1368"/>
                <a:gd name="T69" fmla="*/ 71438 h 1182"/>
                <a:gd name="T70" fmla="*/ 583671 w 1368"/>
                <a:gd name="T71" fmla="*/ 21167 h 1182"/>
                <a:gd name="T72" fmla="*/ 553508 w 1368"/>
                <a:gd name="T73" fmla="*/ 3175 h 1182"/>
                <a:gd name="T74" fmla="*/ 176742 w 1368"/>
                <a:gd name="T75" fmla="*/ 0 h 1182"/>
                <a:gd name="T76" fmla="*/ 137054 w 1368"/>
                <a:gd name="T77" fmla="*/ 8996 h 1182"/>
                <a:gd name="T78" fmla="*/ 111125 w 1368"/>
                <a:gd name="T79" fmla="*/ 35454 h 1182"/>
                <a:gd name="T80" fmla="*/ 32808 w 1368"/>
                <a:gd name="T81" fmla="*/ 223837 h 1182"/>
                <a:gd name="T82" fmla="*/ 5292 w 1368"/>
                <a:gd name="T83" fmla="*/ 240242 h 1182"/>
                <a:gd name="T84" fmla="*/ 0 w 1368"/>
                <a:gd name="T85" fmla="*/ 458258 h 1182"/>
                <a:gd name="T86" fmla="*/ 14287 w 1368"/>
                <a:gd name="T87" fmla="*/ 488421 h 1182"/>
                <a:gd name="T88" fmla="*/ 56092 w 1368"/>
                <a:gd name="T89" fmla="*/ 588433 h 1182"/>
                <a:gd name="T90" fmla="*/ 66146 w 1368"/>
                <a:gd name="T91" fmla="*/ 614892 h 1182"/>
                <a:gd name="T92" fmla="*/ 139700 w 1368"/>
                <a:gd name="T93" fmla="*/ 625475 h 1182"/>
                <a:gd name="T94" fmla="*/ 163513 w 1368"/>
                <a:gd name="T95" fmla="*/ 614892 h 1182"/>
                <a:gd name="T96" fmla="*/ 173038 w 1368"/>
                <a:gd name="T97" fmla="*/ 494771 h 1182"/>
                <a:gd name="T98" fmla="*/ 564621 w 1368"/>
                <a:gd name="T99" fmla="*/ 602721 h 1182"/>
                <a:gd name="T100" fmla="*/ 589492 w 1368"/>
                <a:gd name="T101" fmla="*/ 624417 h 1182"/>
                <a:gd name="T102" fmla="*/ 658813 w 1368"/>
                <a:gd name="T103" fmla="*/ 622300 h 1182"/>
                <a:gd name="T104" fmla="*/ 678392 w 1368"/>
                <a:gd name="T105" fmla="*/ 595842 h 1182"/>
                <a:gd name="T106" fmla="*/ 696383 w 1368"/>
                <a:gd name="T107" fmla="*/ 494242 h 1182"/>
                <a:gd name="T108" fmla="*/ 720725 w 1368"/>
                <a:gd name="T109" fmla="*/ 472546 h 1182"/>
                <a:gd name="T110" fmla="*/ 722842 w 1368"/>
                <a:gd name="T111" fmla="*/ 252942 h 1182"/>
                <a:gd name="T112" fmla="*/ 702733 w 1368"/>
                <a:gd name="T113" fmla="*/ 227012 h 118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368" h="1182">
                  <a:moveTo>
                    <a:pt x="1140" y="760"/>
                  </a:moveTo>
                  <a:lnTo>
                    <a:pt x="1140" y="760"/>
                  </a:lnTo>
                  <a:lnTo>
                    <a:pt x="1130" y="760"/>
                  </a:lnTo>
                  <a:lnTo>
                    <a:pt x="1121" y="759"/>
                  </a:lnTo>
                  <a:lnTo>
                    <a:pt x="1113" y="756"/>
                  </a:lnTo>
                  <a:lnTo>
                    <a:pt x="1104" y="753"/>
                  </a:lnTo>
                  <a:lnTo>
                    <a:pt x="1097" y="749"/>
                  </a:lnTo>
                  <a:lnTo>
                    <a:pt x="1089" y="743"/>
                  </a:lnTo>
                  <a:lnTo>
                    <a:pt x="1083" y="738"/>
                  </a:lnTo>
                  <a:lnTo>
                    <a:pt x="1076" y="732"/>
                  </a:lnTo>
                  <a:lnTo>
                    <a:pt x="1070" y="725"/>
                  </a:lnTo>
                  <a:lnTo>
                    <a:pt x="1064" y="716"/>
                  </a:lnTo>
                  <a:lnTo>
                    <a:pt x="1060" y="709"/>
                  </a:lnTo>
                  <a:lnTo>
                    <a:pt x="1056" y="701"/>
                  </a:lnTo>
                  <a:lnTo>
                    <a:pt x="1053" y="691"/>
                  </a:lnTo>
                  <a:lnTo>
                    <a:pt x="1052" y="682"/>
                  </a:lnTo>
                  <a:lnTo>
                    <a:pt x="1050" y="672"/>
                  </a:lnTo>
                  <a:lnTo>
                    <a:pt x="1049" y="662"/>
                  </a:lnTo>
                  <a:lnTo>
                    <a:pt x="1050" y="652"/>
                  </a:lnTo>
                  <a:lnTo>
                    <a:pt x="1052" y="642"/>
                  </a:lnTo>
                  <a:lnTo>
                    <a:pt x="1053" y="632"/>
                  </a:lnTo>
                  <a:lnTo>
                    <a:pt x="1056" y="624"/>
                  </a:lnTo>
                  <a:lnTo>
                    <a:pt x="1060" y="615"/>
                  </a:lnTo>
                  <a:lnTo>
                    <a:pt x="1064" y="607"/>
                  </a:lnTo>
                  <a:lnTo>
                    <a:pt x="1070" y="599"/>
                  </a:lnTo>
                  <a:lnTo>
                    <a:pt x="1076" y="592"/>
                  </a:lnTo>
                  <a:lnTo>
                    <a:pt x="1083" y="585"/>
                  </a:lnTo>
                  <a:lnTo>
                    <a:pt x="1089" y="580"/>
                  </a:lnTo>
                  <a:lnTo>
                    <a:pt x="1097" y="575"/>
                  </a:lnTo>
                  <a:lnTo>
                    <a:pt x="1104" y="571"/>
                  </a:lnTo>
                  <a:lnTo>
                    <a:pt x="1113" y="568"/>
                  </a:lnTo>
                  <a:lnTo>
                    <a:pt x="1121" y="565"/>
                  </a:lnTo>
                  <a:lnTo>
                    <a:pt x="1130" y="564"/>
                  </a:lnTo>
                  <a:lnTo>
                    <a:pt x="1140" y="564"/>
                  </a:lnTo>
                  <a:lnTo>
                    <a:pt x="1148" y="564"/>
                  </a:lnTo>
                  <a:lnTo>
                    <a:pt x="1158" y="565"/>
                  </a:lnTo>
                  <a:lnTo>
                    <a:pt x="1167" y="568"/>
                  </a:lnTo>
                  <a:lnTo>
                    <a:pt x="1175" y="571"/>
                  </a:lnTo>
                  <a:lnTo>
                    <a:pt x="1183" y="575"/>
                  </a:lnTo>
                  <a:lnTo>
                    <a:pt x="1190" y="580"/>
                  </a:lnTo>
                  <a:lnTo>
                    <a:pt x="1197" y="585"/>
                  </a:lnTo>
                  <a:lnTo>
                    <a:pt x="1204" y="592"/>
                  </a:lnTo>
                  <a:lnTo>
                    <a:pt x="1210" y="599"/>
                  </a:lnTo>
                  <a:lnTo>
                    <a:pt x="1214" y="607"/>
                  </a:lnTo>
                  <a:lnTo>
                    <a:pt x="1220" y="615"/>
                  </a:lnTo>
                  <a:lnTo>
                    <a:pt x="1222" y="624"/>
                  </a:lnTo>
                  <a:lnTo>
                    <a:pt x="1225" y="632"/>
                  </a:lnTo>
                  <a:lnTo>
                    <a:pt x="1228" y="642"/>
                  </a:lnTo>
                  <a:lnTo>
                    <a:pt x="1230" y="652"/>
                  </a:lnTo>
                  <a:lnTo>
                    <a:pt x="1230" y="662"/>
                  </a:lnTo>
                  <a:lnTo>
                    <a:pt x="1230" y="672"/>
                  </a:lnTo>
                  <a:lnTo>
                    <a:pt x="1228" y="682"/>
                  </a:lnTo>
                  <a:lnTo>
                    <a:pt x="1225" y="691"/>
                  </a:lnTo>
                  <a:lnTo>
                    <a:pt x="1222" y="701"/>
                  </a:lnTo>
                  <a:lnTo>
                    <a:pt x="1220" y="709"/>
                  </a:lnTo>
                  <a:lnTo>
                    <a:pt x="1214" y="716"/>
                  </a:lnTo>
                  <a:lnTo>
                    <a:pt x="1210" y="725"/>
                  </a:lnTo>
                  <a:lnTo>
                    <a:pt x="1204" y="732"/>
                  </a:lnTo>
                  <a:lnTo>
                    <a:pt x="1197" y="738"/>
                  </a:lnTo>
                  <a:lnTo>
                    <a:pt x="1190" y="743"/>
                  </a:lnTo>
                  <a:lnTo>
                    <a:pt x="1183" y="749"/>
                  </a:lnTo>
                  <a:lnTo>
                    <a:pt x="1175" y="753"/>
                  </a:lnTo>
                  <a:lnTo>
                    <a:pt x="1167" y="756"/>
                  </a:lnTo>
                  <a:lnTo>
                    <a:pt x="1158" y="759"/>
                  </a:lnTo>
                  <a:lnTo>
                    <a:pt x="1148" y="760"/>
                  </a:lnTo>
                  <a:lnTo>
                    <a:pt x="1140" y="760"/>
                  </a:lnTo>
                  <a:close/>
                  <a:moveTo>
                    <a:pt x="242" y="760"/>
                  </a:moveTo>
                  <a:lnTo>
                    <a:pt x="242" y="760"/>
                  </a:lnTo>
                  <a:lnTo>
                    <a:pt x="233" y="760"/>
                  </a:lnTo>
                  <a:lnTo>
                    <a:pt x="223" y="759"/>
                  </a:lnTo>
                  <a:lnTo>
                    <a:pt x="215" y="756"/>
                  </a:lnTo>
                  <a:lnTo>
                    <a:pt x="206" y="753"/>
                  </a:lnTo>
                  <a:lnTo>
                    <a:pt x="199" y="749"/>
                  </a:lnTo>
                  <a:lnTo>
                    <a:pt x="192" y="743"/>
                  </a:lnTo>
                  <a:lnTo>
                    <a:pt x="185" y="738"/>
                  </a:lnTo>
                  <a:lnTo>
                    <a:pt x="178" y="732"/>
                  </a:lnTo>
                  <a:lnTo>
                    <a:pt x="172" y="725"/>
                  </a:lnTo>
                  <a:lnTo>
                    <a:pt x="168" y="716"/>
                  </a:lnTo>
                  <a:lnTo>
                    <a:pt x="162" y="709"/>
                  </a:lnTo>
                  <a:lnTo>
                    <a:pt x="159" y="701"/>
                  </a:lnTo>
                  <a:lnTo>
                    <a:pt x="156" y="691"/>
                  </a:lnTo>
                  <a:lnTo>
                    <a:pt x="153" y="682"/>
                  </a:lnTo>
                  <a:lnTo>
                    <a:pt x="152" y="672"/>
                  </a:lnTo>
                  <a:lnTo>
                    <a:pt x="152" y="662"/>
                  </a:lnTo>
                  <a:lnTo>
                    <a:pt x="152" y="652"/>
                  </a:lnTo>
                  <a:lnTo>
                    <a:pt x="153" y="642"/>
                  </a:lnTo>
                  <a:lnTo>
                    <a:pt x="156" y="632"/>
                  </a:lnTo>
                  <a:lnTo>
                    <a:pt x="159" y="624"/>
                  </a:lnTo>
                  <a:lnTo>
                    <a:pt x="162" y="615"/>
                  </a:lnTo>
                  <a:lnTo>
                    <a:pt x="168" y="607"/>
                  </a:lnTo>
                  <a:lnTo>
                    <a:pt x="172" y="599"/>
                  </a:lnTo>
                  <a:lnTo>
                    <a:pt x="178" y="592"/>
                  </a:lnTo>
                  <a:lnTo>
                    <a:pt x="185" y="585"/>
                  </a:lnTo>
                  <a:lnTo>
                    <a:pt x="192" y="580"/>
                  </a:lnTo>
                  <a:lnTo>
                    <a:pt x="199" y="575"/>
                  </a:lnTo>
                  <a:lnTo>
                    <a:pt x="206" y="571"/>
                  </a:lnTo>
                  <a:lnTo>
                    <a:pt x="215" y="568"/>
                  </a:lnTo>
                  <a:lnTo>
                    <a:pt x="223" y="565"/>
                  </a:lnTo>
                  <a:lnTo>
                    <a:pt x="233" y="564"/>
                  </a:lnTo>
                  <a:lnTo>
                    <a:pt x="242" y="564"/>
                  </a:lnTo>
                  <a:lnTo>
                    <a:pt x="252" y="564"/>
                  </a:lnTo>
                  <a:lnTo>
                    <a:pt x="260" y="565"/>
                  </a:lnTo>
                  <a:lnTo>
                    <a:pt x="269" y="568"/>
                  </a:lnTo>
                  <a:lnTo>
                    <a:pt x="277" y="571"/>
                  </a:lnTo>
                  <a:lnTo>
                    <a:pt x="284" y="575"/>
                  </a:lnTo>
                  <a:lnTo>
                    <a:pt x="293" y="580"/>
                  </a:lnTo>
                  <a:lnTo>
                    <a:pt x="300" y="585"/>
                  </a:lnTo>
                  <a:lnTo>
                    <a:pt x="306" y="592"/>
                  </a:lnTo>
                  <a:lnTo>
                    <a:pt x="311" y="599"/>
                  </a:lnTo>
                  <a:lnTo>
                    <a:pt x="317" y="607"/>
                  </a:lnTo>
                  <a:lnTo>
                    <a:pt x="321" y="615"/>
                  </a:lnTo>
                  <a:lnTo>
                    <a:pt x="326" y="624"/>
                  </a:lnTo>
                  <a:lnTo>
                    <a:pt x="329" y="632"/>
                  </a:lnTo>
                  <a:lnTo>
                    <a:pt x="330" y="642"/>
                  </a:lnTo>
                  <a:lnTo>
                    <a:pt x="331" y="652"/>
                  </a:lnTo>
                  <a:lnTo>
                    <a:pt x="333" y="662"/>
                  </a:lnTo>
                  <a:lnTo>
                    <a:pt x="331" y="672"/>
                  </a:lnTo>
                  <a:lnTo>
                    <a:pt x="330" y="682"/>
                  </a:lnTo>
                  <a:lnTo>
                    <a:pt x="329" y="691"/>
                  </a:lnTo>
                  <a:lnTo>
                    <a:pt x="326" y="701"/>
                  </a:lnTo>
                  <a:lnTo>
                    <a:pt x="321" y="709"/>
                  </a:lnTo>
                  <a:lnTo>
                    <a:pt x="317" y="716"/>
                  </a:lnTo>
                  <a:lnTo>
                    <a:pt x="311" y="725"/>
                  </a:lnTo>
                  <a:lnTo>
                    <a:pt x="306" y="732"/>
                  </a:lnTo>
                  <a:lnTo>
                    <a:pt x="300" y="738"/>
                  </a:lnTo>
                  <a:lnTo>
                    <a:pt x="293" y="743"/>
                  </a:lnTo>
                  <a:lnTo>
                    <a:pt x="284" y="749"/>
                  </a:lnTo>
                  <a:lnTo>
                    <a:pt x="277" y="753"/>
                  </a:lnTo>
                  <a:lnTo>
                    <a:pt x="269" y="756"/>
                  </a:lnTo>
                  <a:lnTo>
                    <a:pt x="260" y="759"/>
                  </a:lnTo>
                  <a:lnTo>
                    <a:pt x="252" y="760"/>
                  </a:lnTo>
                  <a:lnTo>
                    <a:pt x="242" y="760"/>
                  </a:lnTo>
                  <a:close/>
                  <a:moveTo>
                    <a:pt x="243" y="123"/>
                  </a:moveTo>
                  <a:lnTo>
                    <a:pt x="243" y="123"/>
                  </a:lnTo>
                  <a:lnTo>
                    <a:pt x="249" y="111"/>
                  </a:lnTo>
                  <a:lnTo>
                    <a:pt x="257" y="100"/>
                  </a:lnTo>
                  <a:lnTo>
                    <a:pt x="267" y="87"/>
                  </a:lnTo>
                  <a:lnTo>
                    <a:pt x="274" y="80"/>
                  </a:lnTo>
                  <a:lnTo>
                    <a:pt x="283" y="73"/>
                  </a:lnTo>
                  <a:lnTo>
                    <a:pt x="292" y="67"/>
                  </a:lnTo>
                  <a:lnTo>
                    <a:pt x="302" y="61"/>
                  </a:lnTo>
                  <a:lnTo>
                    <a:pt x="311" y="57"/>
                  </a:lnTo>
                  <a:lnTo>
                    <a:pt x="324" y="53"/>
                  </a:lnTo>
                  <a:lnTo>
                    <a:pt x="337" y="52"/>
                  </a:lnTo>
                  <a:lnTo>
                    <a:pt x="353" y="50"/>
                  </a:lnTo>
                  <a:lnTo>
                    <a:pt x="979" y="50"/>
                  </a:lnTo>
                  <a:lnTo>
                    <a:pt x="983" y="50"/>
                  </a:lnTo>
                  <a:lnTo>
                    <a:pt x="993" y="50"/>
                  </a:lnTo>
                  <a:lnTo>
                    <a:pt x="1009" y="53"/>
                  </a:lnTo>
                  <a:lnTo>
                    <a:pt x="1017" y="56"/>
                  </a:lnTo>
                  <a:lnTo>
                    <a:pt x="1026" y="59"/>
                  </a:lnTo>
                  <a:lnTo>
                    <a:pt x="1036" y="63"/>
                  </a:lnTo>
                  <a:lnTo>
                    <a:pt x="1046" y="70"/>
                  </a:lnTo>
                  <a:lnTo>
                    <a:pt x="1056" y="77"/>
                  </a:lnTo>
                  <a:lnTo>
                    <a:pt x="1066" y="87"/>
                  </a:lnTo>
                  <a:lnTo>
                    <a:pt x="1076" y="98"/>
                  </a:lnTo>
                  <a:lnTo>
                    <a:pt x="1084" y="113"/>
                  </a:lnTo>
                  <a:lnTo>
                    <a:pt x="1093" y="130"/>
                  </a:lnTo>
                  <a:lnTo>
                    <a:pt x="1100" y="148"/>
                  </a:lnTo>
                  <a:lnTo>
                    <a:pt x="1222" y="410"/>
                  </a:lnTo>
                  <a:lnTo>
                    <a:pt x="144" y="410"/>
                  </a:lnTo>
                  <a:lnTo>
                    <a:pt x="243" y="123"/>
                  </a:lnTo>
                  <a:close/>
                  <a:moveTo>
                    <a:pt x="1304" y="423"/>
                  </a:moveTo>
                  <a:lnTo>
                    <a:pt x="1291" y="423"/>
                  </a:lnTo>
                  <a:lnTo>
                    <a:pt x="1161" y="135"/>
                  </a:lnTo>
                  <a:lnTo>
                    <a:pt x="1151" y="111"/>
                  </a:lnTo>
                  <a:lnTo>
                    <a:pt x="1140" y="89"/>
                  </a:lnTo>
                  <a:lnTo>
                    <a:pt x="1127" y="70"/>
                  </a:lnTo>
                  <a:lnTo>
                    <a:pt x="1116" y="54"/>
                  </a:lnTo>
                  <a:lnTo>
                    <a:pt x="1103" y="40"/>
                  </a:lnTo>
                  <a:lnTo>
                    <a:pt x="1090" y="30"/>
                  </a:lnTo>
                  <a:lnTo>
                    <a:pt x="1079" y="22"/>
                  </a:lnTo>
                  <a:lnTo>
                    <a:pt x="1067" y="15"/>
                  </a:lnTo>
                  <a:lnTo>
                    <a:pt x="1056" y="9"/>
                  </a:lnTo>
                  <a:lnTo>
                    <a:pt x="1046" y="6"/>
                  </a:lnTo>
                  <a:lnTo>
                    <a:pt x="1029" y="2"/>
                  </a:lnTo>
                  <a:lnTo>
                    <a:pt x="1017" y="0"/>
                  </a:lnTo>
                  <a:lnTo>
                    <a:pt x="1013" y="0"/>
                  </a:lnTo>
                  <a:lnTo>
                    <a:pt x="334" y="0"/>
                  </a:lnTo>
                  <a:lnTo>
                    <a:pt x="316" y="2"/>
                  </a:lnTo>
                  <a:lnTo>
                    <a:pt x="300" y="3"/>
                  </a:lnTo>
                  <a:lnTo>
                    <a:pt x="284" y="7"/>
                  </a:lnTo>
                  <a:lnTo>
                    <a:pt x="272" y="12"/>
                  </a:lnTo>
                  <a:lnTo>
                    <a:pt x="259" y="17"/>
                  </a:lnTo>
                  <a:lnTo>
                    <a:pt x="249" y="24"/>
                  </a:lnTo>
                  <a:lnTo>
                    <a:pt x="239" y="32"/>
                  </a:lnTo>
                  <a:lnTo>
                    <a:pt x="232" y="39"/>
                  </a:lnTo>
                  <a:lnTo>
                    <a:pt x="219" y="54"/>
                  </a:lnTo>
                  <a:lnTo>
                    <a:pt x="210" y="67"/>
                  </a:lnTo>
                  <a:lnTo>
                    <a:pt x="206" y="77"/>
                  </a:lnTo>
                  <a:lnTo>
                    <a:pt x="205" y="80"/>
                  </a:lnTo>
                  <a:lnTo>
                    <a:pt x="75" y="423"/>
                  </a:lnTo>
                  <a:lnTo>
                    <a:pt x="62" y="423"/>
                  </a:lnTo>
                  <a:lnTo>
                    <a:pt x="50" y="424"/>
                  </a:lnTo>
                  <a:lnTo>
                    <a:pt x="38" y="429"/>
                  </a:lnTo>
                  <a:lnTo>
                    <a:pt x="27" y="436"/>
                  </a:lnTo>
                  <a:lnTo>
                    <a:pt x="18" y="444"/>
                  </a:lnTo>
                  <a:lnTo>
                    <a:pt x="10" y="454"/>
                  </a:lnTo>
                  <a:lnTo>
                    <a:pt x="4" y="466"/>
                  </a:lnTo>
                  <a:lnTo>
                    <a:pt x="0" y="478"/>
                  </a:lnTo>
                  <a:lnTo>
                    <a:pt x="0" y="493"/>
                  </a:lnTo>
                  <a:lnTo>
                    <a:pt x="0" y="866"/>
                  </a:lnTo>
                  <a:lnTo>
                    <a:pt x="0" y="880"/>
                  </a:lnTo>
                  <a:lnTo>
                    <a:pt x="4" y="893"/>
                  </a:lnTo>
                  <a:lnTo>
                    <a:pt x="10" y="904"/>
                  </a:lnTo>
                  <a:lnTo>
                    <a:pt x="18" y="914"/>
                  </a:lnTo>
                  <a:lnTo>
                    <a:pt x="27" y="923"/>
                  </a:lnTo>
                  <a:lnTo>
                    <a:pt x="38" y="930"/>
                  </a:lnTo>
                  <a:lnTo>
                    <a:pt x="50" y="934"/>
                  </a:lnTo>
                  <a:lnTo>
                    <a:pt x="62" y="935"/>
                  </a:lnTo>
                  <a:lnTo>
                    <a:pt x="106" y="935"/>
                  </a:lnTo>
                  <a:lnTo>
                    <a:pt x="106" y="1112"/>
                  </a:lnTo>
                  <a:lnTo>
                    <a:pt x="108" y="1126"/>
                  </a:lnTo>
                  <a:lnTo>
                    <a:pt x="112" y="1139"/>
                  </a:lnTo>
                  <a:lnTo>
                    <a:pt x="118" y="1152"/>
                  </a:lnTo>
                  <a:lnTo>
                    <a:pt x="125" y="1162"/>
                  </a:lnTo>
                  <a:lnTo>
                    <a:pt x="135" y="1170"/>
                  </a:lnTo>
                  <a:lnTo>
                    <a:pt x="146" y="1176"/>
                  </a:lnTo>
                  <a:lnTo>
                    <a:pt x="158" y="1180"/>
                  </a:lnTo>
                  <a:lnTo>
                    <a:pt x="171" y="1182"/>
                  </a:lnTo>
                  <a:lnTo>
                    <a:pt x="264" y="1182"/>
                  </a:lnTo>
                  <a:lnTo>
                    <a:pt x="277" y="1180"/>
                  </a:lnTo>
                  <a:lnTo>
                    <a:pt x="289" y="1176"/>
                  </a:lnTo>
                  <a:lnTo>
                    <a:pt x="300" y="1170"/>
                  </a:lnTo>
                  <a:lnTo>
                    <a:pt x="309" y="1162"/>
                  </a:lnTo>
                  <a:lnTo>
                    <a:pt x="317" y="1152"/>
                  </a:lnTo>
                  <a:lnTo>
                    <a:pt x="323" y="1139"/>
                  </a:lnTo>
                  <a:lnTo>
                    <a:pt x="326" y="1126"/>
                  </a:lnTo>
                  <a:lnTo>
                    <a:pt x="327" y="1112"/>
                  </a:lnTo>
                  <a:lnTo>
                    <a:pt x="327" y="935"/>
                  </a:lnTo>
                  <a:lnTo>
                    <a:pt x="1063" y="935"/>
                  </a:lnTo>
                  <a:lnTo>
                    <a:pt x="1063" y="1112"/>
                  </a:lnTo>
                  <a:lnTo>
                    <a:pt x="1064" y="1126"/>
                  </a:lnTo>
                  <a:lnTo>
                    <a:pt x="1067" y="1139"/>
                  </a:lnTo>
                  <a:lnTo>
                    <a:pt x="1074" y="1152"/>
                  </a:lnTo>
                  <a:lnTo>
                    <a:pt x="1082" y="1162"/>
                  </a:lnTo>
                  <a:lnTo>
                    <a:pt x="1091" y="1170"/>
                  </a:lnTo>
                  <a:lnTo>
                    <a:pt x="1101" y="1176"/>
                  </a:lnTo>
                  <a:lnTo>
                    <a:pt x="1114" y="1180"/>
                  </a:lnTo>
                  <a:lnTo>
                    <a:pt x="1127" y="1182"/>
                  </a:lnTo>
                  <a:lnTo>
                    <a:pt x="1220" y="1182"/>
                  </a:lnTo>
                  <a:lnTo>
                    <a:pt x="1232" y="1180"/>
                  </a:lnTo>
                  <a:lnTo>
                    <a:pt x="1245" y="1176"/>
                  </a:lnTo>
                  <a:lnTo>
                    <a:pt x="1255" y="1170"/>
                  </a:lnTo>
                  <a:lnTo>
                    <a:pt x="1265" y="1162"/>
                  </a:lnTo>
                  <a:lnTo>
                    <a:pt x="1272" y="1152"/>
                  </a:lnTo>
                  <a:lnTo>
                    <a:pt x="1279" y="1139"/>
                  </a:lnTo>
                  <a:lnTo>
                    <a:pt x="1282" y="1126"/>
                  </a:lnTo>
                  <a:lnTo>
                    <a:pt x="1284" y="1112"/>
                  </a:lnTo>
                  <a:lnTo>
                    <a:pt x="1284" y="935"/>
                  </a:lnTo>
                  <a:lnTo>
                    <a:pt x="1304" y="935"/>
                  </a:lnTo>
                  <a:lnTo>
                    <a:pt x="1316" y="934"/>
                  </a:lnTo>
                  <a:lnTo>
                    <a:pt x="1328" y="930"/>
                  </a:lnTo>
                  <a:lnTo>
                    <a:pt x="1339" y="923"/>
                  </a:lnTo>
                  <a:lnTo>
                    <a:pt x="1349" y="914"/>
                  </a:lnTo>
                  <a:lnTo>
                    <a:pt x="1356" y="904"/>
                  </a:lnTo>
                  <a:lnTo>
                    <a:pt x="1362" y="893"/>
                  </a:lnTo>
                  <a:lnTo>
                    <a:pt x="1366" y="880"/>
                  </a:lnTo>
                  <a:lnTo>
                    <a:pt x="1368" y="866"/>
                  </a:lnTo>
                  <a:lnTo>
                    <a:pt x="1368" y="493"/>
                  </a:lnTo>
                  <a:lnTo>
                    <a:pt x="1366" y="478"/>
                  </a:lnTo>
                  <a:lnTo>
                    <a:pt x="1362" y="466"/>
                  </a:lnTo>
                  <a:lnTo>
                    <a:pt x="1356" y="454"/>
                  </a:lnTo>
                  <a:lnTo>
                    <a:pt x="1349" y="444"/>
                  </a:lnTo>
                  <a:lnTo>
                    <a:pt x="1339" y="436"/>
                  </a:lnTo>
                  <a:lnTo>
                    <a:pt x="1328" y="429"/>
                  </a:lnTo>
                  <a:lnTo>
                    <a:pt x="1316" y="424"/>
                  </a:lnTo>
                  <a:lnTo>
                    <a:pt x="1304" y="42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130" name="Freeform 54"/>
            <p:cNvSpPr>
              <a:spLocks noEditPoints="1"/>
            </p:cNvSpPr>
            <p:nvPr/>
          </p:nvSpPr>
          <p:spPr bwMode="auto">
            <a:xfrm>
              <a:off x="7294233" y="2057622"/>
              <a:ext cx="649288" cy="623887"/>
            </a:xfrm>
            <a:custGeom>
              <a:avLst/>
              <a:gdLst>
                <a:gd name="T0" fmla="*/ 523978 w 1228"/>
                <a:gd name="T1" fmla="*/ 400429 h 1181"/>
                <a:gd name="T2" fmla="*/ 510230 w 1228"/>
                <a:gd name="T3" fmla="*/ 396731 h 1181"/>
                <a:gd name="T4" fmla="*/ 498069 w 1228"/>
                <a:gd name="T5" fmla="*/ 389335 h 1181"/>
                <a:gd name="T6" fmla="*/ 489081 w 1228"/>
                <a:gd name="T7" fmla="*/ 377713 h 1181"/>
                <a:gd name="T8" fmla="*/ 483265 w 1228"/>
                <a:gd name="T9" fmla="*/ 364506 h 1181"/>
                <a:gd name="T10" fmla="*/ 480621 w 1228"/>
                <a:gd name="T11" fmla="*/ 348658 h 1181"/>
                <a:gd name="T12" fmla="*/ 482207 w 1228"/>
                <a:gd name="T13" fmla="*/ 338621 h 1181"/>
                <a:gd name="T14" fmla="*/ 486966 w 1228"/>
                <a:gd name="T15" fmla="*/ 323830 h 1181"/>
                <a:gd name="T16" fmla="*/ 494897 w 1228"/>
                <a:gd name="T17" fmla="*/ 312736 h 1181"/>
                <a:gd name="T18" fmla="*/ 505472 w 1228"/>
                <a:gd name="T19" fmla="*/ 303755 h 1181"/>
                <a:gd name="T20" fmla="*/ 519219 w 1228"/>
                <a:gd name="T21" fmla="*/ 298473 h 1181"/>
                <a:gd name="T22" fmla="*/ 528736 w 1228"/>
                <a:gd name="T23" fmla="*/ 296888 h 1181"/>
                <a:gd name="T24" fmla="*/ 543541 w 1228"/>
                <a:gd name="T25" fmla="*/ 299001 h 1181"/>
                <a:gd name="T26" fmla="*/ 555173 w 1228"/>
                <a:gd name="T27" fmla="*/ 305868 h 1181"/>
                <a:gd name="T28" fmla="*/ 565748 w 1228"/>
                <a:gd name="T29" fmla="*/ 315377 h 1181"/>
                <a:gd name="T30" fmla="*/ 572621 w 1228"/>
                <a:gd name="T31" fmla="*/ 329112 h 1181"/>
                <a:gd name="T32" fmla="*/ 576322 w 1228"/>
                <a:gd name="T33" fmla="*/ 343376 h 1181"/>
                <a:gd name="T34" fmla="*/ 576322 w 1228"/>
                <a:gd name="T35" fmla="*/ 354469 h 1181"/>
                <a:gd name="T36" fmla="*/ 572621 w 1228"/>
                <a:gd name="T37" fmla="*/ 368733 h 1181"/>
                <a:gd name="T38" fmla="*/ 565748 w 1228"/>
                <a:gd name="T39" fmla="*/ 382468 h 1181"/>
                <a:gd name="T40" fmla="*/ 555173 w 1228"/>
                <a:gd name="T41" fmla="*/ 391976 h 1181"/>
                <a:gd name="T42" fmla="*/ 543541 w 1228"/>
                <a:gd name="T43" fmla="*/ 398844 h 1181"/>
                <a:gd name="T44" fmla="*/ 528736 w 1228"/>
                <a:gd name="T45" fmla="*/ 401485 h 1181"/>
                <a:gd name="T46" fmla="*/ 608575 w 1228"/>
                <a:gd name="T47" fmla="*/ 222930 h 1181"/>
                <a:gd name="T48" fmla="*/ 534024 w 1228"/>
                <a:gd name="T49" fmla="*/ 57581 h 1181"/>
                <a:gd name="T50" fmla="*/ 515518 w 1228"/>
                <a:gd name="T51" fmla="*/ 27470 h 1181"/>
                <a:gd name="T52" fmla="*/ 496483 w 1228"/>
                <a:gd name="T53" fmla="*/ 10037 h 1181"/>
                <a:gd name="T54" fmla="*/ 479564 w 1228"/>
                <a:gd name="T55" fmla="*/ 2113 h 1181"/>
                <a:gd name="T56" fmla="*/ 462115 w 1228"/>
                <a:gd name="T57" fmla="*/ 0 h 1181"/>
                <a:gd name="T58" fmla="*/ 93058 w 1228"/>
                <a:gd name="T59" fmla="*/ 0 h 1181"/>
                <a:gd name="T60" fmla="*/ 69264 w 1228"/>
                <a:gd name="T61" fmla="*/ 5811 h 1181"/>
                <a:gd name="T62" fmla="*/ 52345 w 1228"/>
                <a:gd name="T63" fmla="*/ 16376 h 1181"/>
                <a:gd name="T64" fmla="*/ 37540 w 1228"/>
                <a:gd name="T65" fmla="*/ 34866 h 1181"/>
                <a:gd name="T66" fmla="*/ 0 w 1228"/>
                <a:gd name="T67" fmla="*/ 132596 h 1181"/>
                <a:gd name="T68" fmla="*/ 54989 w 1228"/>
                <a:gd name="T69" fmla="*/ 64449 h 1181"/>
                <a:gd name="T70" fmla="*/ 67678 w 1228"/>
                <a:gd name="T71" fmla="*/ 44903 h 1181"/>
                <a:gd name="T72" fmla="*/ 80368 w 1228"/>
                <a:gd name="T73" fmla="*/ 34866 h 1181"/>
                <a:gd name="T74" fmla="*/ 97816 w 1228"/>
                <a:gd name="T75" fmla="*/ 27470 h 1181"/>
                <a:gd name="T76" fmla="*/ 444138 w 1228"/>
                <a:gd name="T77" fmla="*/ 25885 h 1181"/>
                <a:gd name="T78" fmla="*/ 451541 w 1228"/>
                <a:gd name="T79" fmla="*/ 25885 h 1181"/>
                <a:gd name="T80" fmla="*/ 468989 w 1228"/>
                <a:gd name="T81" fmla="*/ 30640 h 1181"/>
                <a:gd name="T82" fmla="*/ 484322 w 1228"/>
                <a:gd name="T83" fmla="*/ 40149 h 1181"/>
                <a:gd name="T84" fmla="*/ 499656 w 1228"/>
                <a:gd name="T85" fmla="*/ 59166 h 1181"/>
                <a:gd name="T86" fmla="*/ 572621 w 1228"/>
                <a:gd name="T87" fmla="*/ 215534 h 1181"/>
                <a:gd name="T88" fmla="*/ 253793 w 1228"/>
                <a:gd name="T89" fmla="*/ 356054 h 1181"/>
                <a:gd name="T90" fmla="*/ 267012 w 1228"/>
                <a:gd name="T91" fmla="*/ 359224 h 1181"/>
                <a:gd name="T92" fmla="*/ 281288 w 1228"/>
                <a:gd name="T93" fmla="*/ 372430 h 1181"/>
                <a:gd name="T94" fmla="*/ 287632 w 1228"/>
                <a:gd name="T95" fmla="*/ 393033 h 1181"/>
                <a:gd name="T96" fmla="*/ 488552 w 1228"/>
                <a:gd name="T97" fmla="*/ 586908 h 1181"/>
                <a:gd name="T98" fmla="*/ 490667 w 1228"/>
                <a:gd name="T99" fmla="*/ 601171 h 1181"/>
                <a:gd name="T100" fmla="*/ 502828 w 1228"/>
                <a:gd name="T101" fmla="*/ 617548 h 1181"/>
                <a:gd name="T102" fmla="*/ 521334 w 1228"/>
                <a:gd name="T103" fmla="*/ 623887 h 1181"/>
                <a:gd name="T104" fmla="*/ 577909 w 1228"/>
                <a:gd name="T105" fmla="*/ 622830 h 1181"/>
                <a:gd name="T106" fmla="*/ 595357 w 1228"/>
                <a:gd name="T107" fmla="*/ 613322 h 1181"/>
                <a:gd name="T108" fmla="*/ 604345 w 1228"/>
                <a:gd name="T109" fmla="*/ 594304 h 1181"/>
                <a:gd name="T110" fmla="*/ 615449 w 1228"/>
                <a:gd name="T111" fmla="*/ 493933 h 1181"/>
                <a:gd name="T112" fmla="*/ 628139 w 1228"/>
                <a:gd name="T113" fmla="*/ 490763 h 1181"/>
                <a:gd name="T114" fmla="*/ 643472 w 1228"/>
                <a:gd name="T115" fmla="*/ 477028 h 1181"/>
                <a:gd name="T116" fmla="*/ 649288 w 1228"/>
                <a:gd name="T117" fmla="*/ 456954 h 1181"/>
                <a:gd name="T118" fmla="*/ 648759 w 1228"/>
                <a:gd name="T119" fmla="*/ 252513 h 1181"/>
                <a:gd name="T120" fmla="*/ 638713 w 1228"/>
                <a:gd name="T121" fmla="*/ 234552 h 1181"/>
                <a:gd name="T122" fmla="*/ 622322 w 1228"/>
                <a:gd name="T123" fmla="*/ 223987 h 118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228" h="1181">
                  <a:moveTo>
                    <a:pt x="1000" y="760"/>
                  </a:moveTo>
                  <a:lnTo>
                    <a:pt x="1000" y="760"/>
                  </a:lnTo>
                  <a:lnTo>
                    <a:pt x="991" y="758"/>
                  </a:lnTo>
                  <a:lnTo>
                    <a:pt x="982" y="757"/>
                  </a:lnTo>
                  <a:lnTo>
                    <a:pt x="973" y="755"/>
                  </a:lnTo>
                  <a:lnTo>
                    <a:pt x="965" y="751"/>
                  </a:lnTo>
                  <a:lnTo>
                    <a:pt x="956" y="747"/>
                  </a:lnTo>
                  <a:lnTo>
                    <a:pt x="949" y="742"/>
                  </a:lnTo>
                  <a:lnTo>
                    <a:pt x="942" y="737"/>
                  </a:lnTo>
                  <a:lnTo>
                    <a:pt x="936" y="730"/>
                  </a:lnTo>
                  <a:lnTo>
                    <a:pt x="931" y="724"/>
                  </a:lnTo>
                  <a:lnTo>
                    <a:pt x="925" y="715"/>
                  </a:lnTo>
                  <a:lnTo>
                    <a:pt x="921" y="707"/>
                  </a:lnTo>
                  <a:lnTo>
                    <a:pt x="916" y="698"/>
                  </a:lnTo>
                  <a:lnTo>
                    <a:pt x="914" y="690"/>
                  </a:lnTo>
                  <a:lnTo>
                    <a:pt x="912" y="680"/>
                  </a:lnTo>
                  <a:lnTo>
                    <a:pt x="911" y="671"/>
                  </a:lnTo>
                  <a:lnTo>
                    <a:pt x="909" y="660"/>
                  </a:lnTo>
                  <a:lnTo>
                    <a:pt x="911" y="650"/>
                  </a:lnTo>
                  <a:lnTo>
                    <a:pt x="912" y="641"/>
                  </a:lnTo>
                  <a:lnTo>
                    <a:pt x="914" y="631"/>
                  </a:lnTo>
                  <a:lnTo>
                    <a:pt x="916" y="623"/>
                  </a:lnTo>
                  <a:lnTo>
                    <a:pt x="921" y="613"/>
                  </a:lnTo>
                  <a:lnTo>
                    <a:pt x="925" y="606"/>
                  </a:lnTo>
                  <a:lnTo>
                    <a:pt x="931" y="597"/>
                  </a:lnTo>
                  <a:lnTo>
                    <a:pt x="936" y="592"/>
                  </a:lnTo>
                  <a:lnTo>
                    <a:pt x="942" y="584"/>
                  </a:lnTo>
                  <a:lnTo>
                    <a:pt x="949" y="579"/>
                  </a:lnTo>
                  <a:lnTo>
                    <a:pt x="956" y="575"/>
                  </a:lnTo>
                  <a:lnTo>
                    <a:pt x="965" y="570"/>
                  </a:lnTo>
                  <a:lnTo>
                    <a:pt x="973" y="566"/>
                  </a:lnTo>
                  <a:lnTo>
                    <a:pt x="982" y="565"/>
                  </a:lnTo>
                  <a:lnTo>
                    <a:pt x="991" y="563"/>
                  </a:lnTo>
                  <a:lnTo>
                    <a:pt x="1000" y="562"/>
                  </a:lnTo>
                  <a:lnTo>
                    <a:pt x="1009" y="563"/>
                  </a:lnTo>
                  <a:lnTo>
                    <a:pt x="1018" y="565"/>
                  </a:lnTo>
                  <a:lnTo>
                    <a:pt x="1028" y="566"/>
                  </a:lnTo>
                  <a:lnTo>
                    <a:pt x="1035" y="570"/>
                  </a:lnTo>
                  <a:lnTo>
                    <a:pt x="1043" y="575"/>
                  </a:lnTo>
                  <a:lnTo>
                    <a:pt x="1050" y="579"/>
                  </a:lnTo>
                  <a:lnTo>
                    <a:pt x="1057" y="584"/>
                  </a:lnTo>
                  <a:lnTo>
                    <a:pt x="1065" y="592"/>
                  </a:lnTo>
                  <a:lnTo>
                    <a:pt x="1070" y="597"/>
                  </a:lnTo>
                  <a:lnTo>
                    <a:pt x="1074" y="606"/>
                  </a:lnTo>
                  <a:lnTo>
                    <a:pt x="1079" y="613"/>
                  </a:lnTo>
                  <a:lnTo>
                    <a:pt x="1083" y="623"/>
                  </a:lnTo>
                  <a:lnTo>
                    <a:pt x="1086" y="631"/>
                  </a:lnTo>
                  <a:lnTo>
                    <a:pt x="1089" y="641"/>
                  </a:lnTo>
                  <a:lnTo>
                    <a:pt x="1090" y="650"/>
                  </a:lnTo>
                  <a:lnTo>
                    <a:pt x="1090" y="660"/>
                  </a:lnTo>
                  <a:lnTo>
                    <a:pt x="1090" y="671"/>
                  </a:lnTo>
                  <a:lnTo>
                    <a:pt x="1089" y="680"/>
                  </a:lnTo>
                  <a:lnTo>
                    <a:pt x="1086" y="690"/>
                  </a:lnTo>
                  <a:lnTo>
                    <a:pt x="1083" y="698"/>
                  </a:lnTo>
                  <a:lnTo>
                    <a:pt x="1079" y="707"/>
                  </a:lnTo>
                  <a:lnTo>
                    <a:pt x="1074" y="715"/>
                  </a:lnTo>
                  <a:lnTo>
                    <a:pt x="1070" y="724"/>
                  </a:lnTo>
                  <a:lnTo>
                    <a:pt x="1065" y="730"/>
                  </a:lnTo>
                  <a:lnTo>
                    <a:pt x="1057" y="737"/>
                  </a:lnTo>
                  <a:lnTo>
                    <a:pt x="1050" y="742"/>
                  </a:lnTo>
                  <a:lnTo>
                    <a:pt x="1043" y="747"/>
                  </a:lnTo>
                  <a:lnTo>
                    <a:pt x="1035" y="751"/>
                  </a:lnTo>
                  <a:lnTo>
                    <a:pt x="1028" y="755"/>
                  </a:lnTo>
                  <a:lnTo>
                    <a:pt x="1018" y="757"/>
                  </a:lnTo>
                  <a:lnTo>
                    <a:pt x="1009" y="758"/>
                  </a:lnTo>
                  <a:lnTo>
                    <a:pt x="1000" y="760"/>
                  </a:lnTo>
                  <a:close/>
                  <a:moveTo>
                    <a:pt x="1164" y="422"/>
                  </a:moveTo>
                  <a:lnTo>
                    <a:pt x="1151" y="422"/>
                  </a:lnTo>
                  <a:lnTo>
                    <a:pt x="1022" y="135"/>
                  </a:lnTo>
                  <a:lnTo>
                    <a:pt x="1010" y="109"/>
                  </a:lnTo>
                  <a:lnTo>
                    <a:pt x="999" y="88"/>
                  </a:lnTo>
                  <a:lnTo>
                    <a:pt x="988" y="69"/>
                  </a:lnTo>
                  <a:lnTo>
                    <a:pt x="975" y="52"/>
                  </a:lnTo>
                  <a:lnTo>
                    <a:pt x="963" y="39"/>
                  </a:lnTo>
                  <a:lnTo>
                    <a:pt x="951" y="28"/>
                  </a:lnTo>
                  <a:lnTo>
                    <a:pt x="939" y="19"/>
                  </a:lnTo>
                  <a:lnTo>
                    <a:pt x="926" y="12"/>
                  </a:lnTo>
                  <a:lnTo>
                    <a:pt x="916" y="8"/>
                  </a:lnTo>
                  <a:lnTo>
                    <a:pt x="907" y="4"/>
                  </a:lnTo>
                  <a:lnTo>
                    <a:pt x="889" y="1"/>
                  </a:lnTo>
                  <a:lnTo>
                    <a:pt x="878" y="0"/>
                  </a:lnTo>
                  <a:lnTo>
                    <a:pt x="874" y="0"/>
                  </a:lnTo>
                  <a:lnTo>
                    <a:pt x="195" y="0"/>
                  </a:lnTo>
                  <a:lnTo>
                    <a:pt x="176" y="0"/>
                  </a:lnTo>
                  <a:lnTo>
                    <a:pt x="159" y="2"/>
                  </a:lnTo>
                  <a:lnTo>
                    <a:pt x="145" y="5"/>
                  </a:lnTo>
                  <a:lnTo>
                    <a:pt x="131" y="11"/>
                  </a:lnTo>
                  <a:lnTo>
                    <a:pt x="119" y="17"/>
                  </a:lnTo>
                  <a:lnTo>
                    <a:pt x="109" y="24"/>
                  </a:lnTo>
                  <a:lnTo>
                    <a:pt x="99" y="31"/>
                  </a:lnTo>
                  <a:lnTo>
                    <a:pt x="92" y="38"/>
                  </a:lnTo>
                  <a:lnTo>
                    <a:pt x="80" y="54"/>
                  </a:lnTo>
                  <a:lnTo>
                    <a:pt x="71" y="66"/>
                  </a:lnTo>
                  <a:lnTo>
                    <a:pt x="67" y="75"/>
                  </a:lnTo>
                  <a:lnTo>
                    <a:pt x="65" y="79"/>
                  </a:lnTo>
                  <a:lnTo>
                    <a:pt x="0" y="251"/>
                  </a:lnTo>
                  <a:lnTo>
                    <a:pt x="58" y="251"/>
                  </a:lnTo>
                  <a:lnTo>
                    <a:pt x="104" y="122"/>
                  </a:lnTo>
                  <a:lnTo>
                    <a:pt x="109" y="111"/>
                  </a:lnTo>
                  <a:lnTo>
                    <a:pt x="117" y="99"/>
                  </a:lnTo>
                  <a:lnTo>
                    <a:pt x="128" y="85"/>
                  </a:lnTo>
                  <a:lnTo>
                    <a:pt x="135" y="79"/>
                  </a:lnTo>
                  <a:lnTo>
                    <a:pt x="142" y="72"/>
                  </a:lnTo>
                  <a:lnTo>
                    <a:pt x="152" y="66"/>
                  </a:lnTo>
                  <a:lnTo>
                    <a:pt x="162" y="61"/>
                  </a:lnTo>
                  <a:lnTo>
                    <a:pt x="172" y="56"/>
                  </a:lnTo>
                  <a:lnTo>
                    <a:pt x="185" y="52"/>
                  </a:lnTo>
                  <a:lnTo>
                    <a:pt x="198" y="49"/>
                  </a:lnTo>
                  <a:lnTo>
                    <a:pt x="212" y="49"/>
                  </a:lnTo>
                  <a:lnTo>
                    <a:pt x="840" y="49"/>
                  </a:lnTo>
                  <a:lnTo>
                    <a:pt x="844" y="49"/>
                  </a:lnTo>
                  <a:lnTo>
                    <a:pt x="854" y="49"/>
                  </a:lnTo>
                  <a:lnTo>
                    <a:pt x="868" y="52"/>
                  </a:lnTo>
                  <a:lnTo>
                    <a:pt x="878" y="54"/>
                  </a:lnTo>
                  <a:lnTo>
                    <a:pt x="887" y="58"/>
                  </a:lnTo>
                  <a:lnTo>
                    <a:pt x="897" y="62"/>
                  </a:lnTo>
                  <a:lnTo>
                    <a:pt x="907" y="68"/>
                  </a:lnTo>
                  <a:lnTo>
                    <a:pt x="916" y="76"/>
                  </a:lnTo>
                  <a:lnTo>
                    <a:pt x="926" y="86"/>
                  </a:lnTo>
                  <a:lnTo>
                    <a:pt x="936" y="98"/>
                  </a:lnTo>
                  <a:lnTo>
                    <a:pt x="945" y="112"/>
                  </a:lnTo>
                  <a:lnTo>
                    <a:pt x="952" y="128"/>
                  </a:lnTo>
                  <a:lnTo>
                    <a:pt x="959" y="148"/>
                  </a:lnTo>
                  <a:lnTo>
                    <a:pt x="1083" y="408"/>
                  </a:lnTo>
                  <a:lnTo>
                    <a:pt x="347" y="408"/>
                  </a:lnTo>
                  <a:lnTo>
                    <a:pt x="467" y="674"/>
                  </a:lnTo>
                  <a:lnTo>
                    <a:pt x="480" y="674"/>
                  </a:lnTo>
                  <a:lnTo>
                    <a:pt x="492" y="676"/>
                  </a:lnTo>
                  <a:lnTo>
                    <a:pt x="505" y="680"/>
                  </a:lnTo>
                  <a:lnTo>
                    <a:pt x="515" y="686"/>
                  </a:lnTo>
                  <a:lnTo>
                    <a:pt x="525" y="694"/>
                  </a:lnTo>
                  <a:lnTo>
                    <a:pt x="532" y="705"/>
                  </a:lnTo>
                  <a:lnTo>
                    <a:pt x="538" y="717"/>
                  </a:lnTo>
                  <a:lnTo>
                    <a:pt x="542" y="730"/>
                  </a:lnTo>
                  <a:lnTo>
                    <a:pt x="544" y="744"/>
                  </a:lnTo>
                  <a:lnTo>
                    <a:pt x="544" y="935"/>
                  </a:lnTo>
                  <a:lnTo>
                    <a:pt x="924" y="935"/>
                  </a:lnTo>
                  <a:lnTo>
                    <a:pt x="924" y="1111"/>
                  </a:lnTo>
                  <a:lnTo>
                    <a:pt x="925" y="1125"/>
                  </a:lnTo>
                  <a:lnTo>
                    <a:pt x="928" y="1138"/>
                  </a:lnTo>
                  <a:lnTo>
                    <a:pt x="934" y="1149"/>
                  </a:lnTo>
                  <a:lnTo>
                    <a:pt x="942" y="1161"/>
                  </a:lnTo>
                  <a:lnTo>
                    <a:pt x="951" y="1169"/>
                  </a:lnTo>
                  <a:lnTo>
                    <a:pt x="962" y="1175"/>
                  </a:lnTo>
                  <a:lnTo>
                    <a:pt x="973" y="1179"/>
                  </a:lnTo>
                  <a:lnTo>
                    <a:pt x="986" y="1181"/>
                  </a:lnTo>
                  <a:lnTo>
                    <a:pt x="1080" y="1181"/>
                  </a:lnTo>
                  <a:lnTo>
                    <a:pt x="1093" y="1179"/>
                  </a:lnTo>
                  <a:lnTo>
                    <a:pt x="1106" y="1175"/>
                  </a:lnTo>
                  <a:lnTo>
                    <a:pt x="1116" y="1169"/>
                  </a:lnTo>
                  <a:lnTo>
                    <a:pt x="1126" y="1161"/>
                  </a:lnTo>
                  <a:lnTo>
                    <a:pt x="1133" y="1149"/>
                  </a:lnTo>
                  <a:lnTo>
                    <a:pt x="1139" y="1138"/>
                  </a:lnTo>
                  <a:lnTo>
                    <a:pt x="1143" y="1125"/>
                  </a:lnTo>
                  <a:lnTo>
                    <a:pt x="1144" y="1111"/>
                  </a:lnTo>
                  <a:lnTo>
                    <a:pt x="1144" y="935"/>
                  </a:lnTo>
                  <a:lnTo>
                    <a:pt x="1164" y="935"/>
                  </a:lnTo>
                  <a:lnTo>
                    <a:pt x="1177" y="933"/>
                  </a:lnTo>
                  <a:lnTo>
                    <a:pt x="1188" y="929"/>
                  </a:lnTo>
                  <a:lnTo>
                    <a:pt x="1200" y="922"/>
                  </a:lnTo>
                  <a:lnTo>
                    <a:pt x="1208" y="913"/>
                  </a:lnTo>
                  <a:lnTo>
                    <a:pt x="1217" y="903"/>
                  </a:lnTo>
                  <a:lnTo>
                    <a:pt x="1223" y="892"/>
                  </a:lnTo>
                  <a:lnTo>
                    <a:pt x="1227" y="879"/>
                  </a:lnTo>
                  <a:lnTo>
                    <a:pt x="1228" y="865"/>
                  </a:lnTo>
                  <a:lnTo>
                    <a:pt x="1228" y="492"/>
                  </a:lnTo>
                  <a:lnTo>
                    <a:pt x="1227" y="478"/>
                  </a:lnTo>
                  <a:lnTo>
                    <a:pt x="1223" y="465"/>
                  </a:lnTo>
                  <a:lnTo>
                    <a:pt x="1217" y="454"/>
                  </a:lnTo>
                  <a:lnTo>
                    <a:pt x="1208" y="444"/>
                  </a:lnTo>
                  <a:lnTo>
                    <a:pt x="1200" y="435"/>
                  </a:lnTo>
                  <a:lnTo>
                    <a:pt x="1188" y="428"/>
                  </a:lnTo>
                  <a:lnTo>
                    <a:pt x="1177" y="424"/>
                  </a:lnTo>
                  <a:lnTo>
                    <a:pt x="1164" y="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  <p:sp>
          <p:nvSpPr>
            <p:cNvPr id="131" name="Freeform 55"/>
            <p:cNvSpPr>
              <a:spLocks noEditPoints="1"/>
            </p:cNvSpPr>
            <p:nvPr/>
          </p:nvSpPr>
          <p:spPr bwMode="auto">
            <a:xfrm>
              <a:off x="6430633" y="2057622"/>
              <a:ext cx="649288" cy="627062"/>
            </a:xfrm>
            <a:custGeom>
              <a:avLst/>
              <a:gdLst>
                <a:gd name="T0" fmla="*/ 73025 w 1227"/>
                <a:gd name="T1" fmla="*/ 345600 h 1183"/>
                <a:gd name="T2" fmla="*/ 76200 w 1227"/>
                <a:gd name="T3" fmla="*/ 330758 h 1183"/>
                <a:gd name="T4" fmla="*/ 83608 w 1227"/>
                <a:gd name="T5" fmla="*/ 318037 h 1183"/>
                <a:gd name="T6" fmla="*/ 93663 w 1227"/>
                <a:gd name="T7" fmla="*/ 307965 h 1183"/>
                <a:gd name="T8" fmla="*/ 106363 w 1227"/>
                <a:gd name="T9" fmla="*/ 301075 h 1183"/>
                <a:gd name="T10" fmla="*/ 120650 w 1227"/>
                <a:gd name="T11" fmla="*/ 298954 h 1183"/>
                <a:gd name="T12" fmla="*/ 130175 w 1227"/>
                <a:gd name="T13" fmla="*/ 299484 h 1183"/>
                <a:gd name="T14" fmla="*/ 142875 w 1227"/>
                <a:gd name="T15" fmla="*/ 304785 h 1183"/>
                <a:gd name="T16" fmla="*/ 154517 w 1227"/>
                <a:gd name="T17" fmla="*/ 313796 h 1183"/>
                <a:gd name="T18" fmla="*/ 162454 w 1227"/>
                <a:gd name="T19" fmla="*/ 325987 h 1183"/>
                <a:gd name="T20" fmla="*/ 167217 w 1227"/>
                <a:gd name="T21" fmla="*/ 340299 h 1183"/>
                <a:gd name="T22" fmla="*/ 167746 w 1227"/>
                <a:gd name="T23" fmla="*/ 350900 h 1183"/>
                <a:gd name="T24" fmla="*/ 165629 w 1227"/>
                <a:gd name="T25" fmla="*/ 366802 h 1183"/>
                <a:gd name="T26" fmla="*/ 160338 w 1227"/>
                <a:gd name="T27" fmla="*/ 380584 h 1183"/>
                <a:gd name="T28" fmla="*/ 150813 w 1227"/>
                <a:gd name="T29" fmla="*/ 391715 h 1183"/>
                <a:gd name="T30" fmla="*/ 139171 w 1227"/>
                <a:gd name="T31" fmla="*/ 399136 h 1183"/>
                <a:gd name="T32" fmla="*/ 124883 w 1227"/>
                <a:gd name="T33" fmla="*/ 402846 h 1183"/>
                <a:gd name="T34" fmla="*/ 115358 w 1227"/>
                <a:gd name="T35" fmla="*/ 402846 h 1183"/>
                <a:gd name="T36" fmla="*/ 101600 w 1227"/>
                <a:gd name="T37" fmla="*/ 399136 h 1183"/>
                <a:gd name="T38" fmla="*/ 90488 w 1227"/>
                <a:gd name="T39" fmla="*/ 391715 h 1183"/>
                <a:gd name="T40" fmla="*/ 80433 w 1227"/>
                <a:gd name="T41" fmla="*/ 380584 h 1183"/>
                <a:gd name="T42" fmla="*/ 74613 w 1227"/>
                <a:gd name="T43" fmla="*/ 366802 h 1183"/>
                <a:gd name="T44" fmla="*/ 72496 w 1227"/>
                <a:gd name="T45" fmla="*/ 350900 h 1183"/>
                <a:gd name="T46" fmla="*/ 0 w 1227"/>
                <a:gd name="T47" fmla="*/ 459033 h 1183"/>
                <a:gd name="T48" fmla="*/ 3175 w 1227"/>
                <a:gd name="T49" fmla="*/ 473344 h 1183"/>
                <a:gd name="T50" fmla="*/ 15346 w 1227"/>
                <a:gd name="T51" fmla="*/ 489776 h 1183"/>
                <a:gd name="T52" fmla="*/ 33867 w 1227"/>
                <a:gd name="T53" fmla="*/ 495607 h 1183"/>
                <a:gd name="T54" fmla="*/ 44450 w 1227"/>
                <a:gd name="T55" fmla="*/ 589958 h 1183"/>
                <a:gd name="T56" fmla="*/ 49742 w 1227"/>
                <a:gd name="T57" fmla="*/ 610630 h 1183"/>
                <a:gd name="T58" fmla="*/ 64558 w 1227"/>
                <a:gd name="T59" fmla="*/ 623882 h 1183"/>
                <a:gd name="T60" fmla="*/ 127529 w 1227"/>
                <a:gd name="T61" fmla="*/ 627062 h 1183"/>
                <a:gd name="T62" fmla="*/ 140758 w 1227"/>
                <a:gd name="T63" fmla="*/ 623882 h 1183"/>
                <a:gd name="T64" fmla="*/ 155046 w 1227"/>
                <a:gd name="T65" fmla="*/ 610630 h 1183"/>
                <a:gd name="T66" fmla="*/ 161396 w 1227"/>
                <a:gd name="T67" fmla="*/ 589958 h 1183"/>
                <a:gd name="T68" fmla="*/ 362479 w 1227"/>
                <a:gd name="T69" fmla="*/ 395425 h 1183"/>
                <a:gd name="T70" fmla="*/ 364596 w 1227"/>
                <a:gd name="T71" fmla="*/ 380584 h 1183"/>
                <a:gd name="T72" fmla="*/ 376767 w 1227"/>
                <a:gd name="T73" fmla="*/ 364682 h 1183"/>
                <a:gd name="T74" fmla="*/ 395288 w 1227"/>
                <a:gd name="T75" fmla="*/ 358321 h 1183"/>
                <a:gd name="T76" fmla="*/ 76200 w 1227"/>
                <a:gd name="T77" fmla="*/ 217325 h 1183"/>
                <a:gd name="T78" fmla="*/ 145521 w 1227"/>
                <a:gd name="T79" fmla="*/ 68908 h 1183"/>
                <a:gd name="T80" fmla="*/ 159808 w 1227"/>
                <a:gd name="T81" fmla="*/ 47175 h 1183"/>
                <a:gd name="T82" fmla="*/ 175683 w 1227"/>
                <a:gd name="T83" fmla="*/ 33924 h 1183"/>
                <a:gd name="T84" fmla="*/ 189971 w 1227"/>
                <a:gd name="T85" fmla="*/ 28093 h 1183"/>
                <a:gd name="T86" fmla="*/ 204788 w 1227"/>
                <a:gd name="T87" fmla="*/ 26503 h 1183"/>
                <a:gd name="T88" fmla="*/ 544513 w 1227"/>
                <a:gd name="T89" fmla="*/ 27563 h 1183"/>
                <a:gd name="T90" fmla="*/ 564092 w 1227"/>
                <a:gd name="T91" fmla="*/ 32864 h 1183"/>
                <a:gd name="T92" fmla="*/ 578380 w 1227"/>
                <a:gd name="T93" fmla="*/ 42405 h 1183"/>
                <a:gd name="T94" fmla="*/ 591080 w 1227"/>
                <a:gd name="T95" fmla="*/ 59897 h 1183"/>
                <a:gd name="T96" fmla="*/ 649288 w 1227"/>
                <a:gd name="T97" fmla="*/ 133575 h 1183"/>
                <a:gd name="T98" fmla="*/ 613834 w 1227"/>
                <a:gd name="T99" fmla="*/ 40815 h 1183"/>
                <a:gd name="T100" fmla="*/ 601134 w 1227"/>
                <a:gd name="T101" fmla="*/ 21202 h 1183"/>
                <a:gd name="T102" fmla="*/ 586846 w 1227"/>
                <a:gd name="T103" fmla="*/ 10071 h 1183"/>
                <a:gd name="T104" fmla="*/ 565150 w 1227"/>
                <a:gd name="T105" fmla="*/ 1590 h 1183"/>
                <a:gd name="T106" fmla="*/ 187325 w 1227"/>
                <a:gd name="T107" fmla="*/ 1060 h 1183"/>
                <a:gd name="T108" fmla="*/ 179388 w 1227"/>
                <a:gd name="T109" fmla="*/ 1060 h 1183"/>
                <a:gd name="T110" fmla="*/ 158750 w 1227"/>
                <a:gd name="T111" fmla="*/ 7951 h 1183"/>
                <a:gd name="T112" fmla="*/ 140229 w 1227"/>
                <a:gd name="T113" fmla="*/ 22263 h 1183"/>
                <a:gd name="T114" fmla="*/ 120650 w 1227"/>
                <a:gd name="T115" fmla="*/ 47175 h 1183"/>
                <a:gd name="T116" fmla="*/ 39688 w 1227"/>
                <a:gd name="T117" fmla="*/ 224746 h 1183"/>
                <a:gd name="T118" fmla="*/ 26988 w 1227"/>
                <a:gd name="T119" fmla="*/ 225806 h 1183"/>
                <a:gd name="T120" fmla="*/ 10054 w 1227"/>
                <a:gd name="T121" fmla="*/ 235347 h 1183"/>
                <a:gd name="T122" fmla="*/ 529 w 1227"/>
                <a:gd name="T123" fmla="*/ 254429 h 118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227" h="1183">
                  <a:moveTo>
                    <a:pt x="137" y="662"/>
                  </a:moveTo>
                  <a:lnTo>
                    <a:pt x="137" y="662"/>
                  </a:lnTo>
                  <a:lnTo>
                    <a:pt x="138" y="652"/>
                  </a:lnTo>
                  <a:lnTo>
                    <a:pt x="140" y="642"/>
                  </a:lnTo>
                  <a:lnTo>
                    <a:pt x="141" y="634"/>
                  </a:lnTo>
                  <a:lnTo>
                    <a:pt x="144" y="624"/>
                  </a:lnTo>
                  <a:lnTo>
                    <a:pt x="148" y="615"/>
                  </a:lnTo>
                  <a:lnTo>
                    <a:pt x="152" y="607"/>
                  </a:lnTo>
                  <a:lnTo>
                    <a:pt x="158" y="600"/>
                  </a:lnTo>
                  <a:lnTo>
                    <a:pt x="164" y="592"/>
                  </a:lnTo>
                  <a:lnTo>
                    <a:pt x="171" y="587"/>
                  </a:lnTo>
                  <a:lnTo>
                    <a:pt x="177" y="581"/>
                  </a:lnTo>
                  <a:lnTo>
                    <a:pt x="185" y="575"/>
                  </a:lnTo>
                  <a:lnTo>
                    <a:pt x="192" y="571"/>
                  </a:lnTo>
                  <a:lnTo>
                    <a:pt x="201" y="568"/>
                  </a:lnTo>
                  <a:lnTo>
                    <a:pt x="209" y="565"/>
                  </a:lnTo>
                  <a:lnTo>
                    <a:pt x="218" y="564"/>
                  </a:lnTo>
                  <a:lnTo>
                    <a:pt x="228" y="564"/>
                  </a:lnTo>
                  <a:lnTo>
                    <a:pt x="236" y="564"/>
                  </a:lnTo>
                  <a:lnTo>
                    <a:pt x="246" y="565"/>
                  </a:lnTo>
                  <a:lnTo>
                    <a:pt x="255" y="568"/>
                  </a:lnTo>
                  <a:lnTo>
                    <a:pt x="263" y="571"/>
                  </a:lnTo>
                  <a:lnTo>
                    <a:pt x="270" y="575"/>
                  </a:lnTo>
                  <a:lnTo>
                    <a:pt x="278" y="581"/>
                  </a:lnTo>
                  <a:lnTo>
                    <a:pt x="285" y="587"/>
                  </a:lnTo>
                  <a:lnTo>
                    <a:pt x="292" y="592"/>
                  </a:lnTo>
                  <a:lnTo>
                    <a:pt x="298" y="600"/>
                  </a:lnTo>
                  <a:lnTo>
                    <a:pt x="303" y="607"/>
                  </a:lnTo>
                  <a:lnTo>
                    <a:pt x="307" y="615"/>
                  </a:lnTo>
                  <a:lnTo>
                    <a:pt x="310" y="624"/>
                  </a:lnTo>
                  <a:lnTo>
                    <a:pt x="313" y="634"/>
                  </a:lnTo>
                  <a:lnTo>
                    <a:pt x="316" y="642"/>
                  </a:lnTo>
                  <a:lnTo>
                    <a:pt x="317" y="652"/>
                  </a:lnTo>
                  <a:lnTo>
                    <a:pt x="317" y="662"/>
                  </a:lnTo>
                  <a:lnTo>
                    <a:pt x="317" y="672"/>
                  </a:lnTo>
                  <a:lnTo>
                    <a:pt x="316" y="682"/>
                  </a:lnTo>
                  <a:lnTo>
                    <a:pt x="313" y="692"/>
                  </a:lnTo>
                  <a:lnTo>
                    <a:pt x="310" y="701"/>
                  </a:lnTo>
                  <a:lnTo>
                    <a:pt x="307" y="709"/>
                  </a:lnTo>
                  <a:lnTo>
                    <a:pt x="303" y="718"/>
                  </a:lnTo>
                  <a:lnTo>
                    <a:pt x="298" y="725"/>
                  </a:lnTo>
                  <a:lnTo>
                    <a:pt x="292" y="732"/>
                  </a:lnTo>
                  <a:lnTo>
                    <a:pt x="285" y="739"/>
                  </a:lnTo>
                  <a:lnTo>
                    <a:pt x="278" y="745"/>
                  </a:lnTo>
                  <a:lnTo>
                    <a:pt x="270" y="749"/>
                  </a:lnTo>
                  <a:lnTo>
                    <a:pt x="263" y="753"/>
                  </a:lnTo>
                  <a:lnTo>
                    <a:pt x="255" y="756"/>
                  </a:lnTo>
                  <a:lnTo>
                    <a:pt x="246" y="759"/>
                  </a:lnTo>
                  <a:lnTo>
                    <a:pt x="236" y="760"/>
                  </a:lnTo>
                  <a:lnTo>
                    <a:pt x="228" y="760"/>
                  </a:lnTo>
                  <a:lnTo>
                    <a:pt x="218" y="760"/>
                  </a:lnTo>
                  <a:lnTo>
                    <a:pt x="209" y="759"/>
                  </a:lnTo>
                  <a:lnTo>
                    <a:pt x="201" y="756"/>
                  </a:lnTo>
                  <a:lnTo>
                    <a:pt x="192" y="753"/>
                  </a:lnTo>
                  <a:lnTo>
                    <a:pt x="185" y="749"/>
                  </a:lnTo>
                  <a:lnTo>
                    <a:pt x="177" y="745"/>
                  </a:lnTo>
                  <a:lnTo>
                    <a:pt x="171" y="739"/>
                  </a:lnTo>
                  <a:lnTo>
                    <a:pt x="164" y="732"/>
                  </a:lnTo>
                  <a:lnTo>
                    <a:pt x="158" y="725"/>
                  </a:lnTo>
                  <a:lnTo>
                    <a:pt x="152" y="718"/>
                  </a:lnTo>
                  <a:lnTo>
                    <a:pt x="148" y="709"/>
                  </a:lnTo>
                  <a:lnTo>
                    <a:pt x="144" y="701"/>
                  </a:lnTo>
                  <a:lnTo>
                    <a:pt x="141" y="692"/>
                  </a:lnTo>
                  <a:lnTo>
                    <a:pt x="140" y="682"/>
                  </a:lnTo>
                  <a:lnTo>
                    <a:pt x="138" y="672"/>
                  </a:lnTo>
                  <a:lnTo>
                    <a:pt x="137" y="662"/>
                  </a:lnTo>
                  <a:close/>
                  <a:moveTo>
                    <a:pt x="0" y="494"/>
                  </a:moveTo>
                  <a:lnTo>
                    <a:pt x="0" y="866"/>
                  </a:lnTo>
                  <a:lnTo>
                    <a:pt x="1" y="880"/>
                  </a:lnTo>
                  <a:lnTo>
                    <a:pt x="6" y="893"/>
                  </a:lnTo>
                  <a:lnTo>
                    <a:pt x="11" y="906"/>
                  </a:lnTo>
                  <a:lnTo>
                    <a:pt x="19" y="915"/>
                  </a:lnTo>
                  <a:lnTo>
                    <a:pt x="29" y="924"/>
                  </a:lnTo>
                  <a:lnTo>
                    <a:pt x="38" y="930"/>
                  </a:lnTo>
                  <a:lnTo>
                    <a:pt x="51" y="934"/>
                  </a:lnTo>
                  <a:lnTo>
                    <a:pt x="64" y="935"/>
                  </a:lnTo>
                  <a:lnTo>
                    <a:pt x="84" y="935"/>
                  </a:lnTo>
                  <a:lnTo>
                    <a:pt x="84" y="1113"/>
                  </a:lnTo>
                  <a:lnTo>
                    <a:pt x="85" y="1128"/>
                  </a:lnTo>
                  <a:lnTo>
                    <a:pt x="88" y="1140"/>
                  </a:lnTo>
                  <a:lnTo>
                    <a:pt x="94" y="1152"/>
                  </a:lnTo>
                  <a:lnTo>
                    <a:pt x="103" y="1162"/>
                  </a:lnTo>
                  <a:lnTo>
                    <a:pt x="111" y="1170"/>
                  </a:lnTo>
                  <a:lnTo>
                    <a:pt x="122" y="1177"/>
                  </a:lnTo>
                  <a:lnTo>
                    <a:pt x="135" y="1182"/>
                  </a:lnTo>
                  <a:lnTo>
                    <a:pt x="148" y="1183"/>
                  </a:lnTo>
                  <a:lnTo>
                    <a:pt x="241" y="1183"/>
                  </a:lnTo>
                  <a:lnTo>
                    <a:pt x="253" y="1182"/>
                  </a:lnTo>
                  <a:lnTo>
                    <a:pt x="266" y="1177"/>
                  </a:lnTo>
                  <a:lnTo>
                    <a:pt x="276" y="1170"/>
                  </a:lnTo>
                  <a:lnTo>
                    <a:pt x="286" y="1162"/>
                  </a:lnTo>
                  <a:lnTo>
                    <a:pt x="293" y="1152"/>
                  </a:lnTo>
                  <a:lnTo>
                    <a:pt x="299" y="1140"/>
                  </a:lnTo>
                  <a:lnTo>
                    <a:pt x="303" y="1128"/>
                  </a:lnTo>
                  <a:lnTo>
                    <a:pt x="305" y="1113"/>
                  </a:lnTo>
                  <a:lnTo>
                    <a:pt x="305" y="935"/>
                  </a:lnTo>
                  <a:lnTo>
                    <a:pt x="685" y="935"/>
                  </a:lnTo>
                  <a:lnTo>
                    <a:pt x="685" y="746"/>
                  </a:lnTo>
                  <a:lnTo>
                    <a:pt x="686" y="732"/>
                  </a:lnTo>
                  <a:lnTo>
                    <a:pt x="689" y="718"/>
                  </a:lnTo>
                  <a:lnTo>
                    <a:pt x="695" y="706"/>
                  </a:lnTo>
                  <a:lnTo>
                    <a:pt x="703" y="696"/>
                  </a:lnTo>
                  <a:lnTo>
                    <a:pt x="712" y="688"/>
                  </a:lnTo>
                  <a:lnTo>
                    <a:pt x="723" y="681"/>
                  </a:lnTo>
                  <a:lnTo>
                    <a:pt x="735" y="678"/>
                  </a:lnTo>
                  <a:lnTo>
                    <a:pt x="747" y="676"/>
                  </a:lnTo>
                  <a:lnTo>
                    <a:pt x="760" y="676"/>
                  </a:lnTo>
                  <a:lnTo>
                    <a:pt x="880" y="410"/>
                  </a:lnTo>
                  <a:lnTo>
                    <a:pt x="144" y="410"/>
                  </a:lnTo>
                  <a:lnTo>
                    <a:pt x="268" y="148"/>
                  </a:lnTo>
                  <a:lnTo>
                    <a:pt x="275" y="130"/>
                  </a:lnTo>
                  <a:lnTo>
                    <a:pt x="283" y="114"/>
                  </a:lnTo>
                  <a:lnTo>
                    <a:pt x="292" y="100"/>
                  </a:lnTo>
                  <a:lnTo>
                    <a:pt x="302" y="89"/>
                  </a:lnTo>
                  <a:lnTo>
                    <a:pt x="310" y="79"/>
                  </a:lnTo>
                  <a:lnTo>
                    <a:pt x="320" y="70"/>
                  </a:lnTo>
                  <a:lnTo>
                    <a:pt x="332" y="64"/>
                  </a:lnTo>
                  <a:lnTo>
                    <a:pt x="340" y="59"/>
                  </a:lnTo>
                  <a:lnTo>
                    <a:pt x="350" y="56"/>
                  </a:lnTo>
                  <a:lnTo>
                    <a:pt x="359" y="53"/>
                  </a:lnTo>
                  <a:lnTo>
                    <a:pt x="374" y="52"/>
                  </a:lnTo>
                  <a:lnTo>
                    <a:pt x="384" y="50"/>
                  </a:lnTo>
                  <a:lnTo>
                    <a:pt x="387" y="50"/>
                  </a:lnTo>
                  <a:lnTo>
                    <a:pt x="1015" y="50"/>
                  </a:lnTo>
                  <a:lnTo>
                    <a:pt x="1029" y="52"/>
                  </a:lnTo>
                  <a:lnTo>
                    <a:pt x="1043" y="54"/>
                  </a:lnTo>
                  <a:lnTo>
                    <a:pt x="1055" y="57"/>
                  </a:lnTo>
                  <a:lnTo>
                    <a:pt x="1066" y="62"/>
                  </a:lnTo>
                  <a:lnTo>
                    <a:pt x="1076" y="67"/>
                  </a:lnTo>
                  <a:lnTo>
                    <a:pt x="1085" y="74"/>
                  </a:lnTo>
                  <a:lnTo>
                    <a:pt x="1093" y="80"/>
                  </a:lnTo>
                  <a:lnTo>
                    <a:pt x="1100" y="87"/>
                  </a:lnTo>
                  <a:lnTo>
                    <a:pt x="1110" y="100"/>
                  </a:lnTo>
                  <a:lnTo>
                    <a:pt x="1117" y="113"/>
                  </a:lnTo>
                  <a:lnTo>
                    <a:pt x="1123" y="124"/>
                  </a:lnTo>
                  <a:lnTo>
                    <a:pt x="1169" y="252"/>
                  </a:lnTo>
                  <a:lnTo>
                    <a:pt x="1227" y="252"/>
                  </a:lnTo>
                  <a:lnTo>
                    <a:pt x="1162" y="80"/>
                  </a:lnTo>
                  <a:lnTo>
                    <a:pt x="1160" y="77"/>
                  </a:lnTo>
                  <a:lnTo>
                    <a:pt x="1156" y="67"/>
                  </a:lnTo>
                  <a:lnTo>
                    <a:pt x="1149" y="54"/>
                  </a:lnTo>
                  <a:lnTo>
                    <a:pt x="1136" y="40"/>
                  </a:lnTo>
                  <a:lnTo>
                    <a:pt x="1127" y="32"/>
                  </a:lnTo>
                  <a:lnTo>
                    <a:pt x="1119" y="25"/>
                  </a:lnTo>
                  <a:lnTo>
                    <a:pt x="1109" y="19"/>
                  </a:lnTo>
                  <a:lnTo>
                    <a:pt x="1096" y="12"/>
                  </a:lnTo>
                  <a:lnTo>
                    <a:pt x="1083" y="7"/>
                  </a:lnTo>
                  <a:lnTo>
                    <a:pt x="1068" y="3"/>
                  </a:lnTo>
                  <a:lnTo>
                    <a:pt x="1051" y="2"/>
                  </a:lnTo>
                  <a:lnTo>
                    <a:pt x="1033" y="2"/>
                  </a:lnTo>
                  <a:lnTo>
                    <a:pt x="354" y="2"/>
                  </a:lnTo>
                  <a:lnTo>
                    <a:pt x="350" y="0"/>
                  </a:lnTo>
                  <a:lnTo>
                    <a:pt x="339" y="2"/>
                  </a:lnTo>
                  <a:lnTo>
                    <a:pt x="322" y="6"/>
                  </a:lnTo>
                  <a:lnTo>
                    <a:pt x="312" y="9"/>
                  </a:lnTo>
                  <a:lnTo>
                    <a:pt x="300" y="15"/>
                  </a:lnTo>
                  <a:lnTo>
                    <a:pt x="289" y="22"/>
                  </a:lnTo>
                  <a:lnTo>
                    <a:pt x="276" y="30"/>
                  </a:lnTo>
                  <a:lnTo>
                    <a:pt x="265" y="42"/>
                  </a:lnTo>
                  <a:lnTo>
                    <a:pt x="252" y="54"/>
                  </a:lnTo>
                  <a:lnTo>
                    <a:pt x="239" y="70"/>
                  </a:lnTo>
                  <a:lnTo>
                    <a:pt x="228" y="89"/>
                  </a:lnTo>
                  <a:lnTo>
                    <a:pt x="216" y="111"/>
                  </a:lnTo>
                  <a:lnTo>
                    <a:pt x="206" y="137"/>
                  </a:lnTo>
                  <a:lnTo>
                    <a:pt x="75" y="424"/>
                  </a:lnTo>
                  <a:lnTo>
                    <a:pt x="64" y="424"/>
                  </a:lnTo>
                  <a:lnTo>
                    <a:pt x="51" y="426"/>
                  </a:lnTo>
                  <a:lnTo>
                    <a:pt x="38" y="430"/>
                  </a:lnTo>
                  <a:lnTo>
                    <a:pt x="29" y="436"/>
                  </a:lnTo>
                  <a:lnTo>
                    <a:pt x="19" y="444"/>
                  </a:lnTo>
                  <a:lnTo>
                    <a:pt x="11" y="454"/>
                  </a:lnTo>
                  <a:lnTo>
                    <a:pt x="6" y="467"/>
                  </a:lnTo>
                  <a:lnTo>
                    <a:pt x="1" y="480"/>
                  </a:lnTo>
                  <a:lnTo>
                    <a:pt x="0" y="49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HelvNeue for IBM Medium"/>
                <a:cs typeface="Helvetica Neue Light"/>
              </a:endParaRPr>
            </a:p>
          </p:txBody>
        </p:sp>
      </p:grpSp>
      <p:sp>
        <p:nvSpPr>
          <p:cNvPr id="132" name="Freeform 56"/>
          <p:cNvSpPr>
            <a:spLocks noEditPoints="1"/>
          </p:cNvSpPr>
          <p:nvPr/>
        </p:nvSpPr>
        <p:spPr bwMode="auto">
          <a:xfrm>
            <a:off x="5993925" y="2614138"/>
            <a:ext cx="374650" cy="333375"/>
          </a:xfrm>
          <a:custGeom>
            <a:avLst/>
            <a:gdLst>
              <a:gd name="T0" fmla="*/ 187422 w 1941"/>
              <a:gd name="T1" fmla="*/ 291824 h 1725"/>
              <a:gd name="T2" fmla="*/ 62345 w 1941"/>
              <a:gd name="T3" fmla="*/ 291824 h 1725"/>
              <a:gd name="T4" fmla="*/ 62345 w 1941"/>
              <a:gd name="T5" fmla="*/ 208528 h 1725"/>
              <a:gd name="T6" fmla="*/ 187422 w 1941"/>
              <a:gd name="T7" fmla="*/ 208528 h 1725"/>
              <a:gd name="T8" fmla="*/ 187422 w 1941"/>
              <a:gd name="T9" fmla="*/ 291824 h 1725"/>
              <a:gd name="T10" fmla="*/ 374650 w 1941"/>
              <a:gd name="T11" fmla="*/ 208528 h 1725"/>
              <a:gd name="T12" fmla="*/ 374650 w 1941"/>
              <a:gd name="T13" fmla="*/ 166591 h 1725"/>
              <a:gd name="T14" fmla="*/ 353804 w 1941"/>
              <a:gd name="T15" fmla="*/ 62423 h 1725"/>
              <a:gd name="T16" fmla="*/ 20653 w 1941"/>
              <a:gd name="T17" fmla="*/ 62423 h 1725"/>
              <a:gd name="T18" fmla="*/ 0 w 1941"/>
              <a:gd name="T19" fmla="*/ 166591 h 1725"/>
              <a:gd name="T20" fmla="*/ 0 w 1941"/>
              <a:gd name="T21" fmla="*/ 208528 h 1725"/>
              <a:gd name="T22" fmla="*/ 20653 w 1941"/>
              <a:gd name="T23" fmla="*/ 208528 h 1725"/>
              <a:gd name="T24" fmla="*/ 20653 w 1941"/>
              <a:gd name="T25" fmla="*/ 333375 h 1725"/>
              <a:gd name="T26" fmla="*/ 228728 w 1941"/>
              <a:gd name="T27" fmla="*/ 333375 h 1725"/>
              <a:gd name="T28" fmla="*/ 228728 w 1941"/>
              <a:gd name="T29" fmla="*/ 208528 h 1725"/>
              <a:gd name="T30" fmla="*/ 312112 w 1941"/>
              <a:gd name="T31" fmla="*/ 208528 h 1725"/>
              <a:gd name="T32" fmla="*/ 312112 w 1941"/>
              <a:gd name="T33" fmla="*/ 333375 h 1725"/>
              <a:gd name="T34" fmla="*/ 353804 w 1941"/>
              <a:gd name="T35" fmla="*/ 333375 h 1725"/>
              <a:gd name="T36" fmla="*/ 353804 w 1941"/>
              <a:gd name="T37" fmla="*/ 208528 h 1725"/>
              <a:gd name="T38" fmla="*/ 374650 w 1941"/>
              <a:gd name="T39" fmla="*/ 208528 h 1725"/>
              <a:gd name="T40" fmla="*/ 353804 w 1941"/>
              <a:gd name="T41" fmla="*/ 0 h 1725"/>
              <a:gd name="T42" fmla="*/ 20653 w 1941"/>
              <a:gd name="T43" fmla="*/ 0 h 1725"/>
              <a:gd name="T44" fmla="*/ 20653 w 1941"/>
              <a:gd name="T45" fmla="*/ 53340 h 1725"/>
              <a:gd name="T46" fmla="*/ 353804 w 1941"/>
              <a:gd name="T47" fmla="*/ 53340 h 1725"/>
              <a:gd name="T48" fmla="*/ 353804 w 1941"/>
              <a:gd name="T49" fmla="*/ 0 h 1725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941" h="1725">
                <a:moveTo>
                  <a:pt x="971" y="1510"/>
                </a:moveTo>
                <a:lnTo>
                  <a:pt x="323" y="1510"/>
                </a:lnTo>
                <a:lnTo>
                  <a:pt x="323" y="1079"/>
                </a:lnTo>
                <a:lnTo>
                  <a:pt x="971" y="1079"/>
                </a:lnTo>
                <a:lnTo>
                  <a:pt x="971" y="1510"/>
                </a:lnTo>
                <a:close/>
                <a:moveTo>
                  <a:pt x="1941" y="1079"/>
                </a:moveTo>
                <a:lnTo>
                  <a:pt x="1941" y="862"/>
                </a:lnTo>
                <a:lnTo>
                  <a:pt x="1833" y="323"/>
                </a:lnTo>
                <a:lnTo>
                  <a:pt x="107" y="323"/>
                </a:lnTo>
                <a:lnTo>
                  <a:pt x="0" y="862"/>
                </a:lnTo>
                <a:lnTo>
                  <a:pt x="0" y="1079"/>
                </a:lnTo>
                <a:lnTo>
                  <a:pt x="107" y="1079"/>
                </a:lnTo>
                <a:lnTo>
                  <a:pt x="107" y="1725"/>
                </a:lnTo>
                <a:lnTo>
                  <a:pt x="1185" y="1725"/>
                </a:lnTo>
                <a:lnTo>
                  <a:pt x="1185" y="1079"/>
                </a:lnTo>
                <a:lnTo>
                  <a:pt x="1617" y="1079"/>
                </a:lnTo>
                <a:lnTo>
                  <a:pt x="1617" y="1725"/>
                </a:lnTo>
                <a:lnTo>
                  <a:pt x="1833" y="1725"/>
                </a:lnTo>
                <a:lnTo>
                  <a:pt x="1833" y="1079"/>
                </a:lnTo>
                <a:lnTo>
                  <a:pt x="1941" y="1079"/>
                </a:lnTo>
                <a:close/>
                <a:moveTo>
                  <a:pt x="1833" y="0"/>
                </a:moveTo>
                <a:lnTo>
                  <a:pt x="107" y="0"/>
                </a:lnTo>
                <a:lnTo>
                  <a:pt x="107" y="276"/>
                </a:lnTo>
                <a:lnTo>
                  <a:pt x="1833" y="276"/>
                </a:lnTo>
                <a:lnTo>
                  <a:pt x="1833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latin typeface="HelvNeue for IBM Medium"/>
              <a:cs typeface="Helvetica Neue Light"/>
            </a:endParaRPr>
          </a:p>
        </p:txBody>
      </p:sp>
      <p:sp>
        <p:nvSpPr>
          <p:cNvPr id="133" name="Freeform 57"/>
          <p:cNvSpPr>
            <a:spLocks noEditPoints="1"/>
          </p:cNvSpPr>
          <p:nvPr/>
        </p:nvSpPr>
        <p:spPr bwMode="auto">
          <a:xfrm>
            <a:off x="7021050" y="2572863"/>
            <a:ext cx="214312" cy="415925"/>
          </a:xfrm>
          <a:custGeom>
            <a:avLst/>
            <a:gdLst>
              <a:gd name="T0" fmla="*/ 18359 w 1109"/>
              <a:gd name="T1" fmla="*/ 62708 h 2149"/>
              <a:gd name="T2" fmla="*/ 107253 w 1109"/>
              <a:gd name="T3" fmla="*/ 395796 h 2149"/>
              <a:gd name="T4" fmla="*/ 102228 w 1109"/>
              <a:gd name="T5" fmla="*/ 394635 h 2149"/>
              <a:gd name="T6" fmla="*/ 96431 w 1109"/>
              <a:gd name="T7" fmla="*/ 389990 h 2149"/>
              <a:gd name="T8" fmla="*/ 94305 w 1109"/>
              <a:gd name="T9" fmla="*/ 382829 h 2149"/>
              <a:gd name="T10" fmla="*/ 95464 w 1109"/>
              <a:gd name="T11" fmla="*/ 377990 h 2149"/>
              <a:gd name="T12" fmla="*/ 100102 w 1109"/>
              <a:gd name="T13" fmla="*/ 372184 h 2149"/>
              <a:gd name="T14" fmla="*/ 107253 w 1109"/>
              <a:gd name="T15" fmla="*/ 369862 h 2149"/>
              <a:gd name="T16" fmla="*/ 112277 w 1109"/>
              <a:gd name="T17" fmla="*/ 371023 h 2149"/>
              <a:gd name="T18" fmla="*/ 117688 w 1109"/>
              <a:gd name="T19" fmla="*/ 375668 h 2149"/>
              <a:gd name="T20" fmla="*/ 119814 w 1109"/>
              <a:gd name="T21" fmla="*/ 382829 h 2149"/>
              <a:gd name="T22" fmla="*/ 119041 w 1109"/>
              <a:gd name="T23" fmla="*/ 387861 h 2149"/>
              <a:gd name="T24" fmla="*/ 114403 w 1109"/>
              <a:gd name="T25" fmla="*/ 393667 h 2149"/>
              <a:gd name="T26" fmla="*/ 107253 w 1109"/>
              <a:gd name="T27" fmla="*/ 395796 h 2149"/>
              <a:gd name="T28" fmla="*/ 105513 w 1109"/>
              <a:gd name="T29" fmla="*/ 27870 h 2149"/>
              <a:gd name="T30" fmla="*/ 109185 w 1109"/>
              <a:gd name="T31" fmla="*/ 30193 h 2149"/>
              <a:gd name="T32" fmla="*/ 109185 w 1109"/>
              <a:gd name="T33" fmla="*/ 33289 h 2149"/>
              <a:gd name="T34" fmla="*/ 105513 w 1109"/>
              <a:gd name="T35" fmla="*/ 35612 h 2149"/>
              <a:gd name="T36" fmla="*/ 102808 w 1109"/>
              <a:gd name="T37" fmla="*/ 34451 h 2149"/>
              <a:gd name="T38" fmla="*/ 101648 w 1109"/>
              <a:gd name="T39" fmla="*/ 31741 h 2149"/>
              <a:gd name="T40" fmla="*/ 104161 w 1109"/>
              <a:gd name="T41" fmla="*/ 28064 h 2149"/>
              <a:gd name="T42" fmla="*/ 189770 w 1109"/>
              <a:gd name="T43" fmla="*/ 0 h 2149"/>
              <a:gd name="T44" fmla="*/ 22224 w 1109"/>
              <a:gd name="T45" fmla="*/ 0 h 2149"/>
              <a:gd name="T46" fmla="*/ 15073 w 1109"/>
              <a:gd name="T47" fmla="*/ 1935 h 2149"/>
              <a:gd name="T48" fmla="*/ 9083 w 1109"/>
              <a:gd name="T49" fmla="*/ 5419 h 2149"/>
              <a:gd name="T50" fmla="*/ 4445 w 1109"/>
              <a:gd name="T51" fmla="*/ 10645 h 2149"/>
              <a:gd name="T52" fmla="*/ 1353 w 1109"/>
              <a:gd name="T53" fmla="*/ 17032 h 2149"/>
              <a:gd name="T54" fmla="*/ 0 w 1109"/>
              <a:gd name="T55" fmla="*/ 24580 h 2149"/>
              <a:gd name="T56" fmla="*/ 193 w 1109"/>
              <a:gd name="T57" fmla="*/ 393861 h 2149"/>
              <a:gd name="T58" fmla="*/ 2126 w 1109"/>
              <a:gd name="T59" fmla="*/ 401022 h 2149"/>
              <a:gd name="T60" fmla="*/ 5797 w 1109"/>
              <a:gd name="T61" fmla="*/ 407022 h 2149"/>
              <a:gd name="T62" fmla="*/ 11015 w 1109"/>
              <a:gd name="T63" fmla="*/ 411861 h 2149"/>
              <a:gd name="T64" fmla="*/ 17199 w 1109"/>
              <a:gd name="T65" fmla="*/ 414764 h 2149"/>
              <a:gd name="T66" fmla="*/ 24736 w 1109"/>
              <a:gd name="T67" fmla="*/ 415925 h 2149"/>
              <a:gd name="T68" fmla="*/ 192282 w 1109"/>
              <a:gd name="T69" fmla="*/ 415925 h 2149"/>
              <a:gd name="T70" fmla="*/ 199432 w 1109"/>
              <a:gd name="T71" fmla="*/ 413990 h 2149"/>
              <a:gd name="T72" fmla="*/ 205423 w 1109"/>
              <a:gd name="T73" fmla="*/ 410506 h 2149"/>
              <a:gd name="T74" fmla="*/ 210061 w 1109"/>
              <a:gd name="T75" fmla="*/ 405087 h 2149"/>
              <a:gd name="T76" fmla="*/ 213153 w 1109"/>
              <a:gd name="T77" fmla="*/ 398893 h 2149"/>
              <a:gd name="T78" fmla="*/ 214312 w 1109"/>
              <a:gd name="T79" fmla="*/ 391345 h 2149"/>
              <a:gd name="T80" fmla="*/ 214312 w 1109"/>
              <a:gd name="T81" fmla="*/ 22064 h 2149"/>
              <a:gd name="T82" fmla="*/ 212380 w 1109"/>
              <a:gd name="T83" fmla="*/ 14903 h 2149"/>
              <a:gd name="T84" fmla="*/ 208708 w 1109"/>
              <a:gd name="T85" fmla="*/ 8709 h 2149"/>
              <a:gd name="T86" fmla="*/ 203490 w 1109"/>
              <a:gd name="T87" fmla="*/ 4064 h 2149"/>
              <a:gd name="T88" fmla="*/ 196920 w 1109"/>
              <a:gd name="T89" fmla="*/ 1161 h 2149"/>
              <a:gd name="T90" fmla="*/ 189770 w 1109"/>
              <a:gd name="T91" fmla="*/ 0 h 2149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109" h="2149">
                <a:moveTo>
                  <a:pt x="1015" y="1829"/>
                </a:moveTo>
                <a:lnTo>
                  <a:pt x="95" y="1829"/>
                </a:lnTo>
                <a:lnTo>
                  <a:pt x="95" y="324"/>
                </a:lnTo>
                <a:lnTo>
                  <a:pt x="1015" y="324"/>
                </a:lnTo>
                <a:lnTo>
                  <a:pt x="1015" y="1829"/>
                </a:lnTo>
                <a:close/>
                <a:moveTo>
                  <a:pt x="555" y="2045"/>
                </a:moveTo>
                <a:lnTo>
                  <a:pt x="555" y="2045"/>
                </a:lnTo>
                <a:lnTo>
                  <a:pt x="541" y="2044"/>
                </a:lnTo>
                <a:lnTo>
                  <a:pt x="529" y="2039"/>
                </a:lnTo>
                <a:lnTo>
                  <a:pt x="518" y="2034"/>
                </a:lnTo>
                <a:lnTo>
                  <a:pt x="508" y="2025"/>
                </a:lnTo>
                <a:lnTo>
                  <a:pt x="499" y="2015"/>
                </a:lnTo>
                <a:lnTo>
                  <a:pt x="494" y="2004"/>
                </a:lnTo>
                <a:lnTo>
                  <a:pt x="489" y="1991"/>
                </a:lnTo>
                <a:lnTo>
                  <a:pt x="488" y="1978"/>
                </a:lnTo>
                <a:lnTo>
                  <a:pt x="489" y="1965"/>
                </a:lnTo>
                <a:lnTo>
                  <a:pt x="494" y="1953"/>
                </a:lnTo>
                <a:lnTo>
                  <a:pt x="499" y="1941"/>
                </a:lnTo>
                <a:lnTo>
                  <a:pt x="508" y="1931"/>
                </a:lnTo>
                <a:lnTo>
                  <a:pt x="518" y="1923"/>
                </a:lnTo>
                <a:lnTo>
                  <a:pt x="529" y="1917"/>
                </a:lnTo>
                <a:lnTo>
                  <a:pt x="541" y="1913"/>
                </a:lnTo>
                <a:lnTo>
                  <a:pt x="555" y="1911"/>
                </a:lnTo>
                <a:lnTo>
                  <a:pt x="568" y="1913"/>
                </a:lnTo>
                <a:lnTo>
                  <a:pt x="581" y="1917"/>
                </a:lnTo>
                <a:lnTo>
                  <a:pt x="592" y="1923"/>
                </a:lnTo>
                <a:lnTo>
                  <a:pt x="602" y="1931"/>
                </a:lnTo>
                <a:lnTo>
                  <a:pt x="609" y="1941"/>
                </a:lnTo>
                <a:lnTo>
                  <a:pt x="616" y="1953"/>
                </a:lnTo>
                <a:lnTo>
                  <a:pt x="619" y="1965"/>
                </a:lnTo>
                <a:lnTo>
                  <a:pt x="620" y="1978"/>
                </a:lnTo>
                <a:lnTo>
                  <a:pt x="619" y="1991"/>
                </a:lnTo>
                <a:lnTo>
                  <a:pt x="616" y="2004"/>
                </a:lnTo>
                <a:lnTo>
                  <a:pt x="609" y="2015"/>
                </a:lnTo>
                <a:lnTo>
                  <a:pt x="602" y="2025"/>
                </a:lnTo>
                <a:lnTo>
                  <a:pt x="592" y="2034"/>
                </a:lnTo>
                <a:lnTo>
                  <a:pt x="581" y="2039"/>
                </a:lnTo>
                <a:lnTo>
                  <a:pt x="568" y="2044"/>
                </a:lnTo>
                <a:lnTo>
                  <a:pt x="555" y="2045"/>
                </a:lnTo>
                <a:close/>
                <a:moveTo>
                  <a:pt x="546" y="144"/>
                </a:moveTo>
                <a:lnTo>
                  <a:pt x="546" y="144"/>
                </a:lnTo>
                <a:lnTo>
                  <a:pt x="555" y="145"/>
                </a:lnTo>
                <a:lnTo>
                  <a:pt x="561" y="149"/>
                </a:lnTo>
                <a:lnTo>
                  <a:pt x="565" y="156"/>
                </a:lnTo>
                <a:lnTo>
                  <a:pt x="566" y="164"/>
                </a:lnTo>
                <a:lnTo>
                  <a:pt x="565" y="172"/>
                </a:lnTo>
                <a:lnTo>
                  <a:pt x="561" y="178"/>
                </a:lnTo>
                <a:lnTo>
                  <a:pt x="555" y="182"/>
                </a:lnTo>
                <a:lnTo>
                  <a:pt x="546" y="184"/>
                </a:lnTo>
                <a:lnTo>
                  <a:pt x="539" y="182"/>
                </a:lnTo>
                <a:lnTo>
                  <a:pt x="532" y="178"/>
                </a:lnTo>
                <a:lnTo>
                  <a:pt x="528" y="172"/>
                </a:lnTo>
                <a:lnTo>
                  <a:pt x="526" y="164"/>
                </a:lnTo>
                <a:lnTo>
                  <a:pt x="528" y="156"/>
                </a:lnTo>
                <a:lnTo>
                  <a:pt x="532" y="149"/>
                </a:lnTo>
                <a:lnTo>
                  <a:pt x="539" y="145"/>
                </a:lnTo>
                <a:lnTo>
                  <a:pt x="546" y="144"/>
                </a:lnTo>
                <a:close/>
                <a:moveTo>
                  <a:pt x="982" y="0"/>
                </a:moveTo>
                <a:lnTo>
                  <a:pt x="128" y="0"/>
                </a:lnTo>
                <a:lnTo>
                  <a:pt x="115" y="0"/>
                </a:lnTo>
                <a:lnTo>
                  <a:pt x="102" y="3"/>
                </a:lnTo>
                <a:lnTo>
                  <a:pt x="89" y="6"/>
                </a:lnTo>
                <a:lnTo>
                  <a:pt x="78" y="10"/>
                </a:lnTo>
                <a:lnTo>
                  <a:pt x="67" y="16"/>
                </a:lnTo>
                <a:lnTo>
                  <a:pt x="57" y="21"/>
                </a:lnTo>
                <a:lnTo>
                  <a:pt x="47" y="28"/>
                </a:lnTo>
                <a:lnTo>
                  <a:pt x="38" y="37"/>
                </a:lnTo>
                <a:lnTo>
                  <a:pt x="30" y="45"/>
                </a:lnTo>
                <a:lnTo>
                  <a:pt x="23" y="55"/>
                </a:lnTo>
                <a:lnTo>
                  <a:pt x="15" y="65"/>
                </a:lnTo>
                <a:lnTo>
                  <a:pt x="11" y="77"/>
                </a:lnTo>
                <a:lnTo>
                  <a:pt x="7" y="88"/>
                </a:lnTo>
                <a:lnTo>
                  <a:pt x="3" y="101"/>
                </a:lnTo>
                <a:lnTo>
                  <a:pt x="1" y="114"/>
                </a:lnTo>
                <a:lnTo>
                  <a:pt x="0" y="127"/>
                </a:lnTo>
                <a:lnTo>
                  <a:pt x="0" y="2022"/>
                </a:lnTo>
                <a:lnTo>
                  <a:pt x="1" y="2035"/>
                </a:lnTo>
                <a:lnTo>
                  <a:pt x="3" y="2048"/>
                </a:lnTo>
                <a:lnTo>
                  <a:pt x="7" y="2061"/>
                </a:lnTo>
                <a:lnTo>
                  <a:pt x="11" y="2072"/>
                </a:lnTo>
                <a:lnTo>
                  <a:pt x="15" y="2084"/>
                </a:lnTo>
                <a:lnTo>
                  <a:pt x="23" y="2093"/>
                </a:lnTo>
                <a:lnTo>
                  <a:pt x="30" y="2103"/>
                </a:lnTo>
                <a:lnTo>
                  <a:pt x="38" y="2112"/>
                </a:lnTo>
                <a:lnTo>
                  <a:pt x="47" y="2121"/>
                </a:lnTo>
                <a:lnTo>
                  <a:pt x="57" y="2128"/>
                </a:lnTo>
                <a:lnTo>
                  <a:pt x="67" y="2135"/>
                </a:lnTo>
                <a:lnTo>
                  <a:pt x="78" y="2139"/>
                </a:lnTo>
                <a:lnTo>
                  <a:pt x="89" y="2143"/>
                </a:lnTo>
                <a:lnTo>
                  <a:pt x="102" y="2148"/>
                </a:lnTo>
                <a:lnTo>
                  <a:pt x="115" y="2149"/>
                </a:lnTo>
                <a:lnTo>
                  <a:pt x="128" y="2149"/>
                </a:lnTo>
                <a:lnTo>
                  <a:pt x="982" y="2149"/>
                </a:lnTo>
                <a:lnTo>
                  <a:pt x="995" y="2149"/>
                </a:lnTo>
                <a:lnTo>
                  <a:pt x="1008" y="2148"/>
                </a:lnTo>
                <a:lnTo>
                  <a:pt x="1019" y="2143"/>
                </a:lnTo>
                <a:lnTo>
                  <a:pt x="1032" y="2139"/>
                </a:lnTo>
                <a:lnTo>
                  <a:pt x="1042" y="2135"/>
                </a:lnTo>
                <a:lnTo>
                  <a:pt x="1053" y="2128"/>
                </a:lnTo>
                <a:lnTo>
                  <a:pt x="1063" y="2121"/>
                </a:lnTo>
                <a:lnTo>
                  <a:pt x="1072" y="2112"/>
                </a:lnTo>
                <a:lnTo>
                  <a:pt x="1080" y="2103"/>
                </a:lnTo>
                <a:lnTo>
                  <a:pt x="1087" y="2093"/>
                </a:lnTo>
                <a:lnTo>
                  <a:pt x="1093" y="2084"/>
                </a:lnTo>
                <a:lnTo>
                  <a:pt x="1099" y="2072"/>
                </a:lnTo>
                <a:lnTo>
                  <a:pt x="1103" y="2061"/>
                </a:lnTo>
                <a:lnTo>
                  <a:pt x="1106" y="2048"/>
                </a:lnTo>
                <a:lnTo>
                  <a:pt x="1109" y="2035"/>
                </a:lnTo>
                <a:lnTo>
                  <a:pt x="1109" y="2022"/>
                </a:lnTo>
                <a:lnTo>
                  <a:pt x="1109" y="127"/>
                </a:lnTo>
                <a:lnTo>
                  <a:pt x="1109" y="114"/>
                </a:lnTo>
                <a:lnTo>
                  <a:pt x="1106" y="101"/>
                </a:lnTo>
                <a:lnTo>
                  <a:pt x="1103" y="88"/>
                </a:lnTo>
                <a:lnTo>
                  <a:pt x="1099" y="77"/>
                </a:lnTo>
                <a:lnTo>
                  <a:pt x="1093" y="65"/>
                </a:lnTo>
                <a:lnTo>
                  <a:pt x="1087" y="55"/>
                </a:lnTo>
                <a:lnTo>
                  <a:pt x="1080" y="45"/>
                </a:lnTo>
                <a:lnTo>
                  <a:pt x="1072" y="37"/>
                </a:lnTo>
                <a:lnTo>
                  <a:pt x="1063" y="28"/>
                </a:lnTo>
                <a:lnTo>
                  <a:pt x="1053" y="21"/>
                </a:lnTo>
                <a:lnTo>
                  <a:pt x="1042" y="16"/>
                </a:lnTo>
                <a:lnTo>
                  <a:pt x="1032" y="10"/>
                </a:lnTo>
                <a:lnTo>
                  <a:pt x="1019" y="6"/>
                </a:lnTo>
                <a:lnTo>
                  <a:pt x="1008" y="3"/>
                </a:lnTo>
                <a:lnTo>
                  <a:pt x="995" y="0"/>
                </a:lnTo>
                <a:lnTo>
                  <a:pt x="982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latin typeface="HelvNeue for IBM Medium"/>
              <a:cs typeface="Helvetica Neue Light"/>
            </a:endParaRPr>
          </a:p>
        </p:txBody>
      </p:sp>
      <p:sp>
        <p:nvSpPr>
          <p:cNvPr id="134" name="Freeform 58"/>
          <p:cNvSpPr>
            <a:spLocks noEditPoints="1"/>
          </p:cNvSpPr>
          <p:nvPr/>
        </p:nvSpPr>
        <p:spPr bwMode="auto">
          <a:xfrm>
            <a:off x="7886700" y="2625250"/>
            <a:ext cx="438150" cy="323850"/>
          </a:xfrm>
          <a:custGeom>
            <a:avLst/>
            <a:gdLst>
              <a:gd name="T0" fmla="*/ 169340 w 2176"/>
              <a:gd name="T1" fmla="*/ 123294 h 1597"/>
              <a:gd name="T2" fmla="*/ 134103 w 2176"/>
              <a:gd name="T3" fmla="*/ 41774 h 1597"/>
              <a:gd name="T4" fmla="*/ 60407 w 2176"/>
              <a:gd name="T5" fmla="*/ 97338 h 1597"/>
              <a:gd name="T6" fmla="*/ 58192 w 2176"/>
              <a:gd name="T7" fmla="*/ 156348 h 1597"/>
              <a:gd name="T8" fmla="*/ 58192 w 2176"/>
              <a:gd name="T9" fmla="*/ 148845 h 1597"/>
              <a:gd name="T10" fmla="*/ 40875 w 2176"/>
              <a:gd name="T11" fmla="*/ 103624 h 1597"/>
              <a:gd name="T12" fmla="*/ 12887 w 2176"/>
              <a:gd name="T13" fmla="*/ 115994 h 1597"/>
              <a:gd name="T14" fmla="*/ 201 w 2176"/>
              <a:gd name="T15" fmla="*/ 130797 h 1597"/>
              <a:gd name="T16" fmla="*/ 9464 w 2176"/>
              <a:gd name="T17" fmla="*/ 145803 h 1597"/>
              <a:gd name="T18" fmla="*/ 66447 w 2176"/>
              <a:gd name="T19" fmla="*/ 163851 h 1597"/>
              <a:gd name="T20" fmla="*/ 234982 w 2176"/>
              <a:gd name="T21" fmla="*/ 118630 h 1597"/>
              <a:gd name="T22" fmla="*/ 217666 w 2176"/>
              <a:gd name="T23" fmla="*/ 74423 h 1597"/>
              <a:gd name="T24" fmla="*/ 182428 w 2176"/>
              <a:gd name="T25" fmla="*/ 76856 h 1597"/>
              <a:gd name="T26" fmla="*/ 366467 w 2176"/>
              <a:gd name="T27" fmla="*/ 127755 h 1597"/>
              <a:gd name="T28" fmla="*/ 392241 w 2176"/>
              <a:gd name="T29" fmla="*/ 140328 h 1597"/>
              <a:gd name="T30" fmla="*/ 384187 w 2176"/>
              <a:gd name="T31" fmla="*/ 151887 h 1597"/>
              <a:gd name="T32" fmla="*/ 424659 w 2176"/>
              <a:gd name="T33" fmla="*/ 135056 h 1597"/>
              <a:gd name="T34" fmla="*/ 437546 w 2176"/>
              <a:gd name="T35" fmla="*/ 119238 h 1597"/>
              <a:gd name="T36" fmla="*/ 394053 w 2176"/>
              <a:gd name="T37" fmla="*/ 53941 h 1597"/>
              <a:gd name="T38" fmla="*/ 311497 w 2176"/>
              <a:gd name="T39" fmla="*/ 60025 h 1597"/>
              <a:gd name="T40" fmla="*/ 301429 w 2176"/>
              <a:gd name="T41" fmla="*/ 119441 h 1597"/>
              <a:gd name="T42" fmla="*/ 387207 w 2176"/>
              <a:gd name="T43" fmla="*/ 84765 h 1597"/>
              <a:gd name="T44" fmla="*/ 435935 w 2176"/>
              <a:gd name="T45" fmla="*/ 128972 h 1597"/>
              <a:gd name="T46" fmla="*/ 416404 w 2176"/>
              <a:gd name="T47" fmla="*/ 145398 h 1597"/>
              <a:gd name="T48" fmla="*/ 300221 w 2176"/>
              <a:gd name="T49" fmla="*/ 175816 h 1597"/>
              <a:gd name="T50" fmla="*/ 140949 w 2176"/>
              <a:gd name="T51" fmla="*/ 177844 h 1597"/>
              <a:gd name="T52" fmla="*/ 23961 w 2176"/>
              <a:gd name="T53" fmla="*/ 158173 h 1597"/>
              <a:gd name="T54" fmla="*/ 1611 w 2176"/>
              <a:gd name="T55" fmla="*/ 147426 h 1597"/>
              <a:gd name="T56" fmla="*/ 6846 w 2176"/>
              <a:gd name="T57" fmla="*/ 164460 h 1597"/>
              <a:gd name="T58" fmla="*/ 63830 w 2176"/>
              <a:gd name="T59" fmla="*/ 183927 h 1597"/>
              <a:gd name="T60" fmla="*/ 217666 w 2176"/>
              <a:gd name="T61" fmla="*/ 195689 h 1597"/>
              <a:gd name="T62" fmla="*/ 379757 w 2176"/>
              <a:gd name="T63" fmla="*/ 175410 h 1597"/>
              <a:gd name="T64" fmla="*/ 431908 w 2176"/>
              <a:gd name="T65" fmla="*/ 149859 h 1597"/>
              <a:gd name="T66" fmla="*/ 437546 w 2176"/>
              <a:gd name="T67" fmla="*/ 133028 h 1597"/>
              <a:gd name="T68" fmla="*/ 27384 w 2176"/>
              <a:gd name="T69" fmla="*/ 294446 h 1597"/>
              <a:gd name="T70" fmla="*/ 50339 w 2176"/>
              <a:gd name="T71" fmla="*/ 258553 h 1597"/>
              <a:gd name="T72" fmla="*/ 55776 w 2176"/>
              <a:gd name="T73" fmla="*/ 238680 h 1597"/>
              <a:gd name="T74" fmla="*/ 79938 w 2176"/>
              <a:gd name="T75" fmla="*/ 240910 h 1597"/>
              <a:gd name="T76" fmla="*/ 107927 w 2176"/>
              <a:gd name="T77" fmla="*/ 316347 h 1597"/>
              <a:gd name="T78" fmla="*/ 104302 w 2176"/>
              <a:gd name="T79" fmla="*/ 246183 h 1597"/>
              <a:gd name="T80" fmla="*/ 124236 w 2176"/>
              <a:gd name="T81" fmla="*/ 240099 h 1597"/>
              <a:gd name="T82" fmla="*/ 144171 w 2176"/>
              <a:gd name="T83" fmla="*/ 255714 h 1597"/>
              <a:gd name="T84" fmla="*/ 169944 w 2176"/>
              <a:gd name="T85" fmla="*/ 252469 h 1597"/>
              <a:gd name="T86" fmla="*/ 197731 w 2176"/>
              <a:gd name="T87" fmla="*/ 240910 h 1597"/>
              <a:gd name="T88" fmla="*/ 241224 w 2176"/>
              <a:gd name="T89" fmla="*/ 244763 h 1597"/>
              <a:gd name="T90" fmla="*/ 279683 w 2176"/>
              <a:gd name="T91" fmla="*/ 318578 h 1597"/>
              <a:gd name="T92" fmla="*/ 289751 w 2176"/>
              <a:gd name="T93" fmla="*/ 242735 h 1597"/>
              <a:gd name="T94" fmla="*/ 310893 w 2176"/>
              <a:gd name="T95" fmla="*/ 240910 h 1597"/>
              <a:gd name="T96" fmla="*/ 323176 w 2176"/>
              <a:gd name="T97" fmla="*/ 259972 h 1597"/>
              <a:gd name="T98" fmla="*/ 337875 w 2176"/>
              <a:gd name="T99" fmla="*/ 244763 h 1597"/>
              <a:gd name="T100" fmla="*/ 354990 w 2176"/>
              <a:gd name="T101" fmla="*/ 231785 h 1597"/>
              <a:gd name="T102" fmla="*/ 372307 w 2176"/>
              <a:gd name="T103" fmla="*/ 236855 h 1597"/>
              <a:gd name="T104" fmla="*/ 371904 w 2176"/>
              <a:gd name="T105" fmla="*/ 298502 h 1597"/>
              <a:gd name="T106" fmla="*/ 404322 w 2176"/>
              <a:gd name="T107" fmla="*/ 276398 h 1597"/>
              <a:gd name="T108" fmla="*/ 355594 w 2176"/>
              <a:gd name="T109" fmla="*/ 188186 h 1597"/>
              <a:gd name="T110" fmla="*/ 226324 w 2176"/>
              <a:gd name="T111" fmla="*/ 201367 h 1597"/>
              <a:gd name="T112" fmla="*/ 93026 w 2176"/>
              <a:gd name="T113" fmla="*/ 194269 h 1597"/>
              <a:gd name="T114" fmla="*/ 13894 w 2176"/>
              <a:gd name="T115" fmla="*/ 174802 h 1597"/>
              <a:gd name="T116" fmla="*/ 191691 w 2176"/>
              <a:gd name="T117" fmla="*/ 253078 h 1597"/>
              <a:gd name="T118" fmla="*/ 185650 w 2176"/>
              <a:gd name="T119" fmla="*/ 322633 h 1597"/>
              <a:gd name="T120" fmla="*/ 246057 w 2176"/>
              <a:gd name="T121" fmla="*/ 261797 h 1597"/>
              <a:gd name="T122" fmla="*/ 215451 w 2176"/>
              <a:gd name="T123" fmla="*/ 250441 h 1597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176" h="1597">
                <a:moveTo>
                  <a:pt x="477" y="663"/>
                </a:moveTo>
                <a:lnTo>
                  <a:pt x="477" y="663"/>
                </a:lnTo>
                <a:lnTo>
                  <a:pt x="519" y="655"/>
                </a:lnTo>
                <a:lnTo>
                  <a:pt x="566" y="645"/>
                </a:lnTo>
                <a:lnTo>
                  <a:pt x="615" y="636"/>
                </a:lnTo>
                <a:lnTo>
                  <a:pt x="667" y="629"/>
                </a:lnTo>
                <a:lnTo>
                  <a:pt x="723" y="621"/>
                </a:lnTo>
                <a:lnTo>
                  <a:pt x="780" y="613"/>
                </a:lnTo>
                <a:lnTo>
                  <a:pt x="841" y="608"/>
                </a:lnTo>
                <a:lnTo>
                  <a:pt x="902" y="602"/>
                </a:lnTo>
                <a:lnTo>
                  <a:pt x="815" y="387"/>
                </a:lnTo>
                <a:lnTo>
                  <a:pt x="738" y="397"/>
                </a:lnTo>
                <a:lnTo>
                  <a:pt x="664" y="407"/>
                </a:lnTo>
                <a:lnTo>
                  <a:pt x="593" y="417"/>
                </a:lnTo>
                <a:lnTo>
                  <a:pt x="525" y="428"/>
                </a:lnTo>
                <a:lnTo>
                  <a:pt x="524" y="259"/>
                </a:lnTo>
                <a:lnTo>
                  <a:pt x="666" y="206"/>
                </a:lnTo>
                <a:lnTo>
                  <a:pt x="522" y="152"/>
                </a:lnTo>
                <a:lnTo>
                  <a:pt x="522" y="139"/>
                </a:lnTo>
                <a:lnTo>
                  <a:pt x="491" y="139"/>
                </a:lnTo>
                <a:lnTo>
                  <a:pt x="494" y="436"/>
                </a:lnTo>
                <a:lnTo>
                  <a:pt x="442" y="445"/>
                </a:lnTo>
                <a:lnTo>
                  <a:pt x="393" y="457"/>
                </a:lnTo>
                <a:lnTo>
                  <a:pt x="344" y="468"/>
                </a:lnTo>
                <a:lnTo>
                  <a:pt x="300" y="480"/>
                </a:lnTo>
                <a:lnTo>
                  <a:pt x="477" y="663"/>
                </a:lnTo>
                <a:close/>
                <a:moveTo>
                  <a:pt x="421" y="824"/>
                </a:moveTo>
                <a:lnTo>
                  <a:pt x="421" y="824"/>
                </a:lnTo>
                <a:lnTo>
                  <a:pt x="390" y="816"/>
                </a:lnTo>
                <a:lnTo>
                  <a:pt x="361" y="807"/>
                </a:lnTo>
                <a:lnTo>
                  <a:pt x="337" y="798"/>
                </a:lnTo>
                <a:lnTo>
                  <a:pt x="317" y="790"/>
                </a:lnTo>
                <a:lnTo>
                  <a:pt x="300" y="780"/>
                </a:lnTo>
                <a:lnTo>
                  <a:pt x="289" y="771"/>
                </a:lnTo>
                <a:lnTo>
                  <a:pt x="284" y="767"/>
                </a:lnTo>
                <a:lnTo>
                  <a:pt x="282" y="763"/>
                </a:lnTo>
                <a:lnTo>
                  <a:pt x="280" y="759"/>
                </a:lnTo>
                <a:lnTo>
                  <a:pt x="279" y="753"/>
                </a:lnTo>
                <a:lnTo>
                  <a:pt x="280" y="749"/>
                </a:lnTo>
                <a:lnTo>
                  <a:pt x="282" y="744"/>
                </a:lnTo>
                <a:lnTo>
                  <a:pt x="284" y="740"/>
                </a:lnTo>
                <a:lnTo>
                  <a:pt x="289" y="734"/>
                </a:lnTo>
                <a:lnTo>
                  <a:pt x="300" y="724"/>
                </a:lnTo>
                <a:lnTo>
                  <a:pt x="316" y="716"/>
                </a:lnTo>
                <a:lnTo>
                  <a:pt x="337" y="706"/>
                </a:lnTo>
                <a:lnTo>
                  <a:pt x="361" y="696"/>
                </a:lnTo>
                <a:lnTo>
                  <a:pt x="390" y="687"/>
                </a:lnTo>
                <a:lnTo>
                  <a:pt x="421" y="677"/>
                </a:lnTo>
                <a:lnTo>
                  <a:pt x="246" y="495"/>
                </a:lnTo>
                <a:lnTo>
                  <a:pt x="203" y="511"/>
                </a:lnTo>
                <a:lnTo>
                  <a:pt x="163" y="525"/>
                </a:lnTo>
                <a:lnTo>
                  <a:pt x="126" y="541"/>
                </a:lnTo>
                <a:lnTo>
                  <a:pt x="95" y="556"/>
                </a:lnTo>
                <a:lnTo>
                  <a:pt x="92" y="327"/>
                </a:lnTo>
                <a:lnTo>
                  <a:pt x="262" y="263"/>
                </a:lnTo>
                <a:lnTo>
                  <a:pt x="91" y="201"/>
                </a:lnTo>
                <a:lnTo>
                  <a:pt x="91" y="186"/>
                </a:lnTo>
                <a:lnTo>
                  <a:pt x="59" y="188"/>
                </a:lnTo>
                <a:lnTo>
                  <a:pt x="64" y="572"/>
                </a:lnTo>
                <a:lnTo>
                  <a:pt x="67" y="572"/>
                </a:lnTo>
                <a:lnTo>
                  <a:pt x="51" y="582"/>
                </a:lnTo>
                <a:lnTo>
                  <a:pt x="38" y="593"/>
                </a:lnTo>
                <a:lnTo>
                  <a:pt x="27" y="603"/>
                </a:lnTo>
                <a:lnTo>
                  <a:pt x="17" y="613"/>
                </a:lnTo>
                <a:lnTo>
                  <a:pt x="10" y="623"/>
                </a:lnTo>
                <a:lnTo>
                  <a:pt x="4" y="635"/>
                </a:lnTo>
                <a:lnTo>
                  <a:pt x="1" y="645"/>
                </a:lnTo>
                <a:lnTo>
                  <a:pt x="0" y="655"/>
                </a:lnTo>
                <a:lnTo>
                  <a:pt x="1" y="662"/>
                </a:lnTo>
                <a:lnTo>
                  <a:pt x="3" y="669"/>
                </a:lnTo>
                <a:lnTo>
                  <a:pt x="4" y="675"/>
                </a:lnTo>
                <a:lnTo>
                  <a:pt x="8" y="682"/>
                </a:lnTo>
                <a:lnTo>
                  <a:pt x="17" y="695"/>
                </a:lnTo>
                <a:lnTo>
                  <a:pt x="30" y="707"/>
                </a:lnTo>
                <a:lnTo>
                  <a:pt x="47" y="719"/>
                </a:lnTo>
                <a:lnTo>
                  <a:pt x="65" y="732"/>
                </a:lnTo>
                <a:lnTo>
                  <a:pt x="89" y="741"/>
                </a:lnTo>
                <a:lnTo>
                  <a:pt x="115" y="753"/>
                </a:lnTo>
                <a:lnTo>
                  <a:pt x="143" y="763"/>
                </a:lnTo>
                <a:lnTo>
                  <a:pt x="175" y="773"/>
                </a:lnTo>
                <a:lnTo>
                  <a:pt x="210" y="783"/>
                </a:lnTo>
                <a:lnTo>
                  <a:pt x="247" y="793"/>
                </a:lnTo>
                <a:lnTo>
                  <a:pt x="287" y="801"/>
                </a:lnTo>
                <a:lnTo>
                  <a:pt x="330" y="808"/>
                </a:lnTo>
                <a:lnTo>
                  <a:pt x="374" y="817"/>
                </a:lnTo>
                <a:lnTo>
                  <a:pt x="421" y="824"/>
                </a:lnTo>
                <a:close/>
                <a:moveTo>
                  <a:pt x="955" y="598"/>
                </a:moveTo>
                <a:lnTo>
                  <a:pt x="955" y="598"/>
                </a:lnTo>
                <a:lnTo>
                  <a:pt x="1029" y="592"/>
                </a:lnTo>
                <a:lnTo>
                  <a:pt x="1106" y="588"/>
                </a:lnTo>
                <a:lnTo>
                  <a:pt x="1167" y="585"/>
                </a:lnTo>
                <a:lnTo>
                  <a:pt x="1227" y="584"/>
                </a:lnTo>
                <a:lnTo>
                  <a:pt x="1342" y="584"/>
                </a:lnTo>
                <a:lnTo>
                  <a:pt x="1395" y="363"/>
                </a:lnTo>
                <a:lnTo>
                  <a:pt x="1319" y="362"/>
                </a:lnTo>
                <a:lnTo>
                  <a:pt x="1241" y="362"/>
                </a:lnTo>
                <a:lnTo>
                  <a:pt x="1161" y="364"/>
                </a:lnTo>
                <a:lnTo>
                  <a:pt x="1081" y="367"/>
                </a:lnTo>
                <a:lnTo>
                  <a:pt x="1009" y="371"/>
                </a:lnTo>
                <a:lnTo>
                  <a:pt x="938" y="376"/>
                </a:lnTo>
                <a:lnTo>
                  <a:pt x="936" y="226"/>
                </a:lnTo>
                <a:lnTo>
                  <a:pt x="1066" y="178"/>
                </a:lnTo>
                <a:lnTo>
                  <a:pt x="935" y="130"/>
                </a:lnTo>
                <a:lnTo>
                  <a:pt x="935" y="118"/>
                </a:lnTo>
                <a:lnTo>
                  <a:pt x="904" y="118"/>
                </a:lnTo>
                <a:lnTo>
                  <a:pt x="906" y="379"/>
                </a:lnTo>
                <a:lnTo>
                  <a:pt x="867" y="383"/>
                </a:lnTo>
                <a:lnTo>
                  <a:pt x="955" y="598"/>
                </a:lnTo>
                <a:close/>
                <a:moveTo>
                  <a:pt x="2139" y="507"/>
                </a:moveTo>
                <a:lnTo>
                  <a:pt x="2139" y="507"/>
                </a:lnTo>
                <a:lnTo>
                  <a:pt x="2119" y="492"/>
                </a:lnTo>
                <a:lnTo>
                  <a:pt x="2096" y="480"/>
                </a:lnTo>
                <a:lnTo>
                  <a:pt x="2069" y="465"/>
                </a:lnTo>
                <a:lnTo>
                  <a:pt x="2039" y="454"/>
                </a:lnTo>
                <a:lnTo>
                  <a:pt x="1820" y="630"/>
                </a:lnTo>
                <a:lnTo>
                  <a:pt x="1857" y="640"/>
                </a:lnTo>
                <a:lnTo>
                  <a:pt x="1887" y="650"/>
                </a:lnTo>
                <a:lnTo>
                  <a:pt x="1913" y="662"/>
                </a:lnTo>
                <a:lnTo>
                  <a:pt x="1923" y="667"/>
                </a:lnTo>
                <a:lnTo>
                  <a:pt x="1931" y="673"/>
                </a:lnTo>
                <a:lnTo>
                  <a:pt x="1938" y="679"/>
                </a:lnTo>
                <a:lnTo>
                  <a:pt x="1944" y="686"/>
                </a:lnTo>
                <a:lnTo>
                  <a:pt x="1948" y="692"/>
                </a:lnTo>
                <a:lnTo>
                  <a:pt x="1950" y="699"/>
                </a:lnTo>
                <a:lnTo>
                  <a:pt x="1950" y="704"/>
                </a:lnTo>
                <a:lnTo>
                  <a:pt x="1948" y="712"/>
                </a:lnTo>
                <a:lnTo>
                  <a:pt x="1946" y="717"/>
                </a:lnTo>
                <a:lnTo>
                  <a:pt x="1940" y="724"/>
                </a:lnTo>
                <a:lnTo>
                  <a:pt x="1934" y="730"/>
                </a:lnTo>
                <a:lnTo>
                  <a:pt x="1927" y="736"/>
                </a:lnTo>
                <a:lnTo>
                  <a:pt x="1908" y="749"/>
                </a:lnTo>
                <a:lnTo>
                  <a:pt x="1884" y="761"/>
                </a:lnTo>
                <a:lnTo>
                  <a:pt x="1854" y="773"/>
                </a:lnTo>
                <a:lnTo>
                  <a:pt x="1913" y="756"/>
                </a:lnTo>
                <a:lnTo>
                  <a:pt x="1967" y="737"/>
                </a:lnTo>
                <a:lnTo>
                  <a:pt x="2015" y="717"/>
                </a:lnTo>
                <a:lnTo>
                  <a:pt x="2058" y="697"/>
                </a:lnTo>
                <a:lnTo>
                  <a:pt x="2094" y="677"/>
                </a:lnTo>
                <a:lnTo>
                  <a:pt x="2109" y="666"/>
                </a:lnTo>
                <a:lnTo>
                  <a:pt x="2123" y="656"/>
                </a:lnTo>
                <a:lnTo>
                  <a:pt x="2135" y="646"/>
                </a:lnTo>
                <a:lnTo>
                  <a:pt x="2146" y="636"/>
                </a:lnTo>
                <a:lnTo>
                  <a:pt x="2155" y="626"/>
                </a:lnTo>
                <a:lnTo>
                  <a:pt x="2162" y="615"/>
                </a:lnTo>
                <a:lnTo>
                  <a:pt x="2168" y="606"/>
                </a:lnTo>
                <a:lnTo>
                  <a:pt x="2170" y="598"/>
                </a:lnTo>
                <a:lnTo>
                  <a:pt x="2173" y="588"/>
                </a:lnTo>
                <a:lnTo>
                  <a:pt x="2175" y="579"/>
                </a:lnTo>
                <a:lnTo>
                  <a:pt x="2176" y="571"/>
                </a:lnTo>
                <a:lnTo>
                  <a:pt x="2175" y="562"/>
                </a:lnTo>
                <a:lnTo>
                  <a:pt x="2173" y="554"/>
                </a:lnTo>
                <a:lnTo>
                  <a:pt x="2170" y="547"/>
                </a:lnTo>
                <a:lnTo>
                  <a:pt x="2173" y="184"/>
                </a:lnTo>
                <a:lnTo>
                  <a:pt x="2143" y="184"/>
                </a:lnTo>
                <a:lnTo>
                  <a:pt x="2142" y="196"/>
                </a:lnTo>
                <a:lnTo>
                  <a:pt x="1957" y="266"/>
                </a:lnTo>
                <a:lnTo>
                  <a:pt x="2141" y="336"/>
                </a:lnTo>
                <a:lnTo>
                  <a:pt x="2139" y="507"/>
                </a:lnTo>
                <a:close/>
                <a:moveTo>
                  <a:pt x="1547" y="296"/>
                </a:moveTo>
                <a:lnTo>
                  <a:pt x="1672" y="310"/>
                </a:lnTo>
                <a:lnTo>
                  <a:pt x="1672" y="379"/>
                </a:lnTo>
                <a:lnTo>
                  <a:pt x="1611" y="373"/>
                </a:lnTo>
                <a:lnTo>
                  <a:pt x="1547" y="369"/>
                </a:lnTo>
                <a:lnTo>
                  <a:pt x="1547" y="296"/>
                </a:lnTo>
                <a:close/>
                <a:moveTo>
                  <a:pt x="1346" y="26"/>
                </a:moveTo>
                <a:lnTo>
                  <a:pt x="1376" y="278"/>
                </a:lnTo>
                <a:lnTo>
                  <a:pt x="1517" y="293"/>
                </a:lnTo>
                <a:lnTo>
                  <a:pt x="1517" y="367"/>
                </a:lnTo>
                <a:lnTo>
                  <a:pt x="1444" y="364"/>
                </a:lnTo>
                <a:lnTo>
                  <a:pt x="1393" y="585"/>
                </a:lnTo>
                <a:lnTo>
                  <a:pt x="1497" y="589"/>
                </a:lnTo>
                <a:lnTo>
                  <a:pt x="1594" y="596"/>
                </a:lnTo>
                <a:lnTo>
                  <a:pt x="1639" y="601"/>
                </a:lnTo>
                <a:lnTo>
                  <a:pt x="1681" y="605"/>
                </a:lnTo>
                <a:lnTo>
                  <a:pt x="1721" y="611"/>
                </a:lnTo>
                <a:lnTo>
                  <a:pt x="1759" y="618"/>
                </a:lnTo>
                <a:lnTo>
                  <a:pt x="1984" y="436"/>
                </a:lnTo>
                <a:lnTo>
                  <a:pt x="1954" y="427"/>
                </a:lnTo>
                <a:lnTo>
                  <a:pt x="1923" y="418"/>
                </a:lnTo>
                <a:lnTo>
                  <a:pt x="1856" y="404"/>
                </a:lnTo>
                <a:lnTo>
                  <a:pt x="1782" y="393"/>
                </a:lnTo>
                <a:lnTo>
                  <a:pt x="1702" y="383"/>
                </a:lnTo>
                <a:lnTo>
                  <a:pt x="1702" y="313"/>
                </a:lnTo>
                <a:lnTo>
                  <a:pt x="1889" y="334"/>
                </a:lnTo>
                <a:lnTo>
                  <a:pt x="1863" y="0"/>
                </a:lnTo>
                <a:lnTo>
                  <a:pt x="1346" y="26"/>
                </a:lnTo>
                <a:close/>
                <a:moveTo>
                  <a:pt x="2165" y="636"/>
                </a:moveTo>
                <a:lnTo>
                  <a:pt x="2165" y="636"/>
                </a:lnTo>
                <a:lnTo>
                  <a:pt x="2162" y="640"/>
                </a:lnTo>
                <a:lnTo>
                  <a:pt x="2155" y="652"/>
                </a:lnTo>
                <a:lnTo>
                  <a:pt x="2145" y="663"/>
                </a:lnTo>
                <a:lnTo>
                  <a:pt x="2133" y="673"/>
                </a:lnTo>
                <a:lnTo>
                  <a:pt x="2119" y="685"/>
                </a:lnTo>
                <a:lnTo>
                  <a:pt x="2103" y="696"/>
                </a:lnTo>
                <a:lnTo>
                  <a:pt x="2086" y="706"/>
                </a:lnTo>
                <a:lnTo>
                  <a:pt x="2068" y="717"/>
                </a:lnTo>
                <a:lnTo>
                  <a:pt x="2047" y="729"/>
                </a:lnTo>
                <a:lnTo>
                  <a:pt x="2000" y="750"/>
                </a:lnTo>
                <a:lnTo>
                  <a:pt x="1946" y="770"/>
                </a:lnTo>
                <a:lnTo>
                  <a:pt x="1886" y="790"/>
                </a:lnTo>
                <a:lnTo>
                  <a:pt x="1819" y="808"/>
                </a:lnTo>
                <a:lnTo>
                  <a:pt x="1745" y="825"/>
                </a:lnTo>
                <a:lnTo>
                  <a:pt x="1667" y="841"/>
                </a:lnTo>
                <a:lnTo>
                  <a:pt x="1581" y="855"/>
                </a:lnTo>
                <a:lnTo>
                  <a:pt x="1491" y="867"/>
                </a:lnTo>
                <a:lnTo>
                  <a:pt x="1396" y="877"/>
                </a:lnTo>
                <a:lnTo>
                  <a:pt x="1296" y="884"/>
                </a:lnTo>
                <a:lnTo>
                  <a:pt x="1191" y="888"/>
                </a:lnTo>
                <a:lnTo>
                  <a:pt x="1081" y="890"/>
                </a:lnTo>
                <a:lnTo>
                  <a:pt x="982" y="888"/>
                </a:lnTo>
                <a:lnTo>
                  <a:pt x="885" y="887"/>
                </a:lnTo>
                <a:lnTo>
                  <a:pt x="791" y="882"/>
                </a:lnTo>
                <a:lnTo>
                  <a:pt x="700" y="877"/>
                </a:lnTo>
                <a:lnTo>
                  <a:pt x="613" y="871"/>
                </a:lnTo>
                <a:lnTo>
                  <a:pt x="531" y="862"/>
                </a:lnTo>
                <a:lnTo>
                  <a:pt x="452" y="853"/>
                </a:lnTo>
                <a:lnTo>
                  <a:pt x="380" y="843"/>
                </a:lnTo>
                <a:lnTo>
                  <a:pt x="311" y="831"/>
                </a:lnTo>
                <a:lnTo>
                  <a:pt x="249" y="817"/>
                </a:lnTo>
                <a:lnTo>
                  <a:pt x="192" y="804"/>
                </a:lnTo>
                <a:lnTo>
                  <a:pt x="142" y="788"/>
                </a:lnTo>
                <a:lnTo>
                  <a:pt x="119" y="780"/>
                </a:lnTo>
                <a:lnTo>
                  <a:pt x="99" y="771"/>
                </a:lnTo>
                <a:lnTo>
                  <a:pt x="81" y="763"/>
                </a:lnTo>
                <a:lnTo>
                  <a:pt x="64" y="754"/>
                </a:lnTo>
                <a:lnTo>
                  <a:pt x="48" y="746"/>
                </a:lnTo>
                <a:lnTo>
                  <a:pt x="35" y="737"/>
                </a:lnTo>
                <a:lnTo>
                  <a:pt x="24" y="727"/>
                </a:lnTo>
                <a:lnTo>
                  <a:pt x="15" y="717"/>
                </a:lnTo>
                <a:lnTo>
                  <a:pt x="8" y="727"/>
                </a:lnTo>
                <a:lnTo>
                  <a:pt x="4" y="737"/>
                </a:lnTo>
                <a:lnTo>
                  <a:pt x="1" y="746"/>
                </a:lnTo>
                <a:lnTo>
                  <a:pt x="0" y="756"/>
                </a:lnTo>
                <a:lnTo>
                  <a:pt x="1" y="767"/>
                </a:lnTo>
                <a:lnTo>
                  <a:pt x="5" y="779"/>
                </a:lnTo>
                <a:lnTo>
                  <a:pt x="13" y="790"/>
                </a:lnTo>
                <a:lnTo>
                  <a:pt x="22" y="801"/>
                </a:lnTo>
                <a:lnTo>
                  <a:pt x="34" y="811"/>
                </a:lnTo>
                <a:lnTo>
                  <a:pt x="50" y="821"/>
                </a:lnTo>
                <a:lnTo>
                  <a:pt x="65" y="831"/>
                </a:lnTo>
                <a:lnTo>
                  <a:pt x="85" y="841"/>
                </a:lnTo>
                <a:lnTo>
                  <a:pt x="106" y="851"/>
                </a:lnTo>
                <a:lnTo>
                  <a:pt x="131" y="860"/>
                </a:lnTo>
                <a:lnTo>
                  <a:pt x="156" y="868"/>
                </a:lnTo>
                <a:lnTo>
                  <a:pt x="185" y="877"/>
                </a:lnTo>
                <a:lnTo>
                  <a:pt x="247" y="892"/>
                </a:lnTo>
                <a:lnTo>
                  <a:pt x="317" y="907"/>
                </a:lnTo>
                <a:lnTo>
                  <a:pt x="394" y="921"/>
                </a:lnTo>
                <a:lnTo>
                  <a:pt x="477" y="932"/>
                </a:lnTo>
                <a:lnTo>
                  <a:pt x="566" y="942"/>
                </a:lnTo>
                <a:lnTo>
                  <a:pt x="660" y="949"/>
                </a:lnTo>
                <a:lnTo>
                  <a:pt x="760" y="956"/>
                </a:lnTo>
                <a:lnTo>
                  <a:pt x="864" y="961"/>
                </a:lnTo>
                <a:lnTo>
                  <a:pt x="970" y="964"/>
                </a:lnTo>
                <a:lnTo>
                  <a:pt x="1081" y="965"/>
                </a:lnTo>
                <a:lnTo>
                  <a:pt x="1191" y="964"/>
                </a:lnTo>
                <a:lnTo>
                  <a:pt x="1296" y="959"/>
                </a:lnTo>
                <a:lnTo>
                  <a:pt x="1396" y="952"/>
                </a:lnTo>
                <a:lnTo>
                  <a:pt x="1491" y="942"/>
                </a:lnTo>
                <a:lnTo>
                  <a:pt x="1581" y="931"/>
                </a:lnTo>
                <a:lnTo>
                  <a:pt x="1667" y="917"/>
                </a:lnTo>
                <a:lnTo>
                  <a:pt x="1745" y="901"/>
                </a:lnTo>
                <a:lnTo>
                  <a:pt x="1819" y="884"/>
                </a:lnTo>
                <a:lnTo>
                  <a:pt x="1886" y="865"/>
                </a:lnTo>
                <a:lnTo>
                  <a:pt x="1946" y="845"/>
                </a:lnTo>
                <a:lnTo>
                  <a:pt x="2000" y="825"/>
                </a:lnTo>
                <a:lnTo>
                  <a:pt x="2047" y="804"/>
                </a:lnTo>
                <a:lnTo>
                  <a:pt x="2068" y="793"/>
                </a:lnTo>
                <a:lnTo>
                  <a:pt x="2086" y="781"/>
                </a:lnTo>
                <a:lnTo>
                  <a:pt x="2103" y="771"/>
                </a:lnTo>
                <a:lnTo>
                  <a:pt x="2119" y="760"/>
                </a:lnTo>
                <a:lnTo>
                  <a:pt x="2133" y="749"/>
                </a:lnTo>
                <a:lnTo>
                  <a:pt x="2145" y="739"/>
                </a:lnTo>
                <a:lnTo>
                  <a:pt x="2155" y="727"/>
                </a:lnTo>
                <a:lnTo>
                  <a:pt x="2162" y="716"/>
                </a:lnTo>
                <a:lnTo>
                  <a:pt x="2168" y="706"/>
                </a:lnTo>
                <a:lnTo>
                  <a:pt x="2172" y="696"/>
                </a:lnTo>
                <a:lnTo>
                  <a:pt x="2175" y="685"/>
                </a:lnTo>
                <a:lnTo>
                  <a:pt x="2176" y="675"/>
                </a:lnTo>
                <a:lnTo>
                  <a:pt x="2175" y="665"/>
                </a:lnTo>
                <a:lnTo>
                  <a:pt x="2173" y="656"/>
                </a:lnTo>
                <a:lnTo>
                  <a:pt x="2169" y="646"/>
                </a:lnTo>
                <a:lnTo>
                  <a:pt x="2165" y="636"/>
                </a:lnTo>
                <a:close/>
                <a:moveTo>
                  <a:pt x="55" y="855"/>
                </a:moveTo>
                <a:lnTo>
                  <a:pt x="126" y="1439"/>
                </a:lnTo>
                <a:lnTo>
                  <a:pt x="128" y="1443"/>
                </a:lnTo>
                <a:lnTo>
                  <a:pt x="131" y="1447"/>
                </a:lnTo>
                <a:lnTo>
                  <a:pt x="136" y="1452"/>
                </a:lnTo>
                <a:lnTo>
                  <a:pt x="143" y="1456"/>
                </a:lnTo>
                <a:lnTo>
                  <a:pt x="162" y="1464"/>
                </a:lnTo>
                <a:lnTo>
                  <a:pt x="185" y="1473"/>
                </a:lnTo>
                <a:lnTo>
                  <a:pt x="236" y="1489"/>
                </a:lnTo>
                <a:lnTo>
                  <a:pt x="262" y="1496"/>
                </a:lnTo>
                <a:lnTo>
                  <a:pt x="283" y="1504"/>
                </a:lnTo>
                <a:lnTo>
                  <a:pt x="252" y="1279"/>
                </a:lnTo>
                <a:lnTo>
                  <a:pt x="250" y="1275"/>
                </a:lnTo>
                <a:lnTo>
                  <a:pt x="247" y="1262"/>
                </a:lnTo>
                <a:lnTo>
                  <a:pt x="246" y="1244"/>
                </a:lnTo>
                <a:lnTo>
                  <a:pt x="246" y="1234"/>
                </a:lnTo>
                <a:lnTo>
                  <a:pt x="247" y="1223"/>
                </a:lnTo>
                <a:lnTo>
                  <a:pt x="249" y="1213"/>
                </a:lnTo>
                <a:lnTo>
                  <a:pt x="253" y="1203"/>
                </a:lnTo>
                <a:lnTo>
                  <a:pt x="259" y="1193"/>
                </a:lnTo>
                <a:lnTo>
                  <a:pt x="267" y="1184"/>
                </a:lnTo>
                <a:lnTo>
                  <a:pt x="277" y="1177"/>
                </a:lnTo>
                <a:lnTo>
                  <a:pt x="290" y="1171"/>
                </a:lnTo>
                <a:lnTo>
                  <a:pt x="306" y="1168"/>
                </a:lnTo>
                <a:lnTo>
                  <a:pt x="326" y="1167"/>
                </a:lnTo>
                <a:lnTo>
                  <a:pt x="341" y="1168"/>
                </a:lnTo>
                <a:lnTo>
                  <a:pt x="358" y="1171"/>
                </a:lnTo>
                <a:lnTo>
                  <a:pt x="377" y="1177"/>
                </a:lnTo>
                <a:lnTo>
                  <a:pt x="387" y="1183"/>
                </a:lnTo>
                <a:lnTo>
                  <a:pt x="397" y="1188"/>
                </a:lnTo>
                <a:lnTo>
                  <a:pt x="405" y="1196"/>
                </a:lnTo>
                <a:lnTo>
                  <a:pt x="414" y="1204"/>
                </a:lnTo>
                <a:lnTo>
                  <a:pt x="422" y="1214"/>
                </a:lnTo>
                <a:lnTo>
                  <a:pt x="428" y="1227"/>
                </a:lnTo>
                <a:lnTo>
                  <a:pt x="432" y="1241"/>
                </a:lnTo>
                <a:lnTo>
                  <a:pt x="435" y="1257"/>
                </a:lnTo>
                <a:lnTo>
                  <a:pt x="472" y="1551"/>
                </a:lnTo>
                <a:lnTo>
                  <a:pt x="536" y="1560"/>
                </a:lnTo>
                <a:lnTo>
                  <a:pt x="511" y="1294"/>
                </a:lnTo>
                <a:lnTo>
                  <a:pt x="509" y="1288"/>
                </a:lnTo>
                <a:lnTo>
                  <a:pt x="508" y="1275"/>
                </a:lnTo>
                <a:lnTo>
                  <a:pt x="506" y="1257"/>
                </a:lnTo>
                <a:lnTo>
                  <a:pt x="508" y="1245"/>
                </a:lnTo>
                <a:lnTo>
                  <a:pt x="509" y="1235"/>
                </a:lnTo>
                <a:lnTo>
                  <a:pt x="514" y="1224"/>
                </a:lnTo>
                <a:lnTo>
                  <a:pt x="518" y="1214"/>
                </a:lnTo>
                <a:lnTo>
                  <a:pt x="525" y="1205"/>
                </a:lnTo>
                <a:lnTo>
                  <a:pt x="535" y="1197"/>
                </a:lnTo>
                <a:lnTo>
                  <a:pt x="548" y="1190"/>
                </a:lnTo>
                <a:lnTo>
                  <a:pt x="562" y="1186"/>
                </a:lnTo>
                <a:lnTo>
                  <a:pt x="580" y="1183"/>
                </a:lnTo>
                <a:lnTo>
                  <a:pt x="602" y="1183"/>
                </a:lnTo>
                <a:lnTo>
                  <a:pt x="606" y="1183"/>
                </a:lnTo>
                <a:lnTo>
                  <a:pt x="617" y="1184"/>
                </a:lnTo>
                <a:lnTo>
                  <a:pt x="635" y="1188"/>
                </a:lnTo>
                <a:lnTo>
                  <a:pt x="654" y="1196"/>
                </a:lnTo>
                <a:lnTo>
                  <a:pt x="664" y="1200"/>
                </a:lnTo>
                <a:lnTo>
                  <a:pt x="674" y="1207"/>
                </a:lnTo>
                <a:lnTo>
                  <a:pt x="684" y="1214"/>
                </a:lnTo>
                <a:lnTo>
                  <a:pt x="694" y="1223"/>
                </a:lnTo>
                <a:lnTo>
                  <a:pt x="703" y="1234"/>
                </a:lnTo>
                <a:lnTo>
                  <a:pt x="710" y="1247"/>
                </a:lnTo>
                <a:lnTo>
                  <a:pt x="716" y="1261"/>
                </a:lnTo>
                <a:lnTo>
                  <a:pt x="720" y="1278"/>
                </a:lnTo>
                <a:lnTo>
                  <a:pt x="744" y="1581"/>
                </a:lnTo>
                <a:lnTo>
                  <a:pt x="803" y="1584"/>
                </a:lnTo>
                <a:lnTo>
                  <a:pt x="862" y="1587"/>
                </a:lnTo>
                <a:lnTo>
                  <a:pt x="838" y="1255"/>
                </a:lnTo>
                <a:lnTo>
                  <a:pt x="840" y="1252"/>
                </a:lnTo>
                <a:lnTo>
                  <a:pt x="844" y="1245"/>
                </a:lnTo>
                <a:lnTo>
                  <a:pt x="854" y="1234"/>
                </a:lnTo>
                <a:lnTo>
                  <a:pt x="861" y="1227"/>
                </a:lnTo>
                <a:lnTo>
                  <a:pt x="871" y="1221"/>
                </a:lnTo>
                <a:lnTo>
                  <a:pt x="882" y="1214"/>
                </a:lnTo>
                <a:lnTo>
                  <a:pt x="896" y="1207"/>
                </a:lnTo>
                <a:lnTo>
                  <a:pt x="914" y="1201"/>
                </a:lnTo>
                <a:lnTo>
                  <a:pt x="933" y="1197"/>
                </a:lnTo>
                <a:lnTo>
                  <a:pt x="956" y="1191"/>
                </a:lnTo>
                <a:lnTo>
                  <a:pt x="982" y="1188"/>
                </a:lnTo>
                <a:lnTo>
                  <a:pt x="1012" y="1186"/>
                </a:lnTo>
                <a:lnTo>
                  <a:pt x="1046" y="1186"/>
                </a:lnTo>
                <a:lnTo>
                  <a:pt x="1073" y="1186"/>
                </a:lnTo>
                <a:lnTo>
                  <a:pt x="1104" y="1188"/>
                </a:lnTo>
                <a:lnTo>
                  <a:pt x="1140" y="1193"/>
                </a:lnTo>
                <a:lnTo>
                  <a:pt x="1160" y="1197"/>
                </a:lnTo>
                <a:lnTo>
                  <a:pt x="1180" y="1201"/>
                </a:lnTo>
                <a:lnTo>
                  <a:pt x="1198" y="1207"/>
                </a:lnTo>
                <a:lnTo>
                  <a:pt x="1218" y="1214"/>
                </a:lnTo>
                <a:lnTo>
                  <a:pt x="1235" y="1224"/>
                </a:lnTo>
                <a:lnTo>
                  <a:pt x="1252" y="1234"/>
                </a:lnTo>
                <a:lnTo>
                  <a:pt x="1267" y="1245"/>
                </a:lnTo>
                <a:lnTo>
                  <a:pt x="1278" y="1260"/>
                </a:lnTo>
                <a:lnTo>
                  <a:pt x="1277" y="1581"/>
                </a:lnTo>
                <a:lnTo>
                  <a:pt x="1333" y="1577"/>
                </a:lnTo>
                <a:lnTo>
                  <a:pt x="1389" y="1571"/>
                </a:lnTo>
                <a:lnTo>
                  <a:pt x="1395" y="1274"/>
                </a:lnTo>
                <a:lnTo>
                  <a:pt x="1396" y="1258"/>
                </a:lnTo>
                <a:lnTo>
                  <a:pt x="1399" y="1242"/>
                </a:lnTo>
                <a:lnTo>
                  <a:pt x="1405" y="1231"/>
                </a:lnTo>
                <a:lnTo>
                  <a:pt x="1412" y="1220"/>
                </a:lnTo>
                <a:lnTo>
                  <a:pt x="1420" y="1211"/>
                </a:lnTo>
                <a:lnTo>
                  <a:pt x="1429" y="1204"/>
                </a:lnTo>
                <a:lnTo>
                  <a:pt x="1439" y="1197"/>
                </a:lnTo>
                <a:lnTo>
                  <a:pt x="1449" y="1193"/>
                </a:lnTo>
                <a:lnTo>
                  <a:pt x="1459" y="1188"/>
                </a:lnTo>
                <a:lnTo>
                  <a:pt x="1469" y="1186"/>
                </a:lnTo>
                <a:lnTo>
                  <a:pt x="1486" y="1183"/>
                </a:lnTo>
                <a:lnTo>
                  <a:pt x="1499" y="1181"/>
                </a:lnTo>
                <a:lnTo>
                  <a:pt x="1503" y="1181"/>
                </a:lnTo>
                <a:lnTo>
                  <a:pt x="1524" y="1184"/>
                </a:lnTo>
                <a:lnTo>
                  <a:pt x="1544" y="1188"/>
                </a:lnTo>
                <a:lnTo>
                  <a:pt x="1558" y="1194"/>
                </a:lnTo>
                <a:lnTo>
                  <a:pt x="1571" y="1201"/>
                </a:lnTo>
                <a:lnTo>
                  <a:pt x="1583" y="1211"/>
                </a:lnTo>
                <a:lnTo>
                  <a:pt x="1590" y="1221"/>
                </a:lnTo>
                <a:lnTo>
                  <a:pt x="1595" y="1231"/>
                </a:lnTo>
                <a:lnTo>
                  <a:pt x="1600" y="1242"/>
                </a:lnTo>
                <a:lnTo>
                  <a:pt x="1602" y="1252"/>
                </a:lnTo>
                <a:lnTo>
                  <a:pt x="1604" y="1264"/>
                </a:lnTo>
                <a:lnTo>
                  <a:pt x="1605" y="1282"/>
                </a:lnTo>
                <a:lnTo>
                  <a:pt x="1604" y="1295"/>
                </a:lnTo>
                <a:lnTo>
                  <a:pt x="1602" y="1299"/>
                </a:lnTo>
                <a:lnTo>
                  <a:pt x="1595" y="1541"/>
                </a:lnTo>
                <a:lnTo>
                  <a:pt x="1654" y="1530"/>
                </a:lnTo>
                <a:lnTo>
                  <a:pt x="1669" y="1240"/>
                </a:lnTo>
                <a:lnTo>
                  <a:pt x="1672" y="1223"/>
                </a:lnTo>
                <a:lnTo>
                  <a:pt x="1678" y="1207"/>
                </a:lnTo>
                <a:lnTo>
                  <a:pt x="1685" y="1194"/>
                </a:lnTo>
                <a:lnTo>
                  <a:pt x="1692" y="1183"/>
                </a:lnTo>
                <a:lnTo>
                  <a:pt x="1701" y="1173"/>
                </a:lnTo>
                <a:lnTo>
                  <a:pt x="1711" y="1164"/>
                </a:lnTo>
                <a:lnTo>
                  <a:pt x="1719" y="1159"/>
                </a:lnTo>
                <a:lnTo>
                  <a:pt x="1729" y="1153"/>
                </a:lnTo>
                <a:lnTo>
                  <a:pt x="1739" y="1149"/>
                </a:lnTo>
                <a:lnTo>
                  <a:pt x="1748" y="1146"/>
                </a:lnTo>
                <a:lnTo>
                  <a:pt x="1763" y="1143"/>
                </a:lnTo>
                <a:lnTo>
                  <a:pt x="1775" y="1141"/>
                </a:lnTo>
                <a:lnTo>
                  <a:pt x="1779" y="1141"/>
                </a:lnTo>
                <a:lnTo>
                  <a:pt x="1796" y="1141"/>
                </a:lnTo>
                <a:lnTo>
                  <a:pt x="1810" y="1144"/>
                </a:lnTo>
                <a:lnTo>
                  <a:pt x="1823" y="1149"/>
                </a:lnTo>
                <a:lnTo>
                  <a:pt x="1833" y="1154"/>
                </a:lnTo>
                <a:lnTo>
                  <a:pt x="1842" y="1160"/>
                </a:lnTo>
                <a:lnTo>
                  <a:pt x="1849" y="1168"/>
                </a:lnTo>
                <a:lnTo>
                  <a:pt x="1854" y="1177"/>
                </a:lnTo>
                <a:lnTo>
                  <a:pt x="1857" y="1186"/>
                </a:lnTo>
                <a:lnTo>
                  <a:pt x="1860" y="1194"/>
                </a:lnTo>
                <a:lnTo>
                  <a:pt x="1863" y="1203"/>
                </a:lnTo>
                <a:lnTo>
                  <a:pt x="1864" y="1218"/>
                </a:lnTo>
                <a:lnTo>
                  <a:pt x="1864" y="1230"/>
                </a:lnTo>
                <a:lnTo>
                  <a:pt x="1863" y="1234"/>
                </a:lnTo>
                <a:lnTo>
                  <a:pt x="1847" y="1472"/>
                </a:lnTo>
                <a:lnTo>
                  <a:pt x="1866" y="1463"/>
                </a:lnTo>
                <a:lnTo>
                  <a:pt x="1889" y="1450"/>
                </a:lnTo>
                <a:lnTo>
                  <a:pt x="1940" y="1418"/>
                </a:lnTo>
                <a:lnTo>
                  <a:pt x="1964" y="1400"/>
                </a:lnTo>
                <a:lnTo>
                  <a:pt x="1985" y="1385"/>
                </a:lnTo>
                <a:lnTo>
                  <a:pt x="2001" y="1372"/>
                </a:lnTo>
                <a:lnTo>
                  <a:pt x="2005" y="1368"/>
                </a:lnTo>
                <a:lnTo>
                  <a:pt x="2008" y="1363"/>
                </a:lnTo>
                <a:lnTo>
                  <a:pt x="2112" y="807"/>
                </a:lnTo>
                <a:lnTo>
                  <a:pt x="2072" y="827"/>
                </a:lnTo>
                <a:lnTo>
                  <a:pt x="2029" y="845"/>
                </a:lnTo>
                <a:lnTo>
                  <a:pt x="1983" y="864"/>
                </a:lnTo>
                <a:lnTo>
                  <a:pt x="1933" y="881"/>
                </a:lnTo>
                <a:lnTo>
                  <a:pt x="1880" y="898"/>
                </a:lnTo>
                <a:lnTo>
                  <a:pt x="1825" y="914"/>
                </a:lnTo>
                <a:lnTo>
                  <a:pt x="1766" y="928"/>
                </a:lnTo>
                <a:lnTo>
                  <a:pt x="1704" y="941"/>
                </a:lnTo>
                <a:lnTo>
                  <a:pt x="1639" y="952"/>
                </a:lnTo>
                <a:lnTo>
                  <a:pt x="1573" y="962"/>
                </a:lnTo>
                <a:lnTo>
                  <a:pt x="1503" y="972"/>
                </a:lnTo>
                <a:lnTo>
                  <a:pt x="1432" y="979"/>
                </a:lnTo>
                <a:lnTo>
                  <a:pt x="1358" y="985"/>
                </a:lnTo>
                <a:lnTo>
                  <a:pt x="1281" y="991"/>
                </a:lnTo>
                <a:lnTo>
                  <a:pt x="1204" y="992"/>
                </a:lnTo>
                <a:lnTo>
                  <a:pt x="1124" y="993"/>
                </a:lnTo>
                <a:lnTo>
                  <a:pt x="1035" y="993"/>
                </a:lnTo>
                <a:lnTo>
                  <a:pt x="946" y="991"/>
                </a:lnTo>
                <a:lnTo>
                  <a:pt x="859" y="989"/>
                </a:lnTo>
                <a:lnTo>
                  <a:pt x="774" y="985"/>
                </a:lnTo>
                <a:lnTo>
                  <a:pt x="691" y="979"/>
                </a:lnTo>
                <a:lnTo>
                  <a:pt x="612" y="973"/>
                </a:lnTo>
                <a:lnTo>
                  <a:pt x="535" y="966"/>
                </a:lnTo>
                <a:lnTo>
                  <a:pt x="462" y="958"/>
                </a:lnTo>
                <a:lnTo>
                  <a:pt x="393" y="949"/>
                </a:lnTo>
                <a:lnTo>
                  <a:pt x="329" y="938"/>
                </a:lnTo>
                <a:lnTo>
                  <a:pt x="269" y="927"/>
                </a:lnTo>
                <a:lnTo>
                  <a:pt x="213" y="915"/>
                </a:lnTo>
                <a:lnTo>
                  <a:pt x="165" y="901"/>
                </a:lnTo>
                <a:lnTo>
                  <a:pt x="122" y="887"/>
                </a:lnTo>
                <a:lnTo>
                  <a:pt x="102" y="880"/>
                </a:lnTo>
                <a:lnTo>
                  <a:pt x="85" y="871"/>
                </a:lnTo>
                <a:lnTo>
                  <a:pt x="69" y="862"/>
                </a:lnTo>
                <a:lnTo>
                  <a:pt x="55" y="855"/>
                </a:lnTo>
                <a:close/>
                <a:moveTo>
                  <a:pt x="1049" y="1235"/>
                </a:moveTo>
                <a:lnTo>
                  <a:pt x="1049" y="1235"/>
                </a:lnTo>
                <a:lnTo>
                  <a:pt x="1023" y="1237"/>
                </a:lnTo>
                <a:lnTo>
                  <a:pt x="1002" y="1238"/>
                </a:lnTo>
                <a:lnTo>
                  <a:pt x="983" y="1241"/>
                </a:lnTo>
                <a:lnTo>
                  <a:pt x="966" y="1244"/>
                </a:lnTo>
                <a:lnTo>
                  <a:pt x="952" y="1248"/>
                </a:lnTo>
                <a:lnTo>
                  <a:pt x="939" y="1252"/>
                </a:lnTo>
                <a:lnTo>
                  <a:pt x="929" y="1257"/>
                </a:lnTo>
                <a:lnTo>
                  <a:pt x="921" y="1262"/>
                </a:lnTo>
                <a:lnTo>
                  <a:pt x="914" y="1267"/>
                </a:lnTo>
                <a:lnTo>
                  <a:pt x="909" y="1271"/>
                </a:lnTo>
                <a:lnTo>
                  <a:pt x="902" y="1279"/>
                </a:lnTo>
                <a:lnTo>
                  <a:pt x="899" y="1287"/>
                </a:lnTo>
                <a:lnTo>
                  <a:pt x="898" y="1288"/>
                </a:lnTo>
                <a:lnTo>
                  <a:pt x="922" y="1591"/>
                </a:lnTo>
                <a:lnTo>
                  <a:pt x="973" y="1594"/>
                </a:lnTo>
                <a:lnTo>
                  <a:pt x="1026" y="1597"/>
                </a:lnTo>
                <a:lnTo>
                  <a:pt x="1077" y="1597"/>
                </a:lnTo>
                <a:lnTo>
                  <a:pt x="1124" y="1597"/>
                </a:lnTo>
                <a:lnTo>
                  <a:pt x="1197" y="1594"/>
                </a:lnTo>
                <a:lnTo>
                  <a:pt x="1225" y="1593"/>
                </a:lnTo>
                <a:lnTo>
                  <a:pt x="1222" y="1291"/>
                </a:lnTo>
                <a:lnTo>
                  <a:pt x="1214" y="1281"/>
                </a:lnTo>
                <a:lnTo>
                  <a:pt x="1202" y="1271"/>
                </a:lnTo>
                <a:lnTo>
                  <a:pt x="1190" y="1264"/>
                </a:lnTo>
                <a:lnTo>
                  <a:pt x="1177" y="1257"/>
                </a:lnTo>
                <a:lnTo>
                  <a:pt x="1163" y="1252"/>
                </a:lnTo>
                <a:lnTo>
                  <a:pt x="1148" y="1247"/>
                </a:lnTo>
                <a:lnTo>
                  <a:pt x="1120" y="1241"/>
                </a:lnTo>
                <a:lnTo>
                  <a:pt x="1091" y="1237"/>
                </a:lnTo>
                <a:lnTo>
                  <a:pt x="1070" y="1235"/>
                </a:lnTo>
                <a:lnTo>
                  <a:pt x="1049" y="123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latin typeface="HelvNeue for IBM Medium"/>
              <a:cs typeface="Helvetica Neue Light"/>
            </a:endParaRPr>
          </a:p>
        </p:txBody>
      </p:sp>
      <p:sp>
        <p:nvSpPr>
          <p:cNvPr id="135" name="Rectangle 134"/>
          <p:cNvSpPr/>
          <p:nvPr/>
        </p:nvSpPr>
        <p:spPr>
          <a:xfrm>
            <a:off x="883643" y="2475821"/>
            <a:ext cx="2062162" cy="1846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eaLnBrk="0" hangingPunct="0">
              <a:spcBef>
                <a:spcPts val="0"/>
              </a:spcBef>
              <a:defRPr/>
            </a:pPr>
            <a:r>
              <a:rPr lang="en-US" sz="1200" dirty="0" smtClean="0">
                <a:solidFill>
                  <a:schemeClr val="tx1"/>
                </a:solidFill>
                <a:latin typeface="HelvNeue for IBM Medium"/>
                <a:cs typeface="Helvetica Neue Light"/>
              </a:rPr>
              <a:t>Cloud Computing</a:t>
            </a:r>
            <a:endParaRPr lang="en-US" sz="1200" dirty="0">
              <a:solidFill>
                <a:schemeClr val="tx1"/>
              </a:solidFill>
              <a:latin typeface="HelvNeue for IBM Medium"/>
              <a:cs typeface="Helvetica Neue Light"/>
            </a:endParaRPr>
          </a:p>
        </p:txBody>
      </p:sp>
      <p:sp>
        <p:nvSpPr>
          <p:cNvPr id="136" name="Rectangle 135"/>
          <p:cNvSpPr/>
          <p:nvPr/>
        </p:nvSpPr>
        <p:spPr>
          <a:xfrm>
            <a:off x="883643" y="3325361"/>
            <a:ext cx="2062162" cy="36933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eaLnBrk="0" hangingPunct="0">
              <a:spcBef>
                <a:spcPts val="0"/>
              </a:spcBef>
              <a:defRPr/>
            </a:pPr>
            <a:r>
              <a:rPr lang="en-US" sz="1200" dirty="0" smtClean="0">
                <a:solidFill>
                  <a:schemeClr val="tx1"/>
                </a:solidFill>
                <a:latin typeface="HelvNeue for IBM Medium"/>
                <a:cs typeface="Helvetica Neue Light"/>
              </a:rPr>
              <a:t>Product Lifecycle</a:t>
            </a:r>
          </a:p>
          <a:p>
            <a:pPr eaLnBrk="0" hangingPunct="0">
              <a:spcBef>
                <a:spcPts val="0"/>
              </a:spcBef>
              <a:defRPr/>
            </a:pPr>
            <a:r>
              <a:rPr lang="en-US" sz="1200" dirty="0" smtClean="0">
                <a:solidFill>
                  <a:schemeClr val="tx1"/>
                </a:solidFill>
                <a:latin typeface="HelvNeue for IBM Medium"/>
                <a:cs typeface="Helvetica Neue Light"/>
              </a:rPr>
              <a:t>Management</a:t>
            </a:r>
            <a:endParaRPr lang="en-US" sz="1200" dirty="0">
              <a:solidFill>
                <a:schemeClr val="tx1"/>
              </a:solidFill>
              <a:latin typeface="HelvNeue for IBM Medium"/>
              <a:cs typeface="Helvetica Neue Light"/>
            </a:endParaRPr>
          </a:p>
        </p:txBody>
      </p:sp>
      <p:pic>
        <p:nvPicPr>
          <p:cNvPr id="141" name="Picture 140"/>
          <p:cNvPicPr>
            <a:picLocks noChangeAspect="1"/>
          </p:cNvPicPr>
          <p:nvPr/>
        </p:nvPicPr>
        <p:blipFill>
          <a:blip r:embed="rId7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715" y="2466947"/>
            <a:ext cx="249242" cy="224318"/>
          </a:xfrm>
          <a:prstGeom prst="rect">
            <a:avLst/>
          </a:prstGeom>
        </p:spPr>
      </p:pic>
      <p:pic>
        <p:nvPicPr>
          <p:cNvPr id="142" name="Picture 141"/>
          <p:cNvPicPr>
            <a:picLocks noChangeAspect="1"/>
          </p:cNvPicPr>
          <p:nvPr/>
        </p:nvPicPr>
        <p:blipFill>
          <a:blip r:embed="rId9" cstate="print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783" y="3415748"/>
            <a:ext cx="268330" cy="241497"/>
          </a:xfrm>
          <a:prstGeom prst="rect">
            <a:avLst/>
          </a:prstGeom>
        </p:spPr>
      </p:pic>
      <p:sp>
        <p:nvSpPr>
          <p:cNvPr id="7" name="Isosceles Triangle 6"/>
          <p:cNvSpPr/>
          <p:nvPr/>
        </p:nvSpPr>
        <p:spPr>
          <a:xfrm rot="5400000">
            <a:off x="1485651" y="2958742"/>
            <a:ext cx="2462211" cy="318248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Neue for IBM Medium"/>
            </a:endParaRPr>
          </a:p>
        </p:txBody>
      </p:sp>
      <p:sp>
        <p:nvSpPr>
          <p:cNvPr id="143" name="Rectangle 142"/>
          <p:cNvSpPr/>
          <p:nvPr/>
        </p:nvSpPr>
        <p:spPr>
          <a:xfrm>
            <a:off x="3038736" y="3870142"/>
            <a:ext cx="5661711" cy="5492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sz="1800">
              <a:latin typeface="HelvNeue for IBM Medium"/>
              <a:cs typeface="Helvetica Neue Light"/>
            </a:endParaRPr>
          </a:p>
        </p:txBody>
      </p:sp>
      <p:sp>
        <p:nvSpPr>
          <p:cNvPr id="144" name="Rectangle 143"/>
          <p:cNvSpPr/>
          <p:nvPr/>
        </p:nvSpPr>
        <p:spPr>
          <a:xfrm>
            <a:off x="3150967" y="3930468"/>
            <a:ext cx="2297563" cy="40011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spAutoFit/>
          </a:bodyPr>
          <a:lstStyle/>
          <a:p>
            <a:pPr eaLnBrk="0" hangingPunct="0">
              <a:defRPr/>
            </a:pPr>
            <a:r>
              <a:rPr lang="en-US" sz="1300" dirty="0" smtClean="0">
                <a:solidFill>
                  <a:schemeClr val="tx1"/>
                </a:solidFill>
                <a:latin typeface="HelvNeue for IBM Medium"/>
                <a:cs typeface="Helvetica Neue Light"/>
              </a:rPr>
              <a:t>Advancing environmental leadership</a:t>
            </a:r>
            <a:endParaRPr lang="en-US" sz="1300" dirty="0">
              <a:solidFill>
                <a:schemeClr val="tx1"/>
              </a:solidFill>
              <a:latin typeface="HelvNeue for IBM Medium"/>
              <a:cs typeface="Helvetica Neue Light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994957" y="3981097"/>
            <a:ext cx="303267" cy="30326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010783" y="3968138"/>
            <a:ext cx="329184" cy="32918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922641" y="3968138"/>
            <a:ext cx="329184" cy="329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97096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 rot="7489476" flipH="1">
            <a:off x="1294343" y="2012905"/>
            <a:ext cx="1619250" cy="352778"/>
          </a:xfrm>
          <a:prstGeom prst="rect">
            <a:avLst/>
          </a:prstGeom>
          <a:gradFill>
            <a:gsLst>
              <a:gs pos="100000">
                <a:schemeClr val="bg1"/>
              </a:gs>
              <a:gs pos="0">
                <a:srgbClr val="FEC534"/>
              </a:gs>
            </a:gsLst>
            <a:lin ang="0" scaled="0"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glow" dir="tl">
              <a:rot lat="0" lon="0" rev="19800000"/>
            </a:lightRig>
          </a:scene3d>
          <a:sp3d prstMaterial="metal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Helvetica Neue Medium"/>
              <a:cs typeface="Helvetica Neue Medium"/>
            </a:endParaRPr>
          </a:p>
        </p:txBody>
      </p:sp>
      <p:sp>
        <p:nvSpPr>
          <p:cNvPr id="30" name="Rectangle 29"/>
          <p:cNvSpPr/>
          <p:nvPr/>
        </p:nvSpPr>
        <p:spPr>
          <a:xfrm rot="14110524">
            <a:off x="2355496" y="2067939"/>
            <a:ext cx="1619250" cy="352778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rgbClr val="FFE614"/>
              </a:gs>
            </a:gsLst>
            <a:lin ang="0" scaled="0"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glow" dir="tl">
              <a:rot lat="0" lon="0" rev="19800000"/>
            </a:lightRig>
          </a:scene3d>
          <a:sp3d prstMaterial="metal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Helvetica Neue Medium"/>
              <a:cs typeface="Helvetica Neue Medium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411110" y="2719917"/>
            <a:ext cx="2159000" cy="264584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rgbClr val="1278AE"/>
              </a:gs>
            </a:gsLst>
            <a:lin ang="0" scaled="0"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glow" dir="tl">
              <a:rot lat="0" lon="0" rev="19800000"/>
            </a:lightRig>
          </a:scene3d>
          <a:sp3d prstMaterial="metal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Helvetica Neue Medium"/>
              <a:cs typeface="Helvetica Neue Medium"/>
            </a:endParaRPr>
          </a:p>
        </p:txBody>
      </p:sp>
      <p:sp>
        <p:nvSpPr>
          <p:cNvPr id="59396" name="Text Box 9"/>
          <p:cNvSpPr txBox="1">
            <a:spLocks noChangeArrowheads="1"/>
          </p:cNvSpPr>
          <p:nvPr/>
        </p:nvSpPr>
        <p:spPr bwMode="auto">
          <a:xfrm>
            <a:off x="381000" y="285750"/>
            <a:ext cx="7156450" cy="403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4283" tIns="32142" rIns="64283" bIns="32142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3190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spc="-50">
                <a:solidFill>
                  <a:srgbClr val="339C96"/>
                </a:solidFill>
                <a:latin typeface="HelvNeue for IBM Medium"/>
                <a:ea typeface="MS PGothic" pitchFamily="34" charset="-128"/>
                <a:cs typeface="HelvNeue for IBM Light"/>
              </a:defRPr>
            </a:lvl1pPr>
            <a:lvl2pPr defTabSz="3190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4FD9E7"/>
                </a:solidFill>
                <a:latin typeface="HelvNeue for IBM Light" charset="0"/>
                <a:ea typeface="MS PGothic" pitchFamily="34" charset="-128"/>
                <a:cs typeface="HelvNeue for IBM Light" charset="0"/>
              </a:defRPr>
            </a:lvl2pPr>
            <a:lvl3pPr defTabSz="3190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4FD9E7"/>
                </a:solidFill>
                <a:latin typeface="HelvNeue for IBM Light" charset="0"/>
                <a:ea typeface="MS PGothic" pitchFamily="34" charset="-128"/>
                <a:cs typeface="HelvNeue for IBM Light" charset="0"/>
              </a:defRPr>
            </a:lvl3pPr>
            <a:lvl4pPr defTabSz="3190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4FD9E7"/>
                </a:solidFill>
                <a:latin typeface="HelvNeue for IBM Light" charset="0"/>
                <a:ea typeface="MS PGothic" pitchFamily="34" charset="-128"/>
                <a:cs typeface="HelvNeue for IBM Light" charset="0"/>
              </a:defRPr>
            </a:lvl4pPr>
            <a:lvl5pPr defTabSz="3190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4FD9E7"/>
                </a:solidFill>
                <a:latin typeface="HelvNeue for IBM Light" charset="0"/>
                <a:ea typeface="MS PGothic" pitchFamily="34" charset="-128"/>
                <a:cs typeface="HelvNeue for IBM Light" charset="0"/>
              </a:defRPr>
            </a:lvl5pPr>
            <a:lvl6pPr marL="321419" algn="ctr" defTabSz="3214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00">
                <a:solidFill>
                  <a:srgbClr val="4FFAFF"/>
                </a:solidFill>
                <a:latin typeface="Lubalin for IBM Extra Light" charset="0"/>
                <a:ea typeface="ＭＳ Ｐゴシック" charset="0"/>
              </a:defRPr>
            </a:lvl6pPr>
            <a:lvl7pPr marL="642840" algn="ctr" defTabSz="3214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00">
                <a:solidFill>
                  <a:srgbClr val="4FFAFF"/>
                </a:solidFill>
                <a:latin typeface="Lubalin for IBM Extra Light" charset="0"/>
                <a:ea typeface="ＭＳ Ｐゴシック" charset="0"/>
              </a:defRPr>
            </a:lvl7pPr>
            <a:lvl8pPr marL="964259" algn="ctr" defTabSz="3214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00">
                <a:solidFill>
                  <a:srgbClr val="4FFAFF"/>
                </a:solidFill>
                <a:latin typeface="Lubalin for IBM Extra Light" charset="0"/>
                <a:ea typeface="ＭＳ Ｐゴシック" charset="0"/>
              </a:defRPr>
            </a:lvl8pPr>
            <a:lvl9pPr marL="1285679" algn="ctr" defTabSz="3214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00">
                <a:solidFill>
                  <a:srgbClr val="4FFAFF"/>
                </a:solidFill>
                <a:latin typeface="Lubalin for IBM Extra Light" charset="0"/>
                <a:ea typeface="ＭＳ Ｐゴシック" charset="0"/>
              </a:defRPr>
            </a:lvl9pPr>
          </a:lstStyle>
          <a:p>
            <a:r>
              <a:rPr lang="en-GB" dirty="0" smtClean="0"/>
              <a:t>IBM </a:t>
            </a:r>
            <a:r>
              <a:rPr lang="en-GB" dirty="0"/>
              <a:t>Predictive Maintenance and Quality</a:t>
            </a:r>
          </a:p>
        </p:txBody>
      </p:sp>
      <p:grpSp>
        <p:nvGrpSpPr>
          <p:cNvPr id="3" name="Group 5"/>
          <p:cNvGrpSpPr/>
          <p:nvPr/>
        </p:nvGrpSpPr>
        <p:grpSpPr>
          <a:xfrm>
            <a:off x="5140151" y="1358462"/>
            <a:ext cx="3686703" cy="2788301"/>
            <a:chOff x="5033963" y="1397723"/>
            <a:chExt cx="3686703" cy="4208126"/>
          </a:xfrm>
        </p:grpSpPr>
        <p:sp>
          <p:nvSpPr>
            <p:cNvPr id="16" name="Round Single Corner Rectangle 15"/>
            <p:cNvSpPr/>
            <p:nvPr/>
          </p:nvSpPr>
          <p:spPr>
            <a:xfrm flipH="1">
              <a:off x="5110161" y="2166409"/>
              <a:ext cx="3508551" cy="3439440"/>
            </a:xfrm>
            <a:prstGeom prst="round1Rect">
              <a:avLst>
                <a:gd name="adj" fmla="val 0"/>
              </a:avLst>
            </a:prstGeom>
            <a:solidFill>
              <a:srgbClr val="7F7F7F">
                <a:alpha val="45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rgbClr val="FFFFFF"/>
                </a:solidFill>
                <a:latin typeface="Helvetica Neue Medium"/>
                <a:ea typeface="ＭＳ Ｐゴシック"/>
                <a:cs typeface="Helvetica Neue Medium"/>
              </a:endParaRPr>
            </a:p>
          </p:txBody>
        </p:sp>
        <p:pic>
          <p:nvPicPr>
            <p:cNvPr id="59395" name="Picture 2" descr="stripes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62551" y="2155296"/>
              <a:ext cx="3456164" cy="34386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59398" name="Straight Connector 14"/>
            <p:cNvCxnSpPr>
              <a:cxnSpLocks noChangeShapeType="1"/>
            </p:cNvCxnSpPr>
            <p:nvPr/>
          </p:nvCxnSpPr>
          <p:spPr bwMode="auto">
            <a:xfrm>
              <a:off x="5033963" y="2148946"/>
              <a:ext cx="2065337" cy="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8" name="Round Single Corner Rectangle 17"/>
            <p:cNvSpPr/>
            <p:nvPr/>
          </p:nvSpPr>
          <p:spPr>
            <a:xfrm flipH="1">
              <a:off x="5105400" y="1425046"/>
              <a:ext cx="3513314" cy="717550"/>
            </a:xfrm>
            <a:prstGeom prst="round1Rect">
              <a:avLst>
                <a:gd name="adj" fmla="val 542"/>
              </a:avLst>
            </a:prstGeom>
            <a:solidFill>
              <a:srgbClr val="FFFFFF">
                <a:lumMod val="5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rgbClr val="FFFFFF"/>
                </a:solidFill>
                <a:latin typeface="Helvetica Neue Medium"/>
                <a:ea typeface="ＭＳ Ｐゴシック"/>
                <a:cs typeface="Helvetica Neue Medium"/>
              </a:endParaRPr>
            </a:p>
          </p:txBody>
        </p:sp>
        <p:sp>
          <p:nvSpPr>
            <p:cNvPr id="19" name="Rectangle 23"/>
            <p:cNvSpPr>
              <a:spLocks noChangeArrowheads="1"/>
            </p:cNvSpPr>
            <p:nvPr/>
          </p:nvSpPr>
          <p:spPr bwMode="auto">
            <a:xfrm>
              <a:off x="5328355" y="1742547"/>
              <a:ext cx="3392311" cy="35139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>
              <a:spAutoFit/>
            </a:bodyPr>
            <a:lstStyle/>
            <a:p>
              <a:pPr eaLnBrk="1" fontAlgn="auto" hangingPunct="1">
                <a:lnSpc>
                  <a:spcPct val="95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r>
                <a:rPr lang="en-US" kern="0" dirty="0">
                  <a:solidFill>
                    <a:schemeClr val="bg1"/>
                  </a:solidFill>
                  <a:latin typeface="Helvetica Neue Medium"/>
                  <a:ea typeface="ＭＳ Ｐゴシック" charset="0"/>
                  <a:cs typeface="Helvetica Neue Medium"/>
                </a:rPr>
                <a:t>Accelerate </a:t>
              </a:r>
              <a:r>
                <a:rPr lang="en-US" kern="0" dirty="0" smtClean="0">
                  <a:solidFill>
                    <a:schemeClr val="bg1"/>
                  </a:solidFill>
                  <a:latin typeface="Helvetica Neue Medium"/>
                  <a:ea typeface="ＭＳ Ｐゴシック" charset="0"/>
                  <a:cs typeface="Helvetica Neue Medium"/>
                </a:rPr>
                <a:t>time to value</a:t>
              </a:r>
            </a:p>
            <a:p>
              <a:pPr marL="177800" indent="-177800" eaLnBrk="1" hangingPunct="1">
                <a:spcBef>
                  <a:spcPct val="30000"/>
                </a:spcBef>
                <a:buClr>
                  <a:srgbClr val="7F7E7E"/>
                </a:buClr>
                <a:buFont typeface="Arial"/>
                <a:buChar char="•"/>
                <a:defRPr/>
              </a:pPr>
              <a:r>
                <a:rPr lang="en-US" sz="1200" dirty="0" smtClean="0">
                  <a:solidFill>
                    <a:srgbClr val="7F7E7E"/>
                  </a:solidFill>
                  <a:latin typeface="Helvetica Neue Medium"/>
                  <a:ea typeface="ＭＳ Ｐゴシック" charset="0"/>
                  <a:cs typeface="Helvetica Neue Medium"/>
                </a:rPr>
                <a:t>Real-time </a:t>
              </a:r>
              <a:r>
                <a:rPr lang="en-US" sz="1200" dirty="0">
                  <a:solidFill>
                    <a:srgbClr val="7F7E7E"/>
                  </a:solidFill>
                  <a:latin typeface="Helvetica Neue Medium"/>
                  <a:ea typeface="ＭＳ Ｐゴシック" charset="0"/>
                  <a:cs typeface="Helvetica Neue Medium"/>
                </a:rPr>
                <a:t>capabilities</a:t>
              </a:r>
            </a:p>
            <a:p>
              <a:pPr marL="177800" indent="-177800" eaLnBrk="1" hangingPunct="1">
                <a:spcBef>
                  <a:spcPct val="30000"/>
                </a:spcBef>
                <a:buClr>
                  <a:srgbClr val="7F7E7E"/>
                </a:buClr>
                <a:buFont typeface="Arial"/>
                <a:buChar char="•"/>
                <a:defRPr/>
              </a:pPr>
              <a:r>
                <a:rPr lang="en-US" sz="1200" dirty="0">
                  <a:solidFill>
                    <a:srgbClr val="7F7E7E"/>
                  </a:solidFill>
                  <a:latin typeface="Helvetica Neue Medium"/>
                  <a:ea typeface="ＭＳ Ｐゴシック" charset="0"/>
                  <a:cs typeface="Helvetica Neue Medium"/>
                </a:rPr>
                <a:t>Big </a:t>
              </a:r>
              <a:r>
                <a:rPr lang="en-US" sz="1200" dirty="0" smtClean="0">
                  <a:solidFill>
                    <a:srgbClr val="7F7E7E"/>
                  </a:solidFill>
                  <a:latin typeface="Helvetica Neue Medium"/>
                  <a:ea typeface="ＭＳ Ｐゴシック" charset="0"/>
                  <a:cs typeface="Helvetica Neue Medium"/>
                </a:rPr>
                <a:t>data, predictive analytics, business intelligence</a:t>
              </a:r>
              <a:endParaRPr lang="en-US" sz="1200" dirty="0">
                <a:solidFill>
                  <a:srgbClr val="7F7E7E"/>
                </a:solidFill>
                <a:latin typeface="Helvetica Neue Medium"/>
                <a:ea typeface="ＭＳ Ｐゴシック" charset="0"/>
                <a:cs typeface="Helvetica Neue Medium"/>
              </a:endParaRPr>
            </a:p>
            <a:p>
              <a:pPr marL="177800" indent="-177800" eaLnBrk="1" hangingPunct="1">
                <a:spcBef>
                  <a:spcPct val="30000"/>
                </a:spcBef>
                <a:buClr>
                  <a:srgbClr val="7F7E7E"/>
                </a:buClr>
                <a:buFont typeface="Arial"/>
                <a:buChar char="•"/>
                <a:defRPr/>
              </a:pPr>
              <a:r>
                <a:rPr lang="en-US" sz="1200" dirty="0" smtClean="0">
                  <a:solidFill>
                    <a:srgbClr val="7F7E7E"/>
                  </a:solidFill>
                  <a:latin typeface="Helvetica Neue Medium"/>
                  <a:ea typeface="ＭＳ Ｐゴシック" charset="0"/>
                  <a:cs typeface="Helvetica Neue Medium"/>
                </a:rPr>
                <a:t>Quicker </a:t>
              </a:r>
              <a:r>
                <a:rPr lang="en-US" sz="1200" dirty="0">
                  <a:solidFill>
                    <a:srgbClr val="7F7E7E"/>
                  </a:solidFill>
                  <a:latin typeface="Helvetica Neue Medium"/>
                  <a:ea typeface="ＭＳ Ｐゴシック" charset="0"/>
                  <a:cs typeface="Helvetica Neue Medium"/>
                </a:rPr>
                <a:t>and </a:t>
              </a:r>
              <a:r>
                <a:rPr lang="en-US" sz="1200" dirty="0" smtClean="0">
                  <a:solidFill>
                    <a:srgbClr val="7F7E7E"/>
                  </a:solidFill>
                  <a:latin typeface="Helvetica Neue Medium"/>
                  <a:ea typeface="ＭＳ Ｐゴシック" charset="0"/>
                  <a:cs typeface="Helvetica Neue Medium"/>
                </a:rPr>
                <a:t>more-accurate decision making</a:t>
              </a:r>
              <a:endParaRPr lang="en-US" sz="1200" dirty="0">
                <a:solidFill>
                  <a:srgbClr val="7F7E7E"/>
                </a:solidFill>
                <a:latin typeface="Helvetica Neue Medium"/>
                <a:ea typeface="ＭＳ Ｐゴシック" charset="0"/>
                <a:cs typeface="Helvetica Neue Medium"/>
              </a:endParaRPr>
            </a:p>
            <a:p>
              <a:pPr marL="177800" indent="-177800" eaLnBrk="1" hangingPunct="1">
                <a:spcBef>
                  <a:spcPct val="30000"/>
                </a:spcBef>
                <a:buClr>
                  <a:srgbClr val="7F7E7E"/>
                </a:buClr>
                <a:buFont typeface="Arial"/>
                <a:buChar char="•"/>
                <a:defRPr/>
              </a:pPr>
              <a:r>
                <a:rPr lang="en-US" sz="1200" dirty="0" smtClean="0">
                  <a:solidFill>
                    <a:srgbClr val="7F7E7E"/>
                  </a:solidFill>
                  <a:latin typeface="Helvetica Neue Medium"/>
                  <a:ea typeface="ＭＳ Ｐゴシック" charset="0"/>
                  <a:cs typeface="Helvetica Neue Medium"/>
                </a:rPr>
                <a:t>IBM </a:t>
              </a:r>
              <a:r>
                <a:rPr lang="en-US" sz="1200" dirty="0">
                  <a:solidFill>
                    <a:srgbClr val="7F7E7E"/>
                  </a:solidFill>
                  <a:latin typeface="Helvetica Neue Medium"/>
                  <a:ea typeface="ＭＳ Ｐゴシック" charset="0"/>
                  <a:cs typeface="Helvetica Neue Medium"/>
                </a:rPr>
                <a:t>Maximo</a:t>
              </a:r>
              <a:r>
                <a:rPr lang="en-US" sz="1200" baseline="30000" dirty="0">
                  <a:solidFill>
                    <a:srgbClr val="7F7E7E"/>
                  </a:solidFill>
                  <a:latin typeface="Helvetica Neue Medium"/>
                  <a:ea typeface="ＭＳ Ｐゴシック" charset="0"/>
                  <a:cs typeface="Helvetica Neue Medium"/>
                </a:rPr>
                <a:t>®</a:t>
              </a:r>
              <a:r>
                <a:rPr lang="en-US" sz="1200" dirty="0">
                  <a:solidFill>
                    <a:srgbClr val="7F7E7E"/>
                  </a:solidFill>
                  <a:latin typeface="Helvetica Neue Medium"/>
                  <a:ea typeface="ＭＳ Ｐゴシック" charset="0"/>
                  <a:cs typeface="Helvetica Neue Medium"/>
                </a:rPr>
                <a:t> i</a:t>
              </a:r>
              <a:r>
                <a:rPr lang="en-US" sz="1200" dirty="0" smtClean="0">
                  <a:solidFill>
                    <a:srgbClr val="7F7E7E"/>
                  </a:solidFill>
                  <a:latin typeface="Helvetica Neue Medium"/>
                  <a:ea typeface="ＭＳ Ｐゴシック" charset="0"/>
                  <a:cs typeface="Helvetica Neue Medium"/>
                </a:rPr>
                <a:t>ntegration </a:t>
              </a:r>
            </a:p>
            <a:p>
              <a:pPr marL="177800" indent="-177800" eaLnBrk="1" hangingPunct="1">
                <a:spcBef>
                  <a:spcPct val="30000"/>
                </a:spcBef>
                <a:buClr>
                  <a:srgbClr val="7F7E7E"/>
                </a:buClr>
                <a:buFont typeface="Arial"/>
                <a:buChar char="•"/>
                <a:defRPr/>
              </a:pPr>
              <a:r>
                <a:rPr lang="en-US" sz="1200" dirty="0" smtClean="0">
                  <a:solidFill>
                    <a:srgbClr val="7F7E7E"/>
                  </a:solidFill>
                  <a:latin typeface="Helvetica Neue Medium"/>
                  <a:ea typeface="ＭＳ Ｐゴシック" charset="0"/>
                  <a:cs typeface="Helvetica Neue Medium"/>
                </a:rPr>
                <a:t>Open </a:t>
              </a:r>
              <a:r>
                <a:rPr lang="en-US" sz="1200" dirty="0">
                  <a:solidFill>
                    <a:srgbClr val="7F7E7E"/>
                  </a:solidFill>
                  <a:latin typeface="Helvetica Neue Medium"/>
                  <a:ea typeface="ＭＳ Ｐゴシック" charset="0"/>
                  <a:cs typeface="Helvetica Neue Medium"/>
                </a:rPr>
                <a:t>architecture</a:t>
              </a:r>
            </a:p>
            <a:p>
              <a:pPr marL="177800" indent="-177800" eaLnBrk="1" hangingPunct="1">
                <a:spcBef>
                  <a:spcPct val="30000"/>
                </a:spcBef>
                <a:buClr>
                  <a:srgbClr val="7F7E7E"/>
                </a:buClr>
                <a:buFont typeface="Arial"/>
                <a:buChar char="•"/>
                <a:defRPr/>
              </a:pPr>
              <a:r>
                <a:rPr lang="en-US" sz="1200" dirty="0" smtClean="0">
                  <a:solidFill>
                    <a:srgbClr val="7F7E7E"/>
                  </a:solidFill>
                  <a:latin typeface="Helvetica Neue Medium"/>
                  <a:ea typeface="ＭＳ Ｐゴシック" charset="0"/>
                  <a:cs typeface="Helvetica Neue Medium"/>
                </a:rPr>
                <a:t>Advanced quality algorithms</a:t>
              </a:r>
            </a:p>
            <a:p>
              <a:pPr marL="177800" indent="-177800" eaLnBrk="1" hangingPunct="1">
                <a:spcBef>
                  <a:spcPct val="30000"/>
                </a:spcBef>
                <a:buClr>
                  <a:srgbClr val="7F7E7E"/>
                </a:buClr>
                <a:buFont typeface="Arial"/>
                <a:buChar char="•"/>
                <a:defRPr/>
              </a:pPr>
              <a:r>
                <a:rPr lang="en-US" sz="1200" dirty="0" smtClean="0">
                  <a:solidFill>
                    <a:srgbClr val="7F7E7E"/>
                  </a:solidFill>
                  <a:latin typeface="Helvetica Neue Medium"/>
                  <a:ea typeface="ＭＳ Ｐゴシック" charset="0"/>
                  <a:cs typeface="Helvetica Neue Medium"/>
                </a:rPr>
                <a:t>Available </a:t>
              </a:r>
              <a:r>
                <a:rPr lang="en-US" sz="1200" dirty="0" err="1" smtClean="0">
                  <a:solidFill>
                    <a:srgbClr val="7F7E7E"/>
                  </a:solidFill>
                  <a:latin typeface="Helvetica Neue Medium"/>
                  <a:ea typeface="ＭＳ Ｐゴシック" charset="0"/>
                  <a:cs typeface="Helvetica Neue Medium"/>
                </a:rPr>
                <a:t>SaaS</a:t>
              </a:r>
              <a:r>
                <a:rPr lang="en-US" sz="1200" dirty="0" smtClean="0">
                  <a:solidFill>
                    <a:srgbClr val="7F7E7E"/>
                  </a:solidFill>
                  <a:latin typeface="Helvetica Neue Medium"/>
                  <a:ea typeface="ＭＳ Ｐゴシック" charset="0"/>
                  <a:cs typeface="Helvetica Neue Medium"/>
                </a:rPr>
                <a:t> and On Premise</a:t>
              </a:r>
              <a:endParaRPr lang="en-US" sz="1200" dirty="0">
                <a:solidFill>
                  <a:srgbClr val="7F7E7E"/>
                </a:solidFill>
                <a:latin typeface="Helvetica Neue Medium"/>
                <a:ea typeface="ＭＳ Ｐゴシック" charset="0"/>
                <a:cs typeface="Helvetica Neue Medium"/>
              </a:endParaRPr>
            </a:p>
          </p:txBody>
        </p:sp>
        <p:cxnSp>
          <p:nvCxnSpPr>
            <p:cNvPr id="59401" name="Straight Connector 19"/>
            <p:cNvCxnSpPr>
              <a:cxnSpLocks noChangeShapeType="1"/>
            </p:cNvCxnSpPr>
            <p:nvPr/>
          </p:nvCxnSpPr>
          <p:spPr bwMode="auto">
            <a:xfrm flipH="1" flipV="1">
              <a:off x="5108638" y="1397723"/>
              <a:ext cx="38982" cy="4206240"/>
            </a:xfrm>
            <a:prstGeom prst="line">
              <a:avLst/>
            </a:prstGeom>
            <a:noFill/>
            <a:ln w="76200">
              <a:solidFill>
                <a:srgbClr val="FEBE3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59402" name="Picture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 flipV="1">
            <a:off x="3198126" y="2449113"/>
            <a:ext cx="996302" cy="747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03" name="Picture 2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 flipV="1">
            <a:off x="987030" y="2450029"/>
            <a:ext cx="993853" cy="745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04" name="Picture 2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 flipV="1">
            <a:off x="2091353" y="1252831"/>
            <a:ext cx="996302" cy="7490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440380" y="3160448"/>
            <a:ext cx="2083472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DF712B"/>
                </a:solidFill>
                <a:latin typeface="Helvetica Neue Medium"/>
                <a:ea typeface="MS PGothic" charset="0"/>
                <a:cs typeface="Helvetica Neue Medium"/>
              </a:rPr>
              <a:t>Improve</a:t>
            </a:r>
            <a:r>
              <a:rPr lang="en-US" dirty="0" smtClean="0">
                <a:solidFill>
                  <a:srgbClr val="7F7E7E"/>
                </a:solidFill>
                <a:latin typeface="Helvetica Neue Medium"/>
                <a:ea typeface="MS PGothic" charset="0"/>
                <a:cs typeface="Helvetica Neue Medium"/>
              </a:rPr>
              <a:t/>
            </a:r>
            <a:br>
              <a:rPr lang="en-US" dirty="0" smtClean="0">
                <a:solidFill>
                  <a:srgbClr val="7F7E7E"/>
                </a:solidFill>
                <a:latin typeface="Helvetica Neue Medium"/>
                <a:ea typeface="MS PGothic" charset="0"/>
                <a:cs typeface="Helvetica Neue Medium"/>
              </a:rPr>
            </a:br>
            <a:r>
              <a:rPr lang="en-US" dirty="0" smtClean="0">
                <a:solidFill>
                  <a:srgbClr val="7F7E7E"/>
                </a:solidFill>
                <a:latin typeface="Helvetica Neue Medium"/>
                <a:ea typeface="MS PGothic" charset="0"/>
                <a:cs typeface="Helvetica Neue Medium"/>
              </a:rPr>
              <a:t>asset productivity</a:t>
            </a:r>
            <a:endParaRPr lang="en-US" dirty="0">
              <a:solidFill>
                <a:srgbClr val="7F7E7E"/>
              </a:solidFill>
              <a:latin typeface="Helvetica Neue Medium"/>
              <a:ea typeface="MS PGothic" charset="0"/>
              <a:cs typeface="Helvetica Neue Medium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638804" y="3160448"/>
            <a:ext cx="2159566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1278AE"/>
                </a:solidFill>
                <a:latin typeface="Helvetica Neue Medium"/>
                <a:ea typeface="MS PGothic" charset="0"/>
                <a:cs typeface="Helvetica Neue Medium"/>
              </a:rPr>
              <a:t>Increase</a:t>
            </a:r>
            <a:endParaRPr lang="en-US" sz="2000" dirty="0" smtClean="0">
              <a:solidFill>
                <a:srgbClr val="7F7E7E"/>
              </a:solidFill>
              <a:latin typeface="Helvetica Neue Medium"/>
              <a:ea typeface="MS PGothic" charset="0"/>
              <a:cs typeface="Helvetica Neue Medium"/>
            </a:endParaRPr>
          </a:p>
          <a:p>
            <a:pPr algn="ctr"/>
            <a:r>
              <a:rPr lang="en-US" dirty="0" smtClean="0">
                <a:solidFill>
                  <a:srgbClr val="7F7E7E"/>
                </a:solidFill>
                <a:latin typeface="Helvetica Neue Medium"/>
                <a:ea typeface="MS PGothic" charset="0"/>
                <a:cs typeface="Helvetica Neue Medium"/>
              </a:rPr>
              <a:t>process efficiency</a:t>
            </a:r>
            <a:endParaRPr lang="en-US" dirty="0">
              <a:solidFill>
                <a:srgbClr val="7F7E7E"/>
              </a:solidFill>
              <a:latin typeface="Helvetica Neue Medium"/>
              <a:ea typeface="MS PGothic" charset="0"/>
              <a:cs typeface="Helvetica Neue Medium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105152" y="1323298"/>
            <a:ext cx="2286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n-US" sz="2000" dirty="0">
                <a:solidFill>
                  <a:srgbClr val="FEBE32"/>
                </a:solidFill>
                <a:latin typeface="Helvetica Neue Medium"/>
                <a:ea typeface="MS PGothic" charset="0"/>
                <a:cs typeface="Helvetica Neue Medium"/>
              </a:rPr>
              <a:t>Reduce</a:t>
            </a:r>
            <a:endParaRPr lang="en-US" sz="2000" dirty="0">
              <a:solidFill>
                <a:srgbClr val="7F7E7E"/>
              </a:solidFill>
              <a:latin typeface="Helvetica Neue Medium"/>
              <a:ea typeface="MS PGothic" charset="0"/>
              <a:cs typeface="Helvetica Neue Medium"/>
            </a:endParaRPr>
          </a:p>
          <a:p>
            <a:pPr lvl="0"/>
            <a:r>
              <a:rPr lang="en-US" dirty="0" smtClean="0">
                <a:solidFill>
                  <a:srgbClr val="7F7E7E"/>
                </a:solidFill>
                <a:latin typeface="Helvetica Neue Medium"/>
                <a:ea typeface="MS PGothic" charset="0"/>
                <a:cs typeface="Helvetica Neue Medium"/>
              </a:rPr>
              <a:t>operational</a:t>
            </a:r>
            <a:br>
              <a:rPr lang="en-US" dirty="0" smtClean="0">
                <a:solidFill>
                  <a:srgbClr val="7F7E7E"/>
                </a:solidFill>
                <a:latin typeface="Helvetica Neue Medium"/>
                <a:ea typeface="MS PGothic" charset="0"/>
                <a:cs typeface="Helvetica Neue Medium"/>
              </a:rPr>
            </a:br>
            <a:r>
              <a:rPr lang="en-US" dirty="0" smtClean="0">
                <a:solidFill>
                  <a:srgbClr val="7F7E7E"/>
                </a:solidFill>
                <a:latin typeface="Helvetica Neue Medium"/>
                <a:ea typeface="MS PGothic" charset="0"/>
                <a:cs typeface="Helvetica Neue Medium"/>
              </a:rPr>
              <a:t>costs</a:t>
            </a:r>
            <a:endParaRPr lang="en-US" dirty="0">
              <a:solidFill>
                <a:srgbClr val="7F7E7E"/>
              </a:solidFill>
              <a:latin typeface="Helvetica Neue Medium"/>
              <a:ea typeface="MS PGothic" charset="0"/>
              <a:cs typeface="Helvetica Neue Medium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765820" y="3891919"/>
            <a:ext cx="3697288" cy="868460"/>
            <a:chOff x="667180" y="5052745"/>
            <a:chExt cx="3697288" cy="1157947"/>
          </a:xfrm>
        </p:grpSpPr>
        <p:grpSp>
          <p:nvGrpSpPr>
            <p:cNvPr id="6" name="Group 53"/>
            <p:cNvGrpSpPr>
              <a:grpSpLocks/>
            </p:cNvGrpSpPr>
            <p:nvPr/>
          </p:nvGrpSpPr>
          <p:grpSpPr bwMode="auto">
            <a:xfrm>
              <a:off x="667180" y="5626492"/>
              <a:ext cx="585788" cy="584200"/>
              <a:chOff x="1955800" y="4495800"/>
              <a:chExt cx="499872" cy="499872"/>
            </a:xfrm>
          </p:grpSpPr>
          <p:sp>
            <p:nvSpPr>
              <p:cNvPr id="35" name="Oval 34"/>
              <p:cNvSpPr>
                <a:spLocks noChangeAspect="1"/>
              </p:cNvSpPr>
              <p:nvPr/>
            </p:nvSpPr>
            <p:spPr>
              <a:xfrm>
                <a:off x="1955800" y="4495800"/>
                <a:ext cx="499872" cy="499872"/>
              </a:xfrm>
              <a:prstGeom prst="ellipse">
                <a:avLst/>
              </a:prstGeom>
              <a:solidFill>
                <a:srgbClr val="007670"/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glow" dir="tl">
                  <a:rot lat="0" lon="0" rev="19800000"/>
                </a:lightRig>
              </a:scene3d>
              <a:sp3d prstMaterial="metal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>
                  <a:latin typeface="Helvetica Neue Medium"/>
                  <a:cs typeface="Helvetica Neue Medium"/>
                </a:endParaRPr>
              </a:p>
            </p:txBody>
          </p:sp>
          <p:pic>
            <p:nvPicPr>
              <p:cNvPr id="36" name="Picture 56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2070679" y="4562633"/>
                <a:ext cx="270115" cy="3662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7" name="Group 53"/>
            <p:cNvGrpSpPr>
              <a:grpSpLocks/>
            </p:cNvGrpSpPr>
            <p:nvPr/>
          </p:nvGrpSpPr>
          <p:grpSpPr bwMode="auto">
            <a:xfrm>
              <a:off x="1704346" y="5626492"/>
              <a:ext cx="585788" cy="584200"/>
              <a:chOff x="1955800" y="4495800"/>
              <a:chExt cx="499872" cy="499872"/>
            </a:xfrm>
          </p:grpSpPr>
          <p:sp>
            <p:nvSpPr>
              <p:cNvPr id="38" name="Oval 37"/>
              <p:cNvSpPr>
                <a:spLocks noChangeAspect="1"/>
              </p:cNvSpPr>
              <p:nvPr/>
            </p:nvSpPr>
            <p:spPr>
              <a:xfrm>
                <a:off x="1955800" y="4495800"/>
                <a:ext cx="499872" cy="499872"/>
              </a:xfrm>
              <a:prstGeom prst="ellipse">
                <a:avLst/>
              </a:prstGeom>
              <a:solidFill>
                <a:srgbClr val="007670"/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glow" dir="tl">
                  <a:rot lat="0" lon="0" rev="19800000"/>
                </a:lightRig>
              </a:scene3d>
              <a:sp3d prstMaterial="metal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>
                  <a:latin typeface="Helvetica Neue Medium"/>
                  <a:cs typeface="Helvetica Neue Medium"/>
                </a:endParaRPr>
              </a:p>
            </p:txBody>
          </p:sp>
          <p:pic>
            <p:nvPicPr>
              <p:cNvPr id="39" name="Picture 56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2090955" y="4562633"/>
                <a:ext cx="229563" cy="3662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0" name="Group 53"/>
            <p:cNvGrpSpPr>
              <a:grpSpLocks/>
            </p:cNvGrpSpPr>
            <p:nvPr/>
          </p:nvGrpSpPr>
          <p:grpSpPr bwMode="auto">
            <a:xfrm>
              <a:off x="2741512" y="5626492"/>
              <a:ext cx="585788" cy="584200"/>
              <a:chOff x="1955800" y="4495800"/>
              <a:chExt cx="499872" cy="499872"/>
            </a:xfrm>
          </p:grpSpPr>
          <p:sp>
            <p:nvSpPr>
              <p:cNvPr id="41" name="Oval 40"/>
              <p:cNvSpPr>
                <a:spLocks noChangeAspect="1"/>
              </p:cNvSpPr>
              <p:nvPr/>
            </p:nvSpPr>
            <p:spPr>
              <a:xfrm>
                <a:off x="1955800" y="4495800"/>
                <a:ext cx="499872" cy="499872"/>
              </a:xfrm>
              <a:prstGeom prst="ellipse">
                <a:avLst/>
              </a:prstGeom>
              <a:solidFill>
                <a:srgbClr val="007670"/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glow" dir="tl">
                  <a:rot lat="0" lon="0" rev="19800000"/>
                </a:lightRig>
              </a:scene3d>
              <a:sp3d prstMaterial="metal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>
                  <a:latin typeface="Helvetica Neue Medium"/>
                  <a:cs typeface="Helvetica Neue Medium"/>
                </a:endParaRPr>
              </a:p>
            </p:txBody>
          </p:sp>
          <p:pic>
            <p:nvPicPr>
              <p:cNvPr id="42" name="Picture 56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2038755" y="4559099"/>
                <a:ext cx="333964" cy="3304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1" name="Group 53"/>
            <p:cNvGrpSpPr>
              <a:grpSpLocks/>
            </p:cNvGrpSpPr>
            <p:nvPr/>
          </p:nvGrpSpPr>
          <p:grpSpPr bwMode="auto">
            <a:xfrm>
              <a:off x="3778680" y="5626492"/>
              <a:ext cx="585788" cy="584200"/>
              <a:chOff x="1955800" y="4495800"/>
              <a:chExt cx="499872" cy="499872"/>
            </a:xfrm>
          </p:grpSpPr>
          <p:sp>
            <p:nvSpPr>
              <p:cNvPr id="44" name="Oval 43"/>
              <p:cNvSpPr>
                <a:spLocks noChangeAspect="1"/>
              </p:cNvSpPr>
              <p:nvPr/>
            </p:nvSpPr>
            <p:spPr>
              <a:xfrm>
                <a:off x="1955800" y="4495800"/>
                <a:ext cx="499872" cy="499872"/>
              </a:xfrm>
              <a:prstGeom prst="ellipse">
                <a:avLst/>
              </a:prstGeom>
              <a:solidFill>
                <a:srgbClr val="007670"/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glow" dir="tl">
                  <a:rot lat="0" lon="0" rev="19800000"/>
                </a:lightRig>
              </a:scene3d>
              <a:sp3d prstMaterial="metal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>
                  <a:latin typeface="Helvetica Neue Medium"/>
                  <a:cs typeface="Helvetica Neue Medium"/>
                </a:endParaRPr>
              </a:p>
            </p:txBody>
          </p:sp>
          <p:pic>
            <p:nvPicPr>
              <p:cNvPr id="45" name="Picture 56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2053380" y="4593236"/>
                <a:ext cx="304711" cy="3050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2" name="Group 53"/>
            <p:cNvGrpSpPr>
              <a:grpSpLocks/>
            </p:cNvGrpSpPr>
            <p:nvPr/>
          </p:nvGrpSpPr>
          <p:grpSpPr bwMode="auto">
            <a:xfrm>
              <a:off x="1185763" y="5052745"/>
              <a:ext cx="585788" cy="584200"/>
              <a:chOff x="1955800" y="4495800"/>
              <a:chExt cx="499872" cy="499872"/>
            </a:xfrm>
          </p:grpSpPr>
          <p:sp>
            <p:nvSpPr>
              <p:cNvPr id="47" name="Oval 46"/>
              <p:cNvSpPr>
                <a:spLocks noChangeAspect="1"/>
              </p:cNvSpPr>
              <p:nvPr/>
            </p:nvSpPr>
            <p:spPr>
              <a:xfrm>
                <a:off x="1955800" y="4495800"/>
                <a:ext cx="499872" cy="499872"/>
              </a:xfrm>
              <a:prstGeom prst="ellipse">
                <a:avLst/>
              </a:prstGeom>
              <a:solidFill>
                <a:srgbClr val="007670"/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glow" dir="tl">
                  <a:rot lat="0" lon="0" rev="19800000"/>
                </a:lightRig>
              </a:scene3d>
              <a:sp3d prstMaterial="metal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>
                  <a:latin typeface="Helvetica Neue Medium"/>
                  <a:cs typeface="Helvetica Neue Medium"/>
                </a:endParaRPr>
              </a:p>
            </p:txBody>
          </p:sp>
          <p:pic>
            <p:nvPicPr>
              <p:cNvPr id="48" name="Picture 56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2022633" y="4582165"/>
                <a:ext cx="366207" cy="3271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3" name="Group 53"/>
            <p:cNvGrpSpPr>
              <a:grpSpLocks/>
            </p:cNvGrpSpPr>
            <p:nvPr/>
          </p:nvGrpSpPr>
          <p:grpSpPr bwMode="auto">
            <a:xfrm>
              <a:off x="2222929" y="5052745"/>
              <a:ext cx="585788" cy="584200"/>
              <a:chOff x="1955800" y="4495800"/>
              <a:chExt cx="499872" cy="499872"/>
            </a:xfrm>
          </p:grpSpPr>
          <p:sp>
            <p:nvSpPr>
              <p:cNvPr id="50" name="Oval 49"/>
              <p:cNvSpPr>
                <a:spLocks noChangeAspect="1"/>
              </p:cNvSpPr>
              <p:nvPr/>
            </p:nvSpPr>
            <p:spPr>
              <a:xfrm>
                <a:off x="1955800" y="4495800"/>
                <a:ext cx="499872" cy="499872"/>
              </a:xfrm>
              <a:prstGeom prst="ellipse">
                <a:avLst/>
              </a:prstGeom>
              <a:solidFill>
                <a:srgbClr val="007670"/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glow" dir="tl">
                  <a:rot lat="0" lon="0" rev="19800000"/>
                </a:lightRig>
              </a:scene3d>
              <a:sp3d prstMaterial="metal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>
                  <a:latin typeface="Helvetica Neue Medium"/>
                  <a:cs typeface="Helvetica Neue Medium"/>
                </a:endParaRPr>
              </a:p>
            </p:txBody>
          </p:sp>
          <p:pic>
            <p:nvPicPr>
              <p:cNvPr id="51" name="Picture 56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2022633" y="4603542"/>
                <a:ext cx="366207" cy="2843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4" name="Group 53"/>
            <p:cNvGrpSpPr>
              <a:grpSpLocks/>
            </p:cNvGrpSpPr>
            <p:nvPr/>
          </p:nvGrpSpPr>
          <p:grpSpPr bwMode="auto">
            <a:xfrm>
              <a:off x="3260095" y="5052745"/>
              <a:ext cx="585788" cy="584200"/>
              <a:chOff x="1955800" y="4495800"/>
              <a:chExt cx="499872" cy="499872"/>
            </a:xfrm>
          </p:grpSpPr>
          <p:sp>
            <p:nvSpPr>
              <p:cNvPr id="53" name="Oval 52"/>
              <p:cNvSpPr>
                <a:spLocks noChangeAspect="1"/>
              </p:cNvSpPr>
              <p:nvPr/>
            </p:nvSpPr>
            <p:spPr>
              <a:xfrm>
                <a:off x="1955800" y="4495800"/>
                <a:ext cx="499872" cy="499872"/>
              </a:xfrm>
              <a:prstGeom prst="ellipse">
                <a:avLst/>
              </a:prstGeom>
              <a:solidFill>
                <a:srgbClr val="007670"/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glow" dir="tl">
                  <a:rot lat="0" lon="0" rev="19800000"/>
                </a:lightRig>
              </a:scene3d>
              <a:sp3d prstMaterial="metal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>
                  <a:latin typeface="Helvetica Neue Medium"/>
                  <a:cs typeface="Helvetica Neue Medium"/>
                </a:endParaRPr>
              </a:p>
            </p:txBody>
          </p:sp>
          <p:pic>
            <p:nvPicPr>
              <p:cNvPr id="54" name="Picture 56"/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2056701" y="4562633"/>
                <a:ext cx="298072" cy="3662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684066344"/>
      </p:ext>
    </p:extLst>
  </p:cSld>
  <p:clrMapOvr>
    <a:masterClrMapping/>
  </p:clrMapOvr>
  <p:transition xmlns:p14="http://schemas.microsoft.com/office/powerpoint/2010/main" spd="med"/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ound Single Corner Rectangle 57"/>
          <p:cNvSpPr/>
          <p:nvPr/>
        </p:nvSpPr>
        <p:spPr>
          <a:xfrm flipH="1">
            <a:off x="3211514" y="3875485"/>
            <a:ext cx="5946775" cy="840581"/>
          </a:xfrm>
          <a:prstGeom prst="round1Rect">
            <a:avLst>
              <a:gd name="adj" fmla="val 0"/>
            </a:avLst>
          </a:prstGeom>
          <a:solidFill>
            <a:srgbClr val="7F7F7F">
              <a:alpha val="45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rgbClr val="FFFFFF"/>
              </a:solidFill>
              <a:latin typeface="Helvetica Neue Medium"/>
              <a:ea typeface="ＭＳ Ｐゴシック"/>
              <a:cs typeface="Helvetica Neue Medium"/>
            </a:endParaRPr>
          </a:p>
        </p:txBody>
      </p:sp>
      <p:pic>
        <p:nvPicPr>
          <p:cNvPr id="61442" name="Picture 2" descr="stripes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9614" y="3864769"/>
            <a:ext cx="5870575" cy="841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Round Single Corner Rectangle 60"/>
          <p:cNvSpPr/>
          <p:nvPr/>
        </p:nvSpPr>
        <p:spPr>
          <a:xfrm flipH="1">
            <a:off x="769938" y="3880248"/>
            <a:ext cx="2513012" cy="835819"/>
          </a:xfrm>
          <a:prstGeom prst="round1Rect">
            <a:avLst>
              <a:gd name="adj" fmla="val 542"/>
            </a:avLst>
          </a:prstGeom>
          <a:solidFill>
            <a:srgbClr val="FFFFFF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rgbClr val="FFFFFF"/>
              </a:solidFill>
              <a:latin typeface="Helvetica Neue Medium"/>
              <a:ea typeface="ＭＳ Ｐゴシック"/>
              <a:cs typeface="Helvetica Neue Medium"/>
            </a:endParaRPr>
          </a:p>
        </p:txBody>
      </p:sp>
      <p:cxnSp>
        <p:nvCxnSpPr>
          <p:cNvPr id="34" name="Straight Connector 33"/>
          <p:cNvCxnSpPr/>
          <p:nvPr/>
        </p:nvCxnSpPr>
        <p:spPr>
          <a:xfrm flipV="1">
            <a:off x="5410200" y="3042046"/>
            <a:ext cx="1174750" cy="26194"/>
          </a:xfrm>
          <a:prstGeom prst="line">
            <a:avLst/>
          </a:prstGeom>
          <a:ln w="38100" cap="rnd" cmpd="sng">
            <a:solidFill>
              <a:srgbClr val="7F7E7E"/>
            </a:solidFill>
            <a:prstDash val="dash"/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 flipV="1">
            <a:off x="5410201" y="2313384"/>
            <a:ext cx="2390775" cy="32147"/>
          </a:xfrm>
          <a:prstGeom prst="line">
            <a:avLst/>
          </a:prstGeom>
          <a:ln w="38100" cap="rnd" cmpd="sng">
            <a:solidFill>
              <a:srgbClr val="7F7E7E"/>
            </a:solidFill>
            <a:prstDash val="dash"/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 flipV="1">
            <a:off x="5410200" y="1563289"/>
            <a:ext cx="1390650" cy="9525"/>
          </a:xfrm>
          <a:prstGeom prst="line">
            <a:avLst/>
          </a:prstGeom>
          <a:ln w="38100" cap="rnd" cmpd="sng">
            <a:solidFill>
              <a:srgbClr val="7F7E7E"/>
            </a:solidFill>
            <a:prstDash val="dash"/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1447" name="Picture 2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87" r="16980" b="5251"/>
          <a:stretch/>
        </p:blipFill>
        <p:spPr bwMode="auto">
          <a:xfrm rot="5400000" flipV="1">
            <a:off x="6080720" y="753468"/>
            <a:ext cx="3208736" cy="2578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48" name="Rectangle 3"/>
          <p:cNvSpPr>
            <a:spLocks/>
          </p:cNvSpPr>
          <p:nvPr/>
        </p:nvSpPr>
        <p:spPr bwMode="auto">
          <a:xfrm>
            <a:off x="643677" y="1145722"/>
            <a:ext cx="4772025" cy="2645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38125" indent="-238125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4572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171450" indent="-171450" eaLnBrk="1" hangingPunct="1">
              <a:lnSpc>
                <a:spcPct val="110000"/>
              </a:lnSpc>
              <a:spcBef>
                <a:spcPts val="1075"/>
              </a:spcBef>
              <a:spcAft>
                <a:spcPct val="200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Helvetica Neue Medium"/>
                <a:cs typeface="Helvetica Neue Medium"/>
              </a:rPr>
              <a:t>Monitor</a:t>
            </a:r>
            <a:r>
              <a:rPr lang="en-US" sz="1600" dirty="0">
                <a:latin typeface="Helvetica Neue Medium"/>
                <a:cs typeface="Helvetica Neue Medium"/>
              </a:rPr>
              <a:t>, maintain and optimize assets for better availability, utilization and performance </a:t>
            </a:r>
          </a:p>
          <a:p>
            <a:pPr marL="171450" indent="-171450" eaLnBrk="1" hangingPunct="1">
              <a:lnSpc>
                <a:spcPct val="110000"/>
              </a:lnSpc>
              <a:spcBef>
                <a:spcPts val="1075"/>
              </a:spcBef>
              <a:spcAft>
                <a:spcPct val="200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Helvetica Neue Medium"/>
                <a:cs typeface="Helvetica Neue Medium"/>
              </a:rPr>
              <a:t>Predict </a:t>
            </a:r>
            <a:r>
              <a:rPr lang="en-US" sz="1600" dirty="0">
                <a:latin typeface="Helvetica Neue Medium"/>
                <a:cs typeface="Helvetica Neue Medium"/>
              </a:rPr>
              <a:t>asset </a:t>
            </a:r>
            <a:r>
              <a:rPr lang="en-US" sz="1600" dirty="0" smtClean="0">
                <a:latin typeface="Helvetica Neue Medium"/>
                <a:cs typeface="Helvetica Neue Medium"/>
              </a:rPr>
              <a:t>failure and identify poor quality parts earlier to better optimize operations and </a:t>
            </a:r>
            <a:r>
              <a:rPr lang="en-US" sz="1600" dirty="0">
                <a:latin typeface="Helvetica Neue Medium"/>
                <a:cs typeface="Helvetica Neue Medium"/>
              </a:rPr>
              <a:t>supply chain processes</a:t>
            </a:r>
          </a:p>
          <a:p>
            <a:pPr marL="171450" indent="-171450" eaLnBrk="1" hangingPunct="1">
              <a:lnSpc>
                <a:spcPct val="110000"/>
              </a:lnSpc>
              <a:spcBef>
                <a:spcPts val="1075"/>
              </a:spcBef>
              <a:spcAft>
                <a:spcPct val="200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Helvetica Neue Medium"/>
                <a:cs typeface="Helvetica Neue Medium"/>
              </a:rPr>
              <a:t>Reduce guesswork and incorporate experiential knowledge during the </a:t>
            </a:r>
            <a:r>
              <a:rPr lang="en-US" sz="1600" dirty="0">
                <a:latin typeface="Helvetica Neue Medium"/>
                <a:cs typeface="Helvetica Neue Medium"/>
              </a:rPr>
              <a:t/>
            </a:r>
            <a:br>
              <a:rPr lang="en-US" sz="1600" dirty="0">
                <a:latin typeface="Helvetica Neue Medium"/>
                <a:cs typeface="Helvetica Neue Medium"/>
              </a:rPr>
            </a:br>
            <a:r>
              <a:rPr lang="en-US" sz="1600" dirty="0">
                <a:latin typeface="Helvetica Neue Medium"/>
                <a:cs typeface="Helvetica Neue Medium"/>
              </a:rPr>
              <a:t>decision-making process</a:t>
            </a:r>
          </a:p>
        </p:txBody>
      </p:sp>
      <p:sp>
        <p:nvSpPr>
          <p:cNvPr id="39945" name="Rectangle 2"/>
          <p:cNvSpPr>
            <a:spLocks noChangeArrowheads="1"/>
          </p:cNvSpPr>
          <p:nvPr/>
        </p:nvSpPr>
        <p:spPr bwMode="auto">
          <a:xfrm>
            <a:off x="304800" y="290484"/>
            <a:ext cx="8961437" cy="403466"/>
          </a:xfrm>
          <a:prstGeom prst="rect">
            <a:avLst/>
          </a:prstGeom>
          <a:noFill/>
          <a:ln>
            <a:noFill/>
          </a:ln>
        </p:spPr>
        <p:txBody>
          <a:bodyPr vert="horz" wrap="square" lIns="64283" tIns="32142" rIns="64283" bIns="32142" numCol="1" anchor="t" anchorCtr="0" compatLnSpc="1">
            <a:prstTxWarp prst="textNoShape">
              <a:avLst/>
            </a:prstTxWarp>
            <a:spAutoFit/>
          </a:bodyPr>
          <a:lstStyle/>
          <a:p>
            <a:pPr defTabSz="3190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spc="-50" dirty="0">
                <a:solidFill>
                  <a:srgbClr val="339C96"/>
                </a:solidFill>
                <a:latin typeface="HelvNeue for IBM Medium"/>
                <a:ea typeface="MS PGothic" pitchFamily="34" charset="-128"/>
                <a:cs typeface="HelvNeue for IBM Light"/>
              </a:rPr>
              <a:t>IBM </a:t>
            </a:r>
            <a:r>
              <a:rPr lang="en-US" sz="2400" spc="-50" dirty="0" smtClean="0">
                <a:solidFill>
                  <a:srgbClr val="339C96"/>
                </a:solidFill>
                <a:latin typeface="HelvNeue for IBM Medium"/>
                <a:ea typeface="MS PGothic" pitchFamily="34" charset="-128"/>
                <a:cs typeface="HelvNeue for IBM Light"/>
              </a:rPr>
              <a:t>PMQ enables </a:t>
            </a:r>
            <a:r>
              <a:rPr lang="en-US" sz="2400" spc="-50" dirty="0">
                <a:solidFill>
                  <a:srgbClr val="339C96"/>
                </a:solidFill>
                <a:latin typeface="HelvNeue for IBM Medium"/>
                <a:ea typeface="MS PGothic" pitchFamily="34" charset="-128"/>
                <a:cs typeface="HelvNeue for IBM Light"/>
              </a:rPr>
              <a:t>better business outcomes</a:t>
            </a:r>
          </a:p>
        </p:txBody>
      </p:sp>
      <p:sp>
        <p:nvSpPr>
          <p:cNvPr id="146499" name="Text Box 67"/>
          <p:cNvSpPr txBox="1">
            <a:spLocks noChangeArrowheads="1"/>
          </p:cNvSpPr>
          <p:nvPr/>
        </p:nvSpPr>
        <p:spPr bwMode="auto">
          <a:xfrm>
            <a:off x="3402014" y="4004072"/>
            <a:ext cx="4960937" cy="64633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006B8F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  <a:defRPr/>
            </a:pPr>
            <a:r>
              <a:rPr lang="en-US" dirty="0" smtClean="0">
                <a:solidFill>
                  <a:srgbClr val="000000"/>
                </a:solidFill>
                <a:latin typeface="Helvetica Neue Medium"/>
                <a:cs typeface="Helvetica Neue Medium"/>
              </a:rPr>
              <a:t>Includes foundational models</a:t>
            </a:r>
            <a:r>
              <a:rPr lang="en-US" dirty="0">
                <a:solidFill>
                  <a:srgbClr val="000000"/>
                </a:solidFill>
                <a:latin typeface="Helvetica Neue Medium"/>
                <a:cs typeface="Helvetica Neue Medium"/>
              </a:rPr>
              <a:t>, </a:t>
            </a:r>
            <a:br>
              <a:rPr lang="en-US" dirty="0">
                <a:solidFill>
                  <a:srgbClr val="000000"/>
                </a:solidFill>
                <a:latin typeface="Helvetica Neue Medium"/>
                <a:cs typeface="Helvetica Neue Medium"/>
              </a:rPr>
            </a:br>
            <a:r>
              <a:rPr lang="en-US" dirty="0">
                <a:solidFill>
                  <a:srgbClr val="000000"/>
                </a:solidFill>
                <a:latin typeface="Helvetica Neue Medium"/>
                <a:cs typeface="Helvetica Neue Medium"/>
              </a:rPr>
              <a:t>dashboards, reports and source connectors </a:t>
            </a:r>
          </a:p>
        </p:txBody>
      </p:sp>
      <p:grpSp>
        <p:nvGrpSpPr>
          <p:cNvPr id="61451" name="Group 43"/>
          <p:cNvGrpSpPr>
            <a:grpSpLocks/>
          </p:cNvGrpSpPr>
          <p:nvPr/>
        </p:nvGrpSpPr>
        <p:grpSpPr bwMode="auto">
          <a:xfrm>
            <a:off x="2525713" y="4075510"/>
            <a:ext cx="584200" cy="438150"/>
            <a:chOff x="1977163" y="4410458"/>
            <a:chExt cx="499872" cy="499872"/>
          </a:xfrm>
        </p:grpSpPr>
        <p:sp>
          <p:nvSpPr>
            <p:cNvPr id="46" name="Oval 45"/>
            <p:cNvSpPr>
              <a:spLocks noChangeAspect="1"/>
            </p:cNvSpPr>
            <p:nvPr/>
          </p:nvSpPr>
          <p:spPr>
            <a:xfrm>
              <a:off x="1977163" y="4410458"/>
              <a:ext cx="499872" cy="49987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glow" dir="tl">
                <a:rot lat="0" lon="0" rev="1980000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chemeClr val="accent1"/>
                </a:solidFill>
                <a:latin typeface="Helvetica Neue Medium"/>
                <a:cs typeface="Helvetica Neue Medium"/>
              </a:endParaRPr>
            </a:p>
          </p:txBody>
        </p:sp>
        <p:pic>
          <p:nvPicPr>
            <p:cNvPr id="61466" name="Picture 46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5266" y="4466519"/>
              <a:ext cx="353126" cy="3913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1452" name="Group 48"/>
          <p:cNvGrpSpPr>
            <a:grpSpLocks/>
          </p:cNvGrpSpPr>
          <p:nvPr/>
        </p:nvGrpSpPr>
        <p:grpSpPr bwMode="auto">
          <a:xfrm>
            <a:off x="936625" y="4075510"/>
            <a:ext cx="584200" cy="438150"/>
            <a:chOff x="1524000" y="2133600"/>
            <a:chExt cx="499872" cy="499872"/>
          </a:xfrm>
        </p:grpSpPr>
        <p:sp>
          <p:nvSpPr>
            <p:cNvPr id="51" name="Oval 50"/>
            <p:cNvSpPr>
              <a:spLocks noChangeAspect="1"/>
            </p:cNvSpPr>
            <p:nvPr/>
          </p:nvSpPr>
          <p:spPr>
            <a:xfrm>
              <a:off x="1524000" y="2133600"/>
              <a:ext cx="499872" cy="499872"/>
            </a:xfrm>
            <a:prstGeom prst="ellipse">
              <a:avLst/>
            </a:prstGeom>
            <a:solidFill>
              <a:srgbClr val="FEBE32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glow" dir="tl">
                <a:rot lat="0" lon="0" rev="1980000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latin typeface="Helvetica Neue Medium"/>
                <a:cs typeface="Helvetica Neue Medium"/>
              </a:endParaRPr>
            </a:p>
          </p:txBody>
        </p:sp>
        <p:pic>
          <p:nvPicPr>
            <p:cNvPr id="61462" name="Picture 5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3006" y="2227406"/>
              <a:ext cx="444560" cy="3567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1453" name="Group 53"/>
          <p:cNvGrpSpPr>
            <a:grpSpLocks/>
          </p:cNvGrpSpPr>
          <p:nvPr/>
        </p:nvGrpSpPr>
        <p:grpSpPr bwMode="auto">
          <a:xfrm>
            <a:off x="1730375" y="4071938"/>
            <a:ext cx="585788" cy="438150"/>
            <a:chOff x="1955800" y="4495800"/>
            <a:chExt cx="499872" cy="499872"/>
          </a:xfrm>
        </p:grpSpPr>
        <p:sp>
          <p:nvSpPr>
            <p:cNvPr id="56" name="Oval 55"/>
            <p:cNvSpPr>
              <a:spLocks noChangeAspect="1"/>
            </p:cNvSpPr>
            <p:nvPr/>
          </p:nvSpPr>
          <p:spPr>
            <a:xfrm>
              <a:off x="1955800" y="4495800"/>
              <a:ext cx="499872" cy="499872"/>
            </a:xfrm>
            <a:prstGeom prst="ellipse">
              <a:avLst/>
            </a:prstGeom>
            <a:solidFill>
              <a:srgbClr val="DD731C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glow" dir="tl">
                <a:rot lat="0" lon="0" rev="1980000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latin typeface="Helvetica Neue Medium"/>
                <a:cs typeface="Helvetica Neue Medium"/>
              </a:endParaRPr>
            </a:p>
          </p:txBody>
        </p:sp>
        <p:pic>
          <p:nvPicPr>
            <p:cNvPr id="61458" name="Picture 5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22633" y="4562633"/>
              <a:ext cx="366207" cy="3662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61454" name="Straight Connector 64"/>
          <p:cNvCxnSpPr>
            <a:cxnSpLocks noChangeShapeType="1"/>
          </p:cNvCxnSpPr>
          <p:nvPr/>
        </p:nvCxnSpPr>
        <p:spPr bwMode="auto">
          <a:xfrm flipV="1">
            <a:off x="3290888" y="3871913"/>
            <a:ext cx="0" cy="841772"/>
          </a:xfrm>
          <a:prstGeom prst="line">
            <a:avLst/>
          </a:prstGeom>
          <a:noFill/>
          <a:ln w="190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4142865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8" descr="Square copy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2439" y="2871788"/>
            <a:ext cx="8302625" cy="1953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31" name="AutoShape 120"/>
          <p:cNvSpPr>
            <a:spLocks noChangeArrowheads="1"/>
          </p:cNvSpPr>
          <p:nvPr/>
        </p:nvSpPr>
        <p:spPr bwMode="auto">
          <a:xfrm rot="10800000">
            <a:off x="236539" y="2396728"/>
            <a:ext cx="8535987" cy="327422"/>
          </a:xfrm>
          <a:prstGeom prst="triangle">
            <a:avLst>
              <a:gd name="adj" fmla="val 49704"/>
            </a:avLst>
          </a:prstGeom>
          <a:gradFill rotWithShape="1">
            <a:gsLst>
              <a:gs pos="0">
                <a:srgbClr val="336699"/>
              </a:gs>
              <a:gs pos="100000">
                <a:schemeClr val="bg1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9999"/>
            </a:prstShdw>
          </a:effectLst>
        </p:spPr>
        <p:txBody>
          <a:bodyPr rot="10800000" wrap="none" anchor="ctr"/>
          <a:lstStyle/>
          <a:p>
            <a:endParaRPr lang="en-US" dirty="0">
              <a:latin typeface="Helvetica Neue Medium"/>
              <a:cs typeface="Helvetica Neue Medium"/>
            </a:endParaRPr>
          </a:p>
        </p:txBody>
      </p:sp>
      <p:sp>
        <p:nvSpPr>
          <p:cNvPr id="22532" name="AutoShape 5" descr="data:image/jpeg;base64,/9j/4AAQSkZJRgABAQAAAQABAAD/2wCEAAkGBg0PEBQPDxAVDQ8PFQ8PFA8PDxUUDw8PFBQWFBQQFBUXHCYeFxkkGRUUHy8gJCcpLCw4FR4xNTAqNSYrLCkBCQoKDgwOGA8PGjUhHSAsLDUpLiwqLCwpKSkqLC0sKSkpNCw1KSkpLykpKSwpLCwsMSwpLCwsKS8sLCkpKTEpKf/AABEIAOAA4AMBIgACEQEDEQH/xAAcAAEBAAIDAQEAAAAAAAAAAAAAAQcIAgUGBAP/xABFEAACAQMBBAQKBQsCBwAAAAAAAQIDBBESBQchMQYTQVQWUWFxgZTR0uHwFCIyNLMXM0JEcnSRobGywZKTFUNSU2Jjc//EABoBAQACAwEAAAAAAAAAAAAAAAACAwEEBgX/xAAmEQEAAgIABgICAwEAAAAAAAAAAQIDEQQSEyExURQiQaEzwdGB/9oADAMBAAIRAxEAPwDOIAAAAAAAAAAAAAAAAAAAAAAAAAAAAAAAAAAAAAAAAAAAAAAAAAAAAAAAAAAAAAAAAAAAAAAAAAAAAARlIwNY/CPaHfLjs/Wq3vDwj2h3y49are8dd8AdPGOvpRt2PhHf98uPWq3vE8I9od8uPWq3vHXkHTr6HZeEe0O+XHrVb3ieEe0O+XHrVb3jrwOnX0Ox8I9od8uPWq3vDwj2h3y49are8dcB06+h2PhHtDvlx61W94eEe0O+XHrVb3jrgOnX0Ox8I9od8uPWq3vDwj2h3y49are8dcB06+h2PhHf98uPWq3vE8I9od8uPW63vHXgdOvodj4R7Q75cetVveJ4R7Q75cetVveOvA6dfQ7Hwj2h3y49are8Twj2h3y49are8deB06+h2PhHtDvlx61W94eEe0O+XHb+tVveOuHxE46+htaikRTmF4AAAAAEZSMDVJf4QJ7EU6mFACFMgAAIUAAAAAAAAAAAAIUAAAPYYkbWopEU5ZeAAAAABGUjA1RXz/IoXs/wDqVAADIgKQAUhQAAAAAAQpABSFAhSFAD2Ans/wAGJG1yKRFOWXgAAAAARlIwNUl7DnQp6pxjy1OMc+LLS/ycPgftZfnKf7dP+5HUz2hQyx+Q+373V/24e0x/026Nw2dd/RoVJVUqdOpqmkpZnq4YXmMmb5bmpTs6LpzlTbrpZp1JQbXVz4Zi0YYrXE5vVOcqksYzOcpyxx4Zk28Gjwk5Lxz2t29JW04EKZA3Y9AYXrd3dR1W9OWmFN8q1Rc3L/wXi7Tay5K4681kYjbxNlsm6r8aFCrXS5ulSlNL0pYJebNuKDxWo1KDfJVKcoN+bK4mxm0tv7P2fGMK9anbRx9Wnjjp5cIRWcejB+uztq2V9DXQqU7mEWnww9E1xWYvjF9q4I8/51vPJ2T5Wszi1zTXnTPotNmXFbPU0albHPq6cpY8+FwM0bx9iK8uNn2z+rGrWra2uapxgpSx5cLHpPR7S2hZ7KtOsceqt6OmEadKPHLeIxivG32k543611XvJytc3s64TcepqKUXhrqpZi+eGscGcYWNaSzGnOS48VTk1w5rgjZbYe2KF7Qjc0G3TqZ5rEk08NSXjWDy27vpPaTjKw1tXNOpdTcJJqM06029D/SaTTwYjjb6meXwcrCc7Cull0ppcFl05Jc8Ls8qL/w24/7NT/an7DPm8HaMaFk3KNSSlUt+NODko6asJ/WxyyotLxvC7T0NtcKcI1NMqaklLTUWmcU+OJLsZiePtqJ5f2cjV6ta1IcZwlBPgnODim/Sj8zI29XphZXsadC3nKpKhVm5S0tU2tOnMJfpcTHODfw3tenNaNIS9D0H6Lw2lcu3nUlSSpyqaoRTeYtLGH5z3ktyFuln6XV4f+uHtMS0LipTeqnOVN8tUJyhLHizFpmadztzUqWFZ1JyqNV6izUnKbS6unwTk28Grxc5Kfetu3pKNT2YUnHDa8RDlV+0/O/6nH4m9+EW1qKRFOWXgAAAAARlIwNUfgfvZfnIft0/7kfj8D9rL85D9un/AHI6mfChmDfZ9yofvEfw5mGTM2+37lQ/eI/hzMMmnwX8TNvIbG9CLeNLZtrGK4dTCbx2yktUn6WzXIzrun6QQuLGNBvFa0xSce3q/wDlz82OHoK+PiZpE+pZowxtzaVW5uKterJynOc+fYk2oxXiSSSx5D89n7VubaTnb1Z0JtaXKnLS3Hnh+NGR+mO6O4nXnXsHGUKspTdGctDpzk8y0t8HHOX41k+zoVuk6qTrbRUKrw1G3X1oJ/8AVJ8E34kv4k/lYYx/0cs7eD2X02vIXVC5uK1S6jbzctFSefqyWmeny4/ojOdG52ftW2cYyhdUKiWqGeMXzSkucJJ+ZnTV9gbEjd07KNnRlVnCpWktH2KccYb483J8F5GfB036EunQhV2RQVC5pVIybtnoqzpaZJxTys8XF47dJpZb48tq6+s/pKImHHau768tqLWyb6vRjFymrSVRaG3xahPGU35c5zzRh2ndVqNbrVKVOvTm5auU41U3lvPbnOfSbG9FXeuzpfTklc4evlnn9XVjhqxjODwthu4lc7UuLq5p6LNVZVacG0/pLf1k+D+xnLfjzjxk+H4jk54yd/7/ANJjfh7fortSpe2VKvXpdVOosuMl9WWHwqRT/RfNZPJb4Oktzb0oWtKMqcLlS111wTiudGLT4N9vk5dp6Lpp0gu7KjGVpbO4k5QTk8KlThqUdL45zJtRWOWc9mH9m09k0tpWfVXFKVLrYqWmaXW0KnY1h41J+J8fSatJit4yTH12zPprYDuekfRG82fJqvTxT1OEKyx1dXCzmPHK4djOmOgraLRuFQZo3LfcK37xU/DpmFzNG5b7hW/eKn4dM1ON/i/7CVfLDNX7T87/AKnA51ftPzv+px+JuR4RbWopEU5ZeAAAAABGUjA1S+B+1l+ch+3T/uR+PwP2svzkP26f9yOonwoZg32/cqH/AN4/hzMMmdN62w7q8taVO2pOvONZTcY4yo6JLPF+NowttTZNxa1OpuKbo1MKWiWM6ZZw+D8j/gafBWjp6337pWfIfZsjbFxZ1Y17ebp1I9q4qUXzjJdsfIfGDdmImNSiy1szffT0pXVrNTXOVvKLi349M2nH+LPx2zvuzFxs7Zwk1jrLhx+r5VCDafpl6DFYNX4WHe9M80vSdGemlS1vpX1dSu6k4zjLM1GTcscctPhwxg9tT35U9a1WclTxx01oyqKXkTSTXpRiUE78LjvO5gi0sndI988qtOVOyoyoSmmuurSjrgnweiMcpPy54eI5bK3y06FClQdpKbo06VLX16WrRBR1Y09uMmLwQ+Hi1rRzSyZtvfBTuaLoq0lDMqMtTrJr6lSFTGNPbpx6T7vy50+5S9YXuGJQPh4ta1+zml7Pp3vAjtSnTpxoOh1U5Ty6innMcY4RWDxgBfjx1x15aseQzRuW+4Vv3ip+HTMR7K2Pc3c+qt6brVMOWmOM6U8N8WjNO6zYt1Z2dWnc0nRnKtOajLGXFwgs8H40/wCBqcbaOnrffcJV8sGVeb87/qcficqv2n52cfib0eEW1qKRFOWXgAAAAARlIwNUvgcqVTTJSXHS08djw08fyOPwIdT+GuyN+W6+7tQ/1VPafDa7OvOkl5Ou1TtY04U4TmlKUIpatKSbzKTy+GUuGTxB7rdh03t9nyq0rnMaNdwmqkY6tFSK0/WS44ax/A08mGMVZtij7JxO/L4ume7u42bGNXrFcUJy0a4xcZQm+SlFt88c0/JwPo6Ibr7jaFH6RKqralJtQzBznUxwcsaliOe3t/mdvvM3g2l5QVpaN1U5xqTqaXGKUeUY5w22+3swfbu/3lWNCzha3cnQnQzGMtDlCpDLaeYrg+OMFc5M/Ridd9s6jbH3SnovX2dX6itiWUpwqRzpqQ5ZXannmuw6c9ZvH6W0to3MZUE+powdOMpLEpuUtUpY7FwWDyZuYptNIm/lCfIAC0AAAO56KdFrjaVfqaLUFFa51J50045xlpcW2+SOmPXbtul1LZ1xN10+prxjCU4rMqbg3KMsLmvrSz6CrNNopM08sw/bphuxuNnUfpEasbmknGM2oOE6bbwm1l5We3PDJ+PQzdzcbShKt1it6MW4KcoOcpyXNRimuC4cc+Q9VvC3k2Ne0na2knWnX0xlPQ1CnTym+MsZk8JcD5d2m8O0tLf6Jdt0tEpyhU0NwcZvLjLSuDznz5NKMmfo7133+ktRt1NazvOjV2qqjTuo1YThCo9UYSWU5JpPMZLhwy+fPxfa99t8/wBWof6qntPi3ndNaG0J0qdtmVGhrl1kotdZOS08E+OlJdvPPkPDl2PDGWsWyx3YmdeFk8vPjIB8Tc/CLa1FIinKrwAAAAAIykYGqXwA+AR1MKAEKZAEAFAAAiKF7AAAAEKQCkAAoAAAD4mJG1qKRFOWXgAAAAARlIwNUl7CFXsB1UKAhQAIABQQoAAAAAAAAAAgAoAAfEADa1FIinKrwAAAAAIykYGqXwBPYu0fPM6qJUKB88x88zGwA9P8x6f5jYAfPMGdgB88x88xsAPnmPnmNgQvzzHzzMbAD55j55jYAfPMfPMz2AfEfPMnx7RMja5FIinKrwAAAAAAAEwMFAEwMFAEwMFAEwMFAEwMFAEwMFAEwMFAEwMFAEwMFAEwMFAAAAAAAAAAAAAAAAAAAAAAAAAAAAAAAAAAAAAAAAAAAAf/2Q=="/>
          <p:cNvSpPr>
            <a:spLocks noChangeAspect="1" noChangeArrowheads="1"/>
          </p:cNvSpPr>
          <p:nvPr/>
        </p:nvSpPr>
        <p:spPr bwMode="auto">
          <a:xfrm>
            <a:off x="149225" y="-108347"/>
            <a:ext cx="304800" cy="228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2533" name="AutoShape 7" descr="data:image/jpeg;base64,/9j/4AAQSkZJRgABAQAAAQABAAD/2wCEAAkGBg0PEBQPDxAVDQ8PFQ8PFA8PDxUUDw8PFBQWFBQQFBUXHCYeFxkkGRUUHy8gJCcpLCw4FR4xNTAqNSYrLCkBCQoKDgwOGA8PGjUhHSAsLDUpLiwqLCwpKSkqLC0sKSkpNCw1KSkpLykpKSwpLCwsMSwpLCwsKS8sLCkpKTEpKf/AABEIAOAA4AMBIgACEQEDEQH/xAAcAAEBAAIDAQEAAAAAAAAAAAAAAQcIAgUGBAP/xABFEAACAQMBBAQKBQsCBwAAAAAAAQIDBBESBQchMQYTQVQWUWFxgZTR0uHwFCIyNLMXM0JEcnSRobGywZKTFUNSU2Jjc//EABoBAQACAwEAAAAAAAAAAAAAAAACAwEEBgX/xAAmEQEAAgIABgICAwEAAAAAAAAAAQIDEQQSEyExURQiQaEzwdGB/9oADAMBAAIRAxEAPwDOIAAAAAAAAAAAAAAAAAAAAAAAAAAAAAAAAAAAAAAAAAAAAAAAAAAAAAAAAAAAAAAAAAAAAAAAAAAAAARlIwNY/CPaHfLjs/Wq3vDwj2h3y49are8dd8AdPGOvpRt2PhHf98uPWq3vE8I9od8uPWq3vHXkHTr6HZeEe0O+XHrVb3ieEe0O+XHrVb3jrwOnX0Ox8I9od8uPWq3vDwj2h3y49are8dcB06+h2PhHtDvlx61W94eEe0O+XHrVb3jrgOnX0Ox8I9od8uPWq3vDwj2h3y49are8dcB06+h2PhHf98uPWq3vE8I9od8uPW63vHXgdOvodj4R7Q75cetVveJ4R7Q75cetVveOvA6dfQ7Hwj2h3y49are8Twj2h3y49are8deB06+h2PhHtDvlx61W94eEe0O+XHb+tVveOuHxE46+htaikRTmF4AAAAAEZSMDVJf4QJ7EU6mFACFMgAAIUAAAAAAAAAAAAIUAAAPYYkbWopEU5ZeAAAAABGUjA1RXz/IoXs/wDqVAADIgKQAUhQAAAAAAQpABSFAhSFAD2Ans/wAGJG1yKRFOWXgAAAAARlIwNUl7DnQp6pxjy1OMc+LLS/ycPgftZfnKf7dP+5HUz2hQyx+Q+373V/24e0x/026Nw2dd/RoVJVUqdOpqmkpZnq4YXmMmb5bmpTs6LpzlTbrpZp1JQbXVz4Zi0YYrXE5vVOcqksYzOcpyxx4Zk28Gjwk5Lxz2t29JW04EKZA3Y9AYXrd3dR1W9OWmFN8q1Rc3L/wXi7Tay5K4681kYjbxNlsm6r8aFCrXS5ulSlNL0pYJebNuKDxWo1KDfJVKcoN+bK4mxm0tv7P2fGMK9anbRx9Wnjjp5cIRWcejB+uztq2V9DXQqU7mEWnww9E1xWYvjF9q4I8/51vPJ2T5Wszi1zTXnTPotNmXFbPU0albHPq6cpY8+FwM0bx9iK8uNn2z+rGrWra2uapxgpSx5cLHpPR7S2hZ7KtOsceqt6OmEadKPHLeIxivG32k543611XvJytc3s64TcepqKUXhrqpZi+eGscGcYWNaSzGnOS48VTk1w5rgjZbYe2KF7Qjc0G3TqZ5rEk08NSXjWDy27vpPaTjKw1tXNOpdTcJJqM06029D/SaTTwYjjb6meXwcrCc7Cull0ppcFl05Jc8Ls8qL/w24/7NT/an7DPm8HaMaFk3KNSSlUt+NODko6asJ/WxyyotLxvC7T0NtcKcI1NMqaklLTUWmcU+OJLsZiePtqJ5f2cjV6ta1IcZwlBPgnODim/Sj8zI29XphZXsadC3nKpKhVm5S0tU2tOnMJfpcTHODfw3tenNaNIS9D0H6Lw2lcu3nUlSSpyqaoRTeYtLGH5z3ktyFuln6XV4f+uHtMS0LipTeqnOVN8tUJyhLHizFpmadztzUqWFZ1JyqNV6izUnKbS6unwTk28Grxc5Kfetu3pKNT2YUnHDa8RDlV+0/O/6nH4m9+EW1qKRFOWXgAAAAARlIwNUfgfvZfnIft0/7kfj8D9rL85D9un/AHI6mfChmDfZ9yofvEfw5mGTM2+37lQ/eI/hzMMmnwX8TNvIbG9CLeNLZtrGK4dTCbx2yktUn6WzXIzrun6QQuLGNBvFa0xSce3q/wDlz82OHoK+PiZpE+pZowxtzaVW5uKterJynOc+fYk2oxXiSSSx5D89n7VubaTnb1Z0JtaXKnLS3Hnh+NGR+mO6O4nXnXsHGUKspTdGctDpzk8y0t8HHOX41k+zoVuk6qTrbRUKrw1G3X1oJ/8AVJ8E34kv4k/lYYx/0cs7eD2X02vIXVC5uK1S6jbzctFSefqyWmeny4/ojOdG52ftW2cYyhdUKiWqGeMXzSkucJJ+ZnTV9gbEjd07KNnRlVnCpWktH2KccYb483J8F5GfB036EunQhV2RQVC5pVIybtnoqzpaZJxTys8XF47dJpZb48tq6+s/pKImHHau768tqLWyb6vRjFymrSVRaG3xahPGU35c5zzRh2ndVqNbrVKVOvTm5auU41U3lvPbnOfSbG9FXeuzpfTklc4evlnn9XVjhqxjODwthu4lc7UuLq5p6LNVZVacG0/pLf1k+D+xnLfjzjxk+H4jk54yd/7/ANJjfh7fortSpe2VKvXpdVOosuMl9WWHwqRT/RfNZPJb4Oktzb0oWtKMqcLlS111wTiudGLT4N9vk5dp6Lpp0gu7KjGVpbO4k5QTk8KlThqUdL45zJtRWOWc9mH9m09k0tpWfVXFKVLrYqWmaXW0KnY1h41J+J8fSatJit4yTH12zPprYDuekfRG82fJqvTxT1OEKyx1dXCzmPHK4djOmOgraLRuFQZo3LfcK37xU/DpmFzNG5b7hW/eKn4dM1ON/i/7CVfLDNX7T87/AKnA51ftPzv+px+JuR4RbWopEU5ZeAAAAABGUjA1S+B+1l+ch+3T/uR+PwP2svzkP26f9yOonwoZg32/cqH/AN4/hzMMmdN62w7q8taVO2pOvONZTcY4yo6JLPF+NowttTZNxa1OpuKbo1MKWiWM6ZZw+D8j/gafBWjp6337pWfIfZsjbFxZ1Y17ebp1I9q4qUXzjJdsfIfGDdmImNSiy1szffT0pXVrNTXOVvKLi349M2nH+LPx2zvuzFxs7Zwk1jrLhx+r5VCDafpl6DFYNX4WHe9M80vSdGemlS1vpX1dSu6k4zjLM1GTcscctPhwxg9tT35U9a1WclTxx01oyqKXkTSTXpRiUE78LjvO5gi0sndI988qtOVOyoyoSmmuurSjrgnweiMcpPy54eI5bK3y06FClQdpKbo06VLX16WrRBR1Y09uMmLwQ+Hi1rRzSyZtvfBTuaLoq0lDMqMtTrJr6lSFTGNPbpx6T7vy50+5S9YXuGJQPh4ta1+zml7Pp3vAjtSnTpxoOh1U5Ty6innMcY4RWDxgBfjx1x15aseQzRuW+4Vv3ip+HTMR7K2Pc3c+qt6brVMOWmOM6U8N8WjNO6zYt1Z2dWnc0nRnKtOajLGXFwgs8H40/wCBqcbaOnrffcJV8sGVeb87/qcficqv2n52cfib0eEW1qKRFOWXgAAAAARlIwNUvgcqVTTJSXHS08djw08fyOPwIdT+GuyN+W6+7tQ/1VPafDa7OvOkl5Ou1TtY04U4TmlKUIpatKSbzKTy+GUuGTxB7rdh03t9nyq0rnMaNdwmqkY6tFSK0/WS44ax/A08mGMVZtij7JxO/L4ume7u42bGNXrFcUJy0a4xcZQm+SlFt88c0/JwPo6Ibr7jaFH6RKqralJtQzBznUxwcsaliOe3t/mdvvM3g2l5QVpaN1U5xqTqaXGKUeUY5w22+3swfbu/3lWNCzha3cnQnQzGMtDlCpDLaeYrg+OMFc5M/Ridd9s6jbH3SnovX2dX6itiWUpwqRzpqQ5ZXannmuw6c9ZvH6W0to3MZUE+powdOMpLEpuUtUpY7FwWDyZuYptNIm/lCfIAC0AAAO56KdFrjaVfqaLUFFa51J50045xlpcW2+SOmPXbtul1LZ1xN10+prxjCU4rMqbg3KMsLmvrSz6CrNNopM08sw/bphuxuNnUfpEasbmknGM2oOE6bbwm1l5We3PDJ+PQzdzcbShKt1it6MW4KcoOcpyXNRimuC4cc+Q9VvC3k2Ne0na2knWnX0xlPQ1CnTym+MsZk8JcD5d2m8O0tLf6Jdt0tEpyhU0NwcZvLjLSuDznz5NKMmfo7133+ktRt1NazvOjV2qqjTuo1YThCo9UYSWU5JpPMZLhwy+fPxfa99t8/wBWof6qntPi3ndNaG0J0qdtmVGhrl1kotdZOS08E+OlJdvPPkPDl2PDGWsWyx3YmdeFk8vPjIB8Tc/CLa1FIinKrwAAAAAIykYGqXwA+AR1MKAEKZAEAFAAAiKF7AAAAEKQCkAAoAAAD4mJG1qKRFOWXgAAAAARlIwNUl7CFXsB1UKAhQAIABQQoAAAAAAAAAAgAoAAfEADa1FIinKrwAAAAAIykYGqXwBPYu0fPM6qJUKB88x88zGwA9P8x6f5jYAfPMGdgB88x88xsAPnmPnmNgQvzzHzzMbAD55j55jYAfPMfPMz2AfEfPMnx7RMja5FIinKrwAAAAAAAEwMFAEwMFAEwMFAEwMFAEwMFAEwMFAEwMFAEwMFAEwMFAEwMFAAAAAAAAAAAAAAAAAAAAAAAAAAAAAAAAAAAAAAAAAAAAf/2Q=="/>
          <p:cNvSpPr>
            <a:spLocks noChangeAspect="1" noChangeArrowheads="1"/>
          </p:cNvSpPr>
          <p:nvPr/>
        </p:nvSpPr>
        <p:spPr bwMode="auto">
          <a:xfrm>
            <a:off x="149225" y="-108347"/>
            <a:ext cx="304800" cy="228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2534" name="TextBox 20"/>
          <p:cNvSpPr txBox="1">
            <a:spLocks noChangeArrowheads="1"/>
          </p:cNvSpPr>
          <p:nvPr/>
        </p:nvSpPr>
        <p:spPr bwMode="auto">
          <a:xfrm>
            <a:off x="304800" y="1008460"/>
            <a:ext cx="27432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600" dirty="0">
                <a:latin typeface="Helvetica Neue Medium"/>
                <a:cs typeface="Helvetica Neue Medium"/>
              </a:rPr>
              <a:t>Predictive Maintenance</a:t>
            </a:r>
          </a:p>
        </p:txBody>
      </p:sp>
      <p:sp>
        <p:nvSpPr>
          <p:cNvPr id="22535" name="Line 28"/>
          <p:cNvSpPr>
            <a:spLocks noChangeShapeType="1"/>
          </p:cNvSpPr>
          <p:nvPr/>
        </p:nvSpPr>
        <p:spPr bwMode="auto">
          <a:xfrm>
            <a:off x="357189" y="951310"/>
            <a:ext cx="2592387" cy="0"/>
          </a:xfrm>
          <a:prstGeom prst="line">
            <a:avLst/>
          </a:prstGeom>
          <a:noFill/>
          <a:ln w="25400">
            <a:solidFill>
              <a:srgbClr val="F19027"/>
            </a:solidFill>
            <a:round/>
            <a:headEnd type="oval" w="med" len="med"/>
            <a:tailEnd type="oval" w="med" len="med"/>
          </a:ln>
        </p:spPr>
        <p:txBody>
          <a:bodyPr/>
          <a:lstStyle/>
          <a:p>
            <a:endParaRPr lang="en-US" dirty="0">
              <a:latin typeface="Helvetica Neue Medium"/>
              <a:cs typeface="Helvetica Neue Medium"/>
            </a:endParaRPr>
          </a:p>
        </p:txBody>
      </p:sp>
      <p:sp>
        <p:nvSpPr>
          <p:cNvPr id="22536" name="Line 29"/>
          <p:cNvSpPr>
            <a:spLocks noChangeShapeType="1"/>
          </p:cNvSpPr>
          <p:nvPr/>
        </p:nvSpPr>
        <p:spPr bwMode="auto">
          <a:xfrm>
            <a:off x="3195639" y="951310"/>
            <a:ext cx="2592387" cy="0"/>
          </a:xfrm>
          <a:prstGeom prst="line">
            <a:avLst/>
          </a:prstGeom>
          <a:noFill/>
          <a:ln w="25400">
            <a:solidFill>
              <a:srgbClr val="15AF4B"/>
            </a:solidFill>
            <a:round/>
            <a:headEnd type="oval" w="med" len="med"/>
            <a:tailEnd type="oval" w="med" len="med"/>
          </a:ln>
        </p:spPr>
        <p:txBody>
          <a:bodyPr/>
          <a:lstStyle/>
          <a:p>
            <a:endParaRPr lang="en-US" dirty="0">
              <a:latin typeface="Helvetica Neue Medium"/>
              <a:cs typeface="Helvetica Neue Medium"/>
            </a:endParaRPr>
          </a:p>
        </p:txBody>
      </p:sp>
      <p:sp>
        <p:nvSpPr>
          <p:cNvPr id="22537" name="Line 30"/>
          <p:cNvSpPr>
            <a:spLocks noChangeShapeType="1"/>
          </p:cNvSpPr>
          <p:nvPr/>
        </p:nvSpPr>
        <p:spPr bwMode="auto">
          <a:xfrm>
            <a:off x="6054725" y="951310"/>
            <a:ext cx="2592388" cy="0"/>
          </a:xfrm>
          <a:prstGeom prst="line">
            <a:avLst/>
          </a:prstGeom>
          <a:noFill/>
          <a:ln w="25400">
            <a:solidFill>
              <a:srgbClr val="00B2EF"/>
            </a:solidFill>
            <a:round/>
            <a:headEnd type="oval" w="med" len="med"/>
            <a:tailEnd type="oval" w="med" len="med"/>
          </a:ln>
        </p:spPr>
        <p:txBody>
          <a:bodyPr/>
          <a:lstStyle/>
          <a:p>
            <a:endParaRPr lang="en-US" dirty="0">
              <a:latin typeface="Helvetica Neue Medium"/>
              <a:cs typeface="Helvetica Neue Medium"/>
            </a:endParaRPr>
          </a:p>
        </p:txBody>
      </p:sp>
      <p:sp>
        <p:nvSpPr>
          <p:cNvPr id="22538" name="TextBox 31"/>
          <p:cNvSpPr txBox="1">
            <a:spLocks noChangeArrowheads="1"/>
          </p:cNvSpPr>
          <p:nvPr/>
        </p:nvSpPr>
        <p:spPr bwMode="auto">
          <a:xfrm>
            <a:off x="3070226" y="1008460"/>
            <a:ext cx="287337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600" dirty="0">
                <a:latin typeface="Helvetica Neue Medium"/>
                <a:cs typeface="Helvetica Neue Medium"/>
              </a:rPr>
              <a:t>Quality – Lean Sigma</a:t>
            </a:r>
          </a:p>
        </p:txBody>
      </p:sp>
      <p:sp>
        <p:nvSpPr>
          <p:cNvPr id="22539" name="TextBox 32"/>
          <p:cNvSpPr txBox="1">
            <a:spLocks noChangeArrowheads="1"/>
          </p:cNvSpPr>
          <p:nvPr/>
        </p:nvSpPr>
        <p:spPr bwMode="auto">
          <a:xfrm>
            <a:off x="5945188" y="1008460"/>
            <a:ext cx="27432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600" dirty="0">
                <a:latin typeface="Helvetica Neue Medium"/>
                <a:cs typeface="Helvetica Neue Medium"/>
              </a:rPr>
              <a:t>Field Asset Monitoring</a:t>
            </a:r>
          </a:p>
        </p:txBody>
      </p:sp>
      <p:cxnSp>
        <p:nvCxnSpPr>
          <p:cNvPr id="22540" name="Straight Connector 28"/>
          <p:cNvCxnSpPr>
            <a:cxnSpLocks noChangeShapeType="1"/>
          </p:cNvCxnSpPr>
          <p:nvPr/>
        </p:nvCxnSpPr>
        <p:spPr bwMode="auto">
          <a:xfrm flipH="1" flipV="1">
            <a:off x="3090863" y="988218"/>
            <a:ext cx="19050" cy="1148954"/>
          </a:xfrm>
          <a:prstGeom prst="line">
            <a:avLst/>
          </a:prstGeom>
          <a:noFill/>
          <a:ln w="9525">
            <a:solidFill>
              <a:schemeClr val="bg2"/>
            </a:solidFill>
            <a:prstDash val="sysDash"/>
            <a:round/>
            <a:headEnd/>
            <a:tailEnd/>
          </a:ln>
        </p:spPr>
      </p:cxnSp>
      <p:cxnSp>
        <p:nvCxnSpPr>
          <p:cNvPr id="22541" name="Straight Connector 28"/>
          <p:cNvCxnSpPr>
            <a:cxnSpLocks noChangeShapeType="1"/>
          </p:cNvCxnSpPr>
          <p:nvPr/>
        </p:nvCxnSpPr>
        <p:spPr bwMode="auto">
          <a:xfrm flipH="1" flipV="1">
            <a:off x="9172575" y="1238251"/>
            <a:ext cx="46038" cy="2499122"/>
          </a:xfrm>
          <a:prstGeom prst="line">
            <a:avLst/>
          </a:prstGeom>
          <a:noFill/>
          <a:ln w="9525">
            <a:solidFill>
              <a:schemeClr val="bg2"/>
            </a:solidFill>
            <a:prstDash val="sysDash"/>
            <a:round/>
            <a:headEnd/>
            <a:tailEnd/>
          </a:ln>
        </p:spPr>
      </p:cxnSp>
      <p:cxnSp>
        <p:nvCxnSpPr>
          <p:cNvPr id="22542" name="Straight Connector 28"/>
          <p:cNvCxnSpPr>
            <a:cxnSpLocks noChangeShapeType="1"/>
          </p:cNvCxnSpPr>
          <p:nvPr/>
        </p:nvCxnSpPr>
        <p:spPr bwMode="auto">
          <a:xfrm flipH="1" flipV="1">
            <a:off x="246064" y="988219"/>
            <a:ext cx="39687" cy="1387079"/>
          </a:xfrm>
          <a:prstGeom prst="line">
            <a:avLst/>
          </a:prstGeom>
          <a:noFill/>
          <a:ln w="9525">
            <a:solidFill>
              <a:schemeClr val="bg2"/>
            </a:solidFill>
            <a:prstDash val="sysDash"/>
            <a:round/>
            <a:headEnd/>
            <a:tailEnd/>
          </a:ln>
        </p:spPr>
      </p:cxnSp>
      <p:sp>
        <p:nvSpPr>
          <p:cNvPr id="22543" name="TextBox 31"/>
          <p:cNvSpPr txBox="1">
            <a:spLocks noChangeArrowheads="1"/>
          </p:cNvSpPr>
          <p:nvPr/>
        </p:nvSpPr>
        <p:spPr bwMode="auto">
          <a:xfrm>
            <a:off x="5643564" y="1253728"/>
            <a:ext cx="2547937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Tx/>
              <a:buChar char="•"/>
            </a:pPr>
            <a:endParaRPr lang="en-US" sz="900" dirty="0">
              <a:latin typeface="Helvetica Neue Medium"/>
              <a:ea typeface="MS Gothic" pitchFamily="49" charset="-128"/>
              <a:cs typeface="Helvetica Neue Medium"/>
            </a:endParaRPr>
          </a:p>
          <a:p>
            <a:pPr>
              <a:buFontTx/>
              <a:buChar char="•"/>
            </a:pPr>
            <a:endParaRPr lang="en-US" sz="900" dirty="0">
              <a:latin typeface="Helvetica Neue Medium"/>
              <a:ea typeface="MS Gothic" pitchFamily="49" charset="-128"/>
              <a:cs typeface="Helvetica Neue Medium"/>
            </a:endParaRPr>
          </a:p>
          <a:p>
            <a:endParaRPr lang="en-US" sz="600" dirty="0">
              <a:latin typeface="Helvetica Neue Medium"/>
              <a:ea typeface="MS Gothic" pitchFamily="49" charset="-128"/>
              <a:cs typeface="Helvetica Neue Medium"/>
            </a:endParaRPr>
          </a:p>
        </p:txBody>
      </p:sp>
      <p:cxnSp>
        <p:nvCxnSpPr>
          <p:cNvPr id="22544" name="Straight Connector 28"/>
          <p:cNvCxnSpPr>
            <a:cxnSpLocks noChangeShapeType="1"/>
          </p:cNvCxnSpPr>
          <p:nvPr/>
        </p:nvCxnSpPr>
        <p:spPr bwMode="auto">
          <a:xfrm flipH="1" flipV="1">
            <a:off x="5905500" y="979885"/>
            <a:ext cx="19050" cy="1148953"/>
          </a:xfrm>
          <a:prstGeom prst="line">
            <a:avLst/>
          </a:prstGeom>
          <a:noFill/>
          <a:ln w="9525">
            <a:solidFill>
              <a:schemeClr val="bg2"/>
            </a:solidFill>
            <a:prstDash val="sysDash"/>
            <a:round/>
            <a:headEnd/>
            <a:tailEnd/>
          </a:ln>
        </p:spPr>
      </p:cxnSp>
      <p:cxnSp>
        <p:nvCxnSpPr>
          <p:cNvPr id="22545" name="Straight Connector 28"/>
          <p:cNvCxnSpPr>
            <a:cxnSpLocks noChangeShapeType="1"/>
          </p:cNvCxnSpPr>
          <p:nvPr/>
        </p:nvCxnSpPr>
        <p:spPr bwMode="auto">
          <a:xfrm flipH="1" flipV="1">
            <a:off x="8790913" y="998935"/>
            <a:ext cx="39688" cy="1387078"/>
          </a:xfrm>
          <a:prstGeom prst="line">
            <a:avLst/>
          </a:prstGeom>
          <a:noFill/>
          <a:ln w="9525">
            <a:solidFill>
              <a:schemeClr val="bg2"/>
            </a:solidFill>
            <a:prstDash val="sysDash"/>
            <a:round/>
            <a:headEnd/>
            <a:tailEnd/>
          </a:ln>
        </p:spPr>
      </p:cxnSp>
      <p:sp>
        <p:nvSpPr>
          <p:cNvPr id="43" name="TextBox 42"/>
          <p:cNvSpPr txBox="1"/>
          <p:nvPr/>
        </p:nvSpPr>
        <p:spPr>
          <a:xfrm>
            <a:off x="738189" y="2627114"/>
            <a:ext cx="6759575" cy="2154436"/>
          </a:xfrm>
          <a:prstGeom prst="rect">
            <a:avLst/>
          </a:prstGeom>
          <a:noFill/>
          <a:ln w="57150">
            <a:noFill/>
          </a:ln>
        </p:spPr>
        <p:txBody>
          <a:bodyPr>
            <a:spAutoFit/>
          </a:bodyPr>
          <a:lstStyle/>
          <a:p>
            <a:pPr algn="ctr">
              <a:defRPr/>
            </a:pPr>
            <a:endParaRPr lang="en-US" u="sng" dirty="0">
              <a:latin typeface="Helvetica Neue Medium"/>
              <a:ea typeface="ＭＳ Ｐゴシック" pitchFamily="34" charset="-128"/>
              <a:cs typeface="Helvetica Neue Medium"/>
            </a:endParaRPr>
          </a:p>
          <a:p>
            <a:pPr algn="ctr">
              <a:defRPr/>
            </a:pPr>
            <a:r>
              <a:rPr lang="en-US" u="sng" dirty="0" smtClean="0">
                <a:latin typeface="Helvetica Neue Medium"/>
                <a:ea typeface="ＭＳ Ｐゴシック" pitchFamily="34" charset="-128"/>
                <a:cs typeface="Helvetica Neue Medium"/>
              </a:rPr>
              <a:t>The </a:t>
            </a:r>
            <a:r>
              <a:rPr lang="en-US" u="sng" dirty="0">
                <a:latin typeface="Helvetica Neue Medium"/>
                <a:ea typeface="ＭＳ Ｐゴシック" pitchFamily="34" charset="-128"/>
                <a:cs typeface="Helvetica Neue Medium"/>
              </a:rPr>
              <a:t>Value of PMQ</a:t>
            </a:r>
          </a:p>
          <a:p>
            <a:pPr algn="ctr">
              <a:defRPr/>
            </a:pPr>
            <a:endParaRPr lang="en-US" sz="1400" dirty="0">
              <a:latin typeface="Helvetica Neue Medium"/>
              <a:ea typeface="ＭＳ Ｐゴシック" pitchFamily="34" charset="-128"/>
              <a:cs typeface="Helvetica Neue Medium"/>
            </a:endParaRP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200" dirty="0">
                <a:latin typeface="Helvetica Neue Medium"/>
                <a:ea typeface="ＭＳ Ｐゴシック" pitchFamily="34" charset="-128"/>
                <a:cs typeface="Helvetica Neue Medium"/>
              </a:rPr>
              <a:t>Lowering Unit/Item Cost (Improving profit/margin)</a:t>
            </a: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200" dirty="0">
                <a:latin typeface="Helvetica Neue Medium"/>
                <a:ea typeface="ＭＳ Ｐゴシック" pitchFamily="34" charset="-128"/>
                <a:cs typeface="Helvetica Neue Medium"/>
              </a:rPr>
              <a:t>Increasing Production “Yield”(Productivity)</a:t>
            </a: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200" dirty="0">
                <a:latin typeface="Helvetica Neue Medium"/>
                <a:ea typeface="ＭＳ Ｐゴシック" pitchFamily="34" charset="-128"/>
                <a:cs typeface="Helvetica Neue Medium"/>
              </a:rPr>
              <a:t>Superior ROA and “Asset Optimization”</a:t>
            </a: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200" dirty="0">
                <a:latin typeface="Helvetica Neue Medium"/>
                <a:ea typeface="ＭＳ Ｐゴシック" pitchFamily="34" charset="-128"/>
                <a:cs typeface="Helvetica Neue Medium"/>
              </a:rPr>
              <a:t>Higher Revenue due to Quality Improvement</a:t>
            </a: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200" dirty="0">
                <a:latin typeface="Helvetica Neue Medium"/>
                <a:ea typeface="ＭＳ Ｐゴシック" pitchFamily="34" charset="-128"/>
                <a:cs typeface="Helvetica Neue Medium"/>
              </a:rPr>
              <a:t>Increased Competitiveness due to higher Quality</a:t>
            </a: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200" dirty="0">
                <a:latin typeface="Helvetica Neue Medium"/>
                <a:ea typeface="ＭＳ Ｐゴシック" pitchFamily="34" charset="-128"/>
                <a:cs typeface="Helvetica Neue Medium"/>
              </a:rPr>
              <a:t>New Services for Health Monitoring of Assets </a:t>
            </a: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200" dirty="0">
                <a:latin typeface="Helvetica Neue Medium"/>
                <a:ea typeface="ＭＳ Ｐゴシック" pitchFamily="34" charset="-128"/>
                <a:cs typeface="Helvetica Neue Medium"/>
              </a:rPr>
              <a:t>Lower Risks due to fewer or elimination of Asset Failures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285750" y="1203723"/>
            <a:ext cx="3333750" cy="10156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endParaRPr lang="en-US" sz="1200" dirty="0">
              <a:latin typeface="Helvetica Neue Medium"/>
              <a:ea typeface="ＭＳ Ｐゴシック" pitchFamily="34" charset="-128"/>
              <a:cs typeface="Helvetica Neue Medium"/>
            </a:endParaRPr>
          </a:p>
          <a:p>
            <a:pPr marL="285750" indent="-285750">
              <a:buFont typeface="Wingdings" pitchFamily="2" charset="2"/>
              <a:buChar char="ü"/>
              <a:defRPr/>
            </a:pPr>
            <a:r>
              <a:rPr lang="en-US" sz="1200" dirty="0">
                <a:latin typeface="Helvetica Neue Medium"/>
                <a:ea typeface="ＭＳ Ｐゴシック" pitchFamily="34" charset="-128"/>
                <a:cs typeface="Helvetica Neue Medium"/>
              </a:rPr>
              <a:t>Averting unplanned downtime</a:t>
            </a:r>
          </a:p>
          <a:p>
            <a:pPr marL="285750" indent="-285750">
              <a:buFont typeface="Wingdings" pitchFamily="2" charset="2"/>
              <a:buChar char="ü"/>
              <a:defRPr/>
            </a:pPr>
            <a:r>
              <a:rPr lang="en-US" sz="1200" dirty="0" smtClean="0">
                <a:latin typeface="Helvetica Neue Medium"/>
                <a:ea typeface="ＭＳ Ｐゴシック" pitchFamily="34" charset="-128"/>
                <a:cs typeface="Helvetica Neue Medium"/>
              </a:rPr>
              <a:t>Scheduled/planned</a:t>
            </a:r>
            <a:r>
              <a:rPr lang="en-US" sz="1200" dirty="0">
                <a:latin typeface="Helvetica Neue Medium"/>
                <a:ea typeface="ＭＳ Ｐゴシック" pitchFamily="34" charset="-128"/>
                <a:cs typeface="Helvetica Neue Medium"/>
              </a:rPr>
              <a:t>, </a:t>
            </a:r>
            <a:r>
              <a:rPr lang="en-US" sz="1200" dirty="0" smtClean="0">
                <a:latin typeface="Helvetica Neue Medium"/>
                <a:ea typeface="ＭＳ Ｐゴシック" pitchFamily="34" charset="-128"/>
                <a:cs typeface="Helvetica Neue Medium"/>
              </a:rPr>
              <a:t>predictive</a:t>
            </a:r>
            <a:endParaRPr lang="en-US" sz="1200" dirty="0">
              <a:latin typeface="Helvetica Neue Medium"/>
              <a:ea typeface="ＭＳ Ｐゴシック" pitchFamily="34" charset="-128"/>
              <a:cs typeface="Helvetica Neue Medium"/>
            </a:endParaRPr>
          </a:p>
          <a:p>
            <a:pPr marL="285750" indent="-285750">
              <a:buFont typeface="Wingdings" pitchFamily="2" charset="2"/>
              <a:buChar char="ü"/>
              <a:defRPr/>
            </a:pPr>
            <a:r>
              <a:rPr lang="en-US" sz="1200" dirty="0">
                <a:latin typeface="Helvetica Neue Medium"/>
                <a:ea typeface="ＭＳ Ｐゴシック" pitchFamily="34" charset="-128"/>
                <a:cs typeface="Helvetica Neue Medium"/>
              </a:rPr>
              <a:t>Addressing </a:t>
            </a:r>
            <a:r>
              <a:rPr lang="en-US" sz="1200" dirty="0" smtClean="0">
                <a:latin typeface="Helvetica Neue Medium"/>
                <a:ea typeface="ＭＳ Ｐゴシック" pitchFamily="34" charset="-128"/>
                <a:cs typeface="Helvetica Neue Medium"/>
              </a:rPr>
              <a:t>asset </a:t>
            </a:r>
            <a:r>
              <a:rPr lang="en-US" sz="1200" dirty="0">
                <a:latin typeface="Helvetica Neue Medium"/>
                <a:ea typeface="ＭＳ Ｐゴシック" pitchFamily="34" charset="-128"/>
                <a:cs typeface="Helvetica Neue Medium"/>
              </a:rPr>
              <a:t>u</a:t>
            </a:r>
            <a:r>
              <a:rPr lang="en-US" sz="1200" dirty="0" smtClean="0">
                <a:latin typeface="Helvetica Neue Medium"/>
                <a:ea typeface="ＭＳ Ｐゴシック" pitchFamily="34" charset="-128"/>
                <a:cs typeface="Helvetica Neue Medium"/>
              </a:rPr>
              <a:t>tilization</a:t>
            </a:r>
            <a:endParaRPr lang="en-US" sz="1200" dirty="0">
              <a:latin typeface="Helvetica Neue Medium"/>
              <a:ea typeface="ＭＳ Ｐゴシック" pitchFamily="34" charset="-128"/>
              <a:cs typeface="Helvetica Neue Medium"/>
            </a:endParaRPr>
          </a:p>
          <a:p>
            <a:pPr marL="285750" indent="-285750">
              <a:buFont typeface="Wingdings" pitchFamily="2" charset="2"/>
              <a:buChar char="ü"/>
              <a:defRPr/>
            </a:pPr>
            <a:r>
              <a:rPr lang="en-US" sz="1200" dirty="0">
                <a:latin typeface="Helvetica Neue Medium"/>
                <a:ea typeface="ＭＳ Ｐゴシック" pitchFamily="34" charset="-128"/>
                <a:cs typeface="Helvetica Neue Medium"/>
              </a:rPr>
              <a:t>Warranty capabilities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3119439" y="1203723"/>
            <a:ext cx="3062287" cy="10156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endParaRPr lang="en-US" sz="1200" dirty="0">
              <a:latin typeface="Helvetica Neue Medium"/>
              <a:ea typeface="ＭＳ Ｐゴシック" pitchFamily="34" charset="-128"/>
              <a:cs typeface="Helvetica Neue Medium"/>
            </a:endParaRPr>
          </a:p>
          <a:p>
            <a:pPr marL="285750" indent="-285750">
              <a:buFont typeface="Wingdings" pitchFamily="2" charset="2"/>
              <a:buChar char="ü"/>
              <a:defRPr/>
            </a:pPr>
            <a:r>
              <a:rPr lang="en-US" sz="1200" dirty="0">
                <a:latin typeface="Helvetica Neue Medium"/>
                <a:ea typeface="ＭＳ Ｐゴシック" pitchFamily="34" charset="-128"/>
                <a:cs typeface="Helvetica Neue Medium"/>
              </a:rPr>
              <a:t>Extend </a:t>
            </a:r>
            <a:r>
              <a:rPr lang="en-US" sz="1200" dirty="0" smtClean="0">
                <a:latin typeface="Helvetica Neue Medium"/>
                <a:ea typeface="ＭＳ Ｐゴシック" pitchFamily="34" charset="-128"/>
                <a:cs typeface="Helvetica Neue Medium"/>
              </a:rPr>
              <a:t>process </a:t>
            </a:r>
            <a:r>
              <a:rPr lang="en-US" sz="1200" dirty="0">
                <a:latin typeface="Helvetica Neue Medium"/>
                <a:ea typeface="ＭＳ Ｐゴシック" pitchFamily="34" charset="-128"/>
                <a:cs typeface="Helvetica Neue Medium"/>
              </a:rPr>
              <a:t>i</a:t>
            </a:r>
            <a:r>
              <a:rPr lang="en-US" sz="1200" dirty="0" smtClean="0">
                <a:latin typeface="Helvetica Neue Medium"/>
                <a:ea typeface="ＭＳ Ｐゴシック" pitchFamily="34" charset="-128"/>
                <a:cs typeface="Helvetica Neue Medium"/>
              </a:rPr>
              <a:t>mprovement</a:t>
            </a:r>
            <a:endParaRPr lang="en-US" sz="1200" dirty="0">
              <a:latin typeface="Helvetica Neue Medium"/>
              <a:ea typeface="ＭＳ Ｐゴシック" pitchFamily="34" charset="-128"/>
              <a:cs typeface="Helvetica Neue Medium"/>
            </a:endParaRPr>
          </a:p>
          <a:p>
            <a:pPr marL="285750" indent="-285750">
              <a:buFont typeface="Wingdings" pitchFamily="2" charset="2"/>
              <a:buChar char="ü"/>
              <a:defRPr/>
            </a:pPr>
            <a:r>
              <a:rPr lang="en-US" sz="1200" dirty="0">
                <a:latin typeface="Helvetica Neue Medium"/>
                <a:ea typeface="ＭＳ Ｐゴシック" pitchFamily="34" charset="-128"/>
                <a:cs typeface="Helvetica Neue Medium"/>
              </a:rPr>
              <a:t>Root </a:t>
            </a:r>
            <a:r>
              <a:rPr lang="en-US" sz="1200" dirty="0" smtClean="0">
                <a:latin typeface="Helvetica Neue Medium"/>
                <a:ea typeface="ＭＳ Ｐゴシック" pitchFamily="34" charset="-128"/>
                <a:cs typeface="Helvetica Neue Medium"/>
              </a:rPr>
              <a:t>cause analysis </a:t>
            </a:r>
            <a:r>
              <a:rPr lang="en-US" sz="1200" dirty="0">
                <a:latin typeface="Helvetica Neue Medium"/>
                <a:ea typeface="ＭＳ Ｐゴシック" pitchFamily="34" charset="-128"/>
                <a:cs typeface="Helvetica Neue Medium"/>
              </a:rPr>
              <a:t>&amp; SPC</a:t>
            </a:r>
          </a:p>
          <a:p>
            <a:pPr marL="285750" indent="-285750">
              <a:buFont typeface="Wingdings" pitchFamily="2" charset="2"/>
              <a:buChar char="ü"/>
              <a:defRPr/>
            </a:pPr>
            <a:r>
              <a:rPr lang="en-US" sz="1200" dirty="0">
                <a:latin typeface="Helvetica Neue Medium"/>
                <a:ea typeface="ＭＳ Ｐゴシック" pitchFamily="34" charset="-128"/>
                <a:cs typeface="Helvetica Neue Medium"/>
              </a:rPr>
              <a:t>Supply </a:t>
            </a:r>
            <a:r>
              <a:rPr lang="en-US" sz="1200" dirty="0" smtClean="0">
                <a:latin typeface="Helvetica Neue Medium"/>
                <a:ea typeface="ＭＳ Ｐゴシック" pitchFamily="34" charset="-128"/>
                <a:cs typeface="Helvetica Neue Medium"/>
              </a:rPr>
              <a:t>chain</a:t>
            </a:r>
            <a:endParaRPr lang="en-US" sz="1200" dirty="0">
              <a:latin typeface="Helvetica Neue Medium"/>
              <a:ea typeface="ＭＳ Ｐゴシック" pitchFamily="34" charset="-128"/>
              <a:cs typeface="Helvetica Neue Medium"/>
            </a:endParaRPr>
          </a:p>
          <a:p>
            <a:pPr>
              <a:defRPr/>
            </a:pPr>
            <a:endParaRPr lang="en-US" sz="1200" dirty="0">
              <a:latin typeface="Helvetica Neue Medium"/>
              <a:ea typeface="ＭＳ Ｐゴシック" pitchFamily="34" charset="-128"/>
              <a:cs typeface="Helvetica Neue Medium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5884863" y="1203723"/>
            <a:ext cx="3446462" cy="120032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endParaRPr lang="en-US" sz="1200" dirty="0">
              <a:latin typeface="Helvetica Neue Medium"/>
              <a:ea typeface="ＭＳ Ｐゴシック" pitchFamily="34" charset="-128"/>
              <a:cs typeface="Helvetica Neue Medium"/>
            </a:endParaRPr>
          </a:p>
          <a:p>
            <a:pPr marL="285750" indent="-285750">
              <a:buFont typeface="Wingdings" pitchFamily="2" charset="2"/>
              <a:buChar char="ü"/>
              <a:defRPr/>
            </a:pPr>
            <a:r>
              <a:rPr lang="en-US" sz="1200" dirty="0">
                <a:latin typeface="Helvetica Neue Medium"/>
                <a:ea typeface="ＭＳ Ｐゴシック" pitchFamily="34" charset="-128"/>
                <a:cs typeface="Helvetica Neue Medium"/>
              </a:rPr>
              <a:t>Equipment </a:t>
            </a:r>
            <a:r>
              <a:rPr lang="en-US" sz="1200" dirty="0" smtClean="0">
                <a:latin typeface="Helvetica Neue Medium"/>
                <a:ea typeface="ＭＳ Ｐゴシック" pitchFamily="34" charset="-128"/>
                <a:cs typeface="Helvetica Neue Medium"/>
              </a:rPr>
              <a:t>monitoring </a:t>
            </a:r>
            <a:r>
              <a:rPr lang="en-US" sz="1200" dirty="0">
                <a:latin typeface="Helvetica Neue Medium"/>
                <a:ea typeface="ＭＳ Ｐゴシック" pitchFamily="34" charset="-128"/>
                <a:cs typeface="Helvetica Neue Medium"/>
              </a:rPr>
              <a:t>for production</a:t>
            </a:r>
          </a:p>
          <a:p>
            <a:pPr marL="285750" indent="-285750">
              <a:buFont typeface="Wingdings" pitchFamily="2" charset="2"/>
              <a:buChar char="ü"/>
              <a:defRPr/>
            </a:pPr>
            <a:r>
              <a:rPr lang="en-US" sz="1200" dirty="0">
                <a:latin typeface="Helvetica Neue Medium"/>
                <a:ea typeface="ＭＳ Ｐゴシック" pitchFamily="34" charset="-128"/>
                <a:cs typeface="Helvetica Neue Medium"/>
              </a:rPr>
              <a:t>Asset </a:t>
            </a:r>
            <a:r>
              <a:rPr lang="en-US" sz="1200" dirty="0" smtClean="0">
                <a:latin typeface="Helvetica Neue Medium"/>
                <a:ea typeface="ＭＳ Ｐゴシック" pitchFamily="34" charset="-128"/>
                <a:cs typeface="Helvetica Neue Medium"/>
              </a:rPr>
              <a:t>monitoring </a:t>
            </a:r>
            <a:r>
              <a:rPr lang="en-US" sz="1200" dirty="0">
                <a:latin typeface="Helvetica Neue Medium"/>
                <a:ea typeface="ＭＳ Ｐゴシック" pitchFamily="34" charset="-128"/>
                <a:cs typeface="Helvetica Neue Medium"/>
              </a:rPr>
              <a:t>for new </a:t>
            </a:r>
            <a:r>
              <a:rPr lang="en-US" sz="1200" dirty="0" smtClean="0">
                <a:latin typeface="Helvetica Neue Medium"/>
                <a:ea typeface="ＭＳ Ｐゴシック" pitchFamily="34" charset="-128"/>
                <a:cs typeface="Helvetica Neue Medium"/>
              </a:rPr>
              <a:t>service(s</a:t>
            </a:r>
            <a:r>
              <a:rPr lang="en-US" sz="1200" dirty="0">
                <a:latin typeface="Helvetica Neue Medium"/>
                <a:ea typeface="ＭＳ Ｐゴシック" pitchFamily="34" charset="-128"/>
                <a:cs typeface="Helvetica Neue Medium"/>
              </a:rPr>
              <a:t>)</a:t>
            </a:r>
          </a:p>
          <a:p>
            <a:pPr marL="285750" indent="-285750">
              <a:buFont typeface="Wingdings" pitchFamily="2" charset="2"/>
              <a:buChar char="ü"/>
              <a:defRPr/>
            </a:pPr>
            <a:r>
              <a:rPr lang="en-US" sz="1200" dirty="0">
                <a:latin typeface="Helvetica Neue Medium"/>
                <a:ea typeface="ＭＳ Ｐゴシック" pitchFamily="34" charset="-128"/>
                <a:cs typeface="Helvetica Neue Medium"/>
              </a:rPr>
              <a:t>Field </a:t>
            </a:r>
            <a:r>
              <a:rPr lang="en-US" sz="1200" dirty="0" smtClean="0">
                <a:latin typeface="Helvetica Neue Medium"/>
                <a:ea typeface="ＭＳ Ｐゴシック" pitchFamily="34" charset="-128"/>
                <a:cs typeface="Helvetica Neue Medium"/>
              </a:rPr>
              <a:t>asset </a:t>
            </a:r>
            <a:r>
              <a:rPr lang="en-US" sz="1200" dirty="0">
                <a:latin typeface="Helvetica Neue Medium"/>
                <a:ea typeface="ＭＳ Ｐゴシック" pitchFamily="34" charset="-128"/>
                <a:cs typeface="Helvetica Neue Medium"/>
              </a:rPr>
              <a:t>o</a:t>
            </a:r>
            <a:r>
              <a:rPr lang="en-US" sz="1200" dirty="0" smtClean="0">
                <a:latin typeface="Helvetica Neue Medium"/>
                <a:ea typeface="ＭＳ Ｐゴシック" pitchFamily="34" charset="-128"/>
                <a:cs typeface="Helvetica Neue Medium"/>
              </a:rPr>
              <a:t>ptimization</a:t>
            </a:r>
            <a:endParaRPr lang="en-US" sz="1200" dirty="0">
              <a:latin typeface="Helvetica Neue Medium"/>
              <a:ea typeface="ＭＳ Ｐゴシック" pitchFamily="34" charset="-128"/>
              <a:cs typeface="Helvetica Neue Medium"/>
            </a:endParaRPr>
          </a:p>
          <a:p>
            <a:pPr marL="285750" indent="-285750">
              <a:buFont typeface="Wingdings" pitchFamily="2" charset="2"/>
              <a:buChar char="ü"/>
              <a:defRPr/>
            </a:pPr>
            <a:r>
              <a:rPr lang="en-US" sz="1200" dirty="0">
                <a:latin typeface="Helvetica Neue Medium"/>
                <a:ea typeface="ＭＳ Ｐゴシック" pitchFamily="34" charset="-128"/>
                <a:cs typeface="Helvetica Neue Medium"/>
              </a:rPr>
              <a:t>Inventory </a:t>
            </a:r>
            <a:r>
              <a:rPr lang="en-US" sz="1200" dirty="0" smtClean="0">
                <a:latin typeface="Helvetica Neue Medium"/>
                <a:ea typeface="ＭＳ Ｐゴシック" pitchFamily="34" charset="-128"/>
                <a:cs typeface="Helvetica Neue Medium"/>
              </a:rPr>
              <a:t>management</a:t>
            </a:r>
            <a:endParaRPr lang="en-US" sz="1200" dirty="0">
              <a:latin typeface="Helvetica Neue Medium"/>
              <a:ea typeface="ＭＳ Ｐゴシック" pitchFamily="34" charset="-128"/>
              <a:cs typeface="Helvetica Neue Medium"/>
            </a:endParaRPr>
          </a:p>
          <a:p>
            <a:pPr marL="285750" indent="-285750">
              <a:buFont typeface="Wingdings" pitchFamily="2" charset="2"/>
              <a:buChar char="ü"/>
              <a:defRPr/>
            </a:pPr>
            <a:r>
              <a:rPr lang="en-US" sz="1200" dirty="0">
                <a:latin typeface="Helvetica Neue Medium"/>
                <a:ea typeface="ＭＳ Ｐゴシック" pitchFamily="34" charset="-128"/>
                <a:cs typeface="Helvetica Neue Medium"/>
              </a:rPr>
              <a:t>Fleet and </a:t>
            </a:r>
            <a:r>
              <a:rPr lang="en-US" sz="1200" dirty="0" smtClean="0">
                <a:latin typeface="Helvetica Neue Medium"/>
                <a:ea typeface="ＭＳ Ｐゴシック" pitchFamily="34" charset="-128"/>
                <a:cs typeface="Helvetica Neue Medium"/>
              </a:rPr>
              <a:t>facilities </a:t>
            </a:r>
            <a:r>
              <a:rPr lang="en-US" sz="1200" dirty="0">
                <a:latin typeface="Helvetica Neue Medium"/>
                <a:ea typeface="ＭＳ Ｐゴシック" pitchFamily="34" charset="-128"/>
                <a:cs typeface="Helvetica Neue Medium"/>
              </a:rPr>
              <a:t>m</a:t>
            </a:r>
            <a:r>
              <a:rPr lang="en-US" sz="1200" dirty="0" smtClean="0">
                <a:latin typeface="Helvetica Neue Medium"/>
                <a:ea typeface="ＭＳ Ｐゴシック" pitchFamily="34" charset="-128"/>
                <a:cs typeface="Helvetica Neue Medium"/>
              </a:rPr>
              <a:t>anagement</a:t>
            </a:r>
            <a:endParaRPr lang="en-US" sz="1200" dirty="0">
              <a:latin typeface="Helvetica Neue Medium"/>
              <a:ea typeface="ＭＳ Ｐゴシック" pitchFamily="34" charset="-128"/>
              <a:cs typeface="Helvetica Neue Medium"/>
            </a:endParaRPr>
          </a:p>
        </p:txBody>
      </p:sp>
      <p:sp>
        <p:nvSpPr>
          <p:cNvPr id="23" name="TextBox 7"/>
          <p:cNvSpPr txBox="1">
            <a:spLocks noChangeArrowheads="1"/>
          </p:cNvSpPr>
          <p:nvPr/>
        </p:nvSpPr>
        <p:spPr bwMode="auto">
          <a:xfrm>
            <a:off x="381000" y="285750"/>
            <a:ext cx="7248525" cy="403466"/>
          </a:xfrm>
          <a:prstGeom prst="rect">
            <a:avLst/>
          </a:prstGeom>
          <a:noFill/>
          <a:ln>
            <a:noFill/>
          </a:ln>
        </p:spPr>
        <p:txBody>
          <a:bodyPr vert="horz" wrap="square" lIns="64283" tIns="32142" rIns="64283" bIns="32142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3190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spc="-50">
                <a:solidFill>
                  <a:srgbClr val="339C96"/>
                </a:solidFill>
                <a:latin typeface="HelvNeue for IBM Medium"/>
                <a:ea typeface="MS PGothic" pitchFamily="34" charset="-128"/>
                <a:cs typeface="HelvNeue for IBM Light"/>
              </a:defRPr>
            </a:lvl1pPr>
          </a:lstStyle>
          <a:p>
            <a:r>
              <a:rPr lang="en-US" altLang="en-US" dirty="0"/>
              <a:t>Ultimately affecting the bottom line</a:t>
            </a:r>
          </a:p>
        </p:txBody>
      </p:sp>
      <p:pic>
        <p:nvPicPr>
          <p:cNvPr id="22551" name="Picture 6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54776" y="3178969"/>
            <a:ext cx="2049463" cy="1226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006E99"/>
            </a:prstShdw>
          </a:effectLst>
        </p:spPr>
      </p:pic>
    </p:spTree>
    <p:extLst>
      <p:ext uri="{BB962C8B-B14F-4D97-AF65-F5344CB8AC3E}">
        <p14:creationId xmlns:p14="http://schemas.microsoft.com/office/powerpoint/2010/main" val="134100865"/>
      </p:ext>
    </p:extLst>
  </p:cSld>
  <p:clrMapOvr>
    <a:masterClrMapping/>
  </p:clrMapOvr>
  <p:transition xmlns:p14="http://schemas.microsoft.com/office/powerpoint/2010/main">
    <p:fade thruBlk="1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71600" y="1657350"/>
            <a:ext cx="6400800" cy="988241"/>
          </a:xfrm>
        </p:spPr>
        <p:txBody>
          <a:bodyPr/>
          <a:lstStyle/>
          <a:p>
            <a:pPr marL="346075" indent="-346075">
              <a:defRPr/>
            </a:pPr>
            <a:r>
              <a:rPr lang="en-US" sz="2400" dirty="0" smtClean="0">
                <a:latin typeface="HelvNeue for IBM Medium"/>
              </a:rPr>
              <a:t>IBM IoT Applications </a:t>
            </a:r>
            <a:r>
              <a:rPr lang="en-US" sz="2800" dirty="0" smtClean="0">
                <a:latin typeface="HelvNeue for IBM Medium"/>
              </a:rPr>
              <a:t/>
            </a:r>
            <a:br>
              <a:rPr lang="en-US" sz="2800" dirty="0" smtClean="0">
                <a:latin typeface="HelvNeue for IBM Medium"/>
              </a:rPr>
            </a:br>
            <a:r>
              <a:rPr lang="en-US" sz="3600" dirty="0" smtClean="0">
                <a:latin typeface="HelvNeue for IBM Medium"/>
              </a:rPr>
              <a:t>Continuous Engineering</a:t>
            </a:r>
            <a:endParaRPr sz="3600" dirty="0">
              <a:latin typeface="HelvNeue for IBM Medium"/>
            </a:endParaRPr>
          </a:p>
        </p:txBody>
      </p:sp>
    </p:spTree>
    <p:extLst>
      <p:ext uri="{BB962C8B-B14F-4D97-AF65-F5344CB8AC3E}">
        <p14:creationId xmlns:p14="http://schemas.microsoft.com/office/powerpoint/2010/main" val="2432558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825" y="1432950"/>
            <a:ext cx="2085975" cy="98930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34104"/>
            <a:ext cx="8575286" cy="729709"/>
          </a:xfrm>
          <a:solidFill>
            <a:schemeClr val="bg1"/>
          </a:solidFill>
        </p:spPr>
        <p:txBody>
          <a:bodyPr/>
          <a:lstStyle/>
          <a:p>
            <a:r>
              <a:rPr lang="en-US" sz="2400" dirty="0" smtClean="0">
                <a:latin typeface="HelvNeue for IBM Medium"/>
              </a:rPr>
              <a:t>Where human safety is a factor, even </a:t>
            </a:r>
            <a:r>
              <a:rPr lang="en-US" sz="2400" dirty="0">
                <a:latin typeface="HelvNeue for IBM Medium"/>
              </a:rPr>
              <a:t>simple devices </a:t>
            </a:r>
            <a:r>
              <a:rPr lang="en-US" sz="2400" dirty="0" smtClean="0">
                <a:latin typeface="HelvNeue for IBM Medium"/>
              </a:rPr>
              <a:t>and systems require careful engineering to reduce risk</a:t>
            </a:r>
            <a:endParaRPr lang="en-US" sz="2400" dirty="0">
              <a:latin typeface="HelvNeue for IBM Medium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400" y="2197906"/>
            <a:ext cx="2971800" cy="26860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2000" y="1432950"/>
            <a:ext cx="4128974" cy="2871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7429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title"/>
          </p:nvPr>
        </p:nvSpPr>
        <p:spPr>
          <a:xfrm>
            <a:off x="230145" y="5602"/>
            <a:ext cx="8913855" cy="735865"/>
          </a:xfrm>
        </p:spPr>
        <p:txBody>
          <a:bodyPr/>
          <a:lstStyle/>
          <a:p>
            <a:pPr eaLnBrk="1" hangingPunct="1"/>
            <a:r>
              <a:rPr lang="en-US" altLang="en-US" sz="2400" dirty="0" smtClean="0">
                <a:latin typeface="HelvNeue for IBM Medium"/>
              </a:rPr>
              <a:t>Keeping hardware &amp; software versions &amp; configurations straight is a challenge when designing, manufacturing, and operating “things”</a:t>
            </a:r>
          </a:p>
        </p:txBody>
      </p:sp>
      <p:pic>
        <p:nvPicPr>
          <p:cNvPr id="4099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7" t="829" r="1590" b="1933"/>
          <a:stretch>
            <a:fillRect/>
          </a:stretch>
        </p:blipFill>
        <p:spPr bwMode="auto">
          <a:xfrm>
            <a:off x="11907" y="1087042"/>
            <a:ext cx="5780485" cy="344924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00" name="TextBox 2"/>
          <p:cNvSpPr txBox="1">
            <a:spLocks noChangeArrowheads="1"/>
          </p:cNvSpPr>
          <p:nvPr/>
        </p:nvSpPr>
        <p:spPr bwMode="auto">
          <a:xfrm>
            <a:off x="5437049" y="4074617"/>
            <a:ext cx="2686891" cy="92333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en-US" altLang="en-US" sz="1350" dirty="0">
                <a:solidFill>
                  <a:srgbClr val="000000"/>
                </a:solidFill>
                <a:latin typeface="HelvNeue for IBM Medium"/>
              </a:rPr>
              <a:t>Each sensor contains a software tree with a complexity of options, models, fixes and releases </a:t>
            </a:r>
            <a:r>
              <a:rPr lang="en-US" altLang="en-US" sz="1350" dirty="0" smtClean="0">
                <a:solidFill>
                  <a:srgbClr val="000000"/>
                </a:solidFill>
                <a:latin typeface="HelvNeue for IBM Medium"/>
              </a:rPr>
              <a:t>    that </a:t>
            </a:r>
            <a:r>
              <a:rPr lang="en-US" altLang="en-US" sz="1350" dirty="0">
                <a:solidFill>
                  <a:srgbClr val="000000"/>
                </a:solidFill>
                <a:latin typeface="HelvNeue for IBM Medium"/>
              </a:rPr>
              <a:t>must be managed</a:t>
            </a:r>
          </a:p>
        </p:txBody>
      </p:sp>
      <p:grpSp>
        <p:nvGrpSpPr>
          <p:cNvPr id="4101" name="Group 9"/>
          <p:cNvGrpSpPr>
            <a:grpSpLocks/>
          </p:cNvGrpSpPr>
          <p:nvPr/>
        </p:nvGrpSpPr>
        <p:grpSpPr bwMode="auto">
          <a:xfrm>
            <a:off x="5963841" y="1087042"/>
            <a:ext cx="2140744" cy="1401365"/>
            <a:chOff x="7912100" y="1509713"/>
            <a:chExt cx="3857625" cy="2273300"/>
          </a:xfrm>
        </p:grpSpPr>
        <p:sp>
          <p:nvSpPr>
            <p:cNvPr id="4450" name="Rectangle 6"/>
            <p:cNvSpPr>
              <a:spLocks noChangeArrowheads="1"/>
            </p:cNvSpPr>
            <p:nvPr/>
          </p:nvSpPr>
          <p:spPr bwMode="auto">
            <a:xfrm>
              <a:off x="8594725" y="1509713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451" name="AutoShape 19"/>
            <p:cNvCxnSpPr>
              <a:cxnSpLocks noChangeShapeType="1"/>
              <a:stCxn id="4450" idx="2"/>
              <a:endCxn id="4454" idx="0"/>
            </p:cNvCxnSpPr>
            <p:nvPr/>
          </p:nvCxnSpPr>
          <p:spPr bwMode="auto">
            <a:xfrm>
              <a:off x="8659813" y="1554163"/>
              <a:ext cx="223837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52" name="Rectangle 6"/>
            <p:cNvSpPr>
              <a:spLocks noChangeArrowheads="1"/>
            </p:cNvSpPr>
            <p:nvPr/>
          </p:nvSpPr>
          <p:spPr bwMode="auto">
            <a:xfrm>
              <a:off x="8594725" y="1601788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453" name="Rectangle 6"/>
            <p:cNvSpPr>
              <a:spLocks noChangeArrowheads="1"/>
            </p:cNvSpPr>
            <p:nvPr/>
          </p:nvSpPr>
          <p:spPr bwMode="auto">
            <a:xfrm>
              <a:off x="8388350" y="1601788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454" name="Rectangle 6"/>
            <p:cNvSpPr>
              <a:spLocks noChangeArrowheads="1"/>
            </p:cNvSpPr>
            <p:nvPr/>
          </p:nvSpPr>
          <p:spPr bwMode="auto">
            <a:xfrm>
              <a:off x="8816975" y="1601788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455" name="AutoShape 19"/>
            <p:cNvCxnSpPr>
              <a:cxnSpLocks noChangeShapeType="1"/>
              <a:stCxn id="4450" idx="2"/>
              <a:endCxn id="4452" idx="0"/>
            </p:cNvCxnSpPr>
            <p:nvPr/>
          </p:nvCxnSpPr>
          <p:spPr bwMode="auto">
            <a:xfrm>
              <a:off x="8659813" y="1554163"/>
              <a:ext cx="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56" name="AutoShape 19"/>
            <p:cNvCxnSpPr>
              <a:cxnSpLocks noChangeShapeType="1"/>
              <a:stCxn id="4450" idx="2"/>
              <a:endCxn id="4453" idx="0"/>
            </p:cNvCxnSpPr>
            <p:nvPr/>
          </p:nvCxnSpPr>
          <p:spPr bwMode="auto">
            <a:xfrm flipH="1">
              <a:off x="8455025" y="1554163"/>
              <a:ext cx="204788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57" name="Rectangle 6"/>
            <p:cNvSpPr>
              <a:spLocks noChangeArrowheads="1"/>
            </p:cNvSpPr>
            <p:nvPr/>
          </p:nvSpPr>
          <p:spPr bwMode="auto">
            <a:xfrm>
              <a:off x="8816975" y="1733550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458" name="AutoShape 19"/>
            <p:cNvCxnSpPr>
              <a:cxnSpLocks noChangeShapeType="1"/>
              <a:stCxn id="4454" idx="2"/>
              <a:endCxn id="4457" idx="0"/>
            </p:cNvCxnSpPr>
            <p:nvPr/>
          </p:nvCxnSpPr>
          <p:spPr bwMode="auto">
            <a:xfrm flipH="1">
              <a:off x="8882063" y="1644650"/>
              <a:ext cx="1587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59" name="AutoShape 19"/>
            <p:cNvCxnSpPr>
              <a:cxnSpLocks noChangeShapeType="1"/>
              <a:stCxn id="4454" idx="2"/>
              <a:endCxn id="4468" idx="0"/>
            </p:cNvCxnSpPr>
            <p:nvPr/>
          </p:nvCxnSpPr>
          <p:spPr bwMode="auto">
            <a:xfrm>
              <a:off x="8883650" y="1644650"/>
              <a:ext cx="188913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60" name="Rectangle 6"/>
            <p:cNvSpPr>
              <a:spLocks noChangeArrowheads="1"/>
            </p:cNvSpPr>
            <p:nvPr/>
          </p:nvSpPr>
          <p:spPr bwMode="auto">
            <a:xfrm>
              <a:off x="8499475" y="1736725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461" name="AutoShape 19"/>
            <p:cNvCxnSpPr>
              <a:cxnSpLocks noChangeShapeType="1"/>
              <a:stCxn id="4460" idx="0"/>
              <a:endCxn id="4453" idx="2"/>
            </p:cNvCxnSpPr>
            <p:nvPr/>
          </p:nvCxnSpPr>
          <p:spPr bwMode="auto">
            <a:xfrm flipH="1" flipV="1">
              <a:off x="8455025" y="1644650"/>
              <a:ext cx="111125" cy="920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62" name="Rectangle 6"/>
            <p:cNvSpPr>
              <a:spLocks noChangeArrowheads="1"/>
            </p:cNvSpPr>
            <p:nvPr/>
          </p:nvSpPr>
          <p:spPr bwMode="auto">
            <a:xfrm>
              <a:off x="8599488" y="1852613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463" name="AutoShape 19"/>
            <p:cNvCxnSpPr>
              <a:cxnSpLocks noChangeShapeType="1"/>
              <a:stCxn id="4462" idx="0"/>
              <a:endCxn id="4460" idx="2"/>
            </p:cNvCxnSpPr>
            <p:nvPr/>
          </p:nvCxnSpPr>
          <p:spPr bwMode="auto">
            <a:xfrm flipH="1" flipV="1">
              <a:off x="8566150" y="1781175"/>
              <a:ext cx="100013" cy="71438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64" name="Rectangle 6"/>
            <p:cNvSpPr>
              <a:spLocks noChangeArrowheads="1"/>
            </p:cNvSpPr>
            <p:nvPr/>
          </p:nvSpPr>
          <p:spPr bwMode="auto">
            <a:xfrm>
              <a:off x="8437563" y="1852613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465" name="AutoShape 19"/>
            <p:cNvCxnSpPr>
              <a:cxnSpLocks noChangeShapeType="1"/>
              <a:stCxn id="4460" idx="2"/>
              <a:endCxn id="4464" idx="0"/>
            </p:cNvCxnSpPr>
            <p:nvPr/>
          </p:nvCxnSpPr>
          <p:spPr bwMode="auto">
            <a:xfrm flipH="1">
              <a:off x="8502650" y="1781175"/>
              <a:ext cx="63500" cy="71438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66" name="Rectangle 6"/>
            <p:cNvSpPr>
              <a:spLocks noChangeArrowheads="1"/>
            </p:cNvSpPr>
            <p:nvPr/>
          </p:nvSpPr>
          <p:spPr bwMode="auto">
            <a:xfrm>
              <a:off x="8297863" y="1706563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cxnSp>
          <p:nvCxnSpPr>
            <p:cNvPr id="4467" name="AutoShape 19"/>
            <p:cNvCxnSpPr>
              <a:cxnSpLocks noChangeShapeType="1"/>
              <a:stCxn id="4453" idx="2"/>
              <a:endCxn id="4466" idx="0"/>
            </p:cNvCxnSpPr>
            <p:nvPr/>
          </p:nvCxnSpPr>
          <p:spPr bwMode="auto">
            <a:xfrm flipH="1">
              <a:off x="8362950" y="1644650"/>
              <a:ext cx="92075" cy="619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68" name="Rectangle 6"/>
            <p:cNvSpPr>
              <a:spLocks noChangeArrowheads="1"/>
            </p:cNvSpPr>
            <p:nvPr/>
          </p:nvSpPr>
          <p:spPr bwMode="auto">
            <a:xfrm>
              <a:off x="9007475" y="1733550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469" name="AutoShape 19"/>
            <p:cNvCxnSpPr>
              <a:cxnSpLocks noChangeShapeType="1"/>
              <a:stCxn id="4468" idx="2"/>
              <a:endCxn id="4472" idx="0"/>
            </p:cNvCxnSpPr>
            <p:nvPr/>
          </p:nvCxnSpPr>
          <p:spPr bwMode="auto">
            <a:xfrm>
              <a:off x="9072563" y="1778000"/>
              <a:ext cx="223837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70" name="Rectangle 6"/>
            <p:cNvSpPr>
              <a:spLocks noChangeArrowheads="1"/>
            </p:cNvSpPr>
            <p:nvPr/>
          </p:nvSpPr>
          <p:spPr bwMode="auto">
            <a:xfrm>
              <a:off x="9007475" y="1825625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471" name="Rectangle 6"/>
            <p:cNvSpPr>
              <a:spLocks noChangeArrowheads="1"/>
            </p:cNvSpPr>
            <p:nvPr/>
          </p:nvSpPr>
          <p:spPr bwMode="auto">
            <a:xfrm>
              <a:off x="8801100" y="1825625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472" name="Rectangle 6"/>
            <p:cNvSpPr>
              <a:spLocks noChangeArrowheads="1"/>
            </p:cNvSpPr>
            <p:nvPr/>
          </p:nvSpPr>
          <p:spPr bwMode="auto">
            <a:xfrm>
              <a:off x="9229725" y="1825625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473" name="AutoShape 19"/>
            <p:cNvCxnSpPr>
              <a:cxnSpLocks noChangeShapeType="1"/>
              <a:stCxn id="4468" idx="2"/>
              <a:endCxn id="4470" idx="0"/>
            </p:cNvCxnSpPr>
            <p:nvPr/>
          </p:nvCxnSpPr>
          <p:spPr bwMode="auto">
            <a:xfrm>
              <a:off x="9072563" y="1778000"/>
              <a:ext cx="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74" name="AutoShape 19"/>
            <p:cNvCxnSpPr>
              <a:cxnSpLocks noChangeShapeType="1"/>
              <a:stCxn id="4468" idx="2"/>
              <a:endCxn id="4471" idx="0"/>
            </p:cNvCxnSpPr>
            <p:nvPr/>
          </p:nvCxnSpPr>
          <p:spPr bwMode="auto">
            <a:xfrm flipH="1">
              <a:off x="8866188" y="1778000"/>
              <a:ext cx="206375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75" name="Rectangle 6"/>
            <p:cNvSpPr>
              <a:spLocks noChangeArrowheads="1"/>
            </p:cNvSpPr>
            <p:nvPr/>
          </p:nvSpPr>
          <p:spPr bwMode="auto">
            <a:xfrm>
              <a:off x="9229725" y="1957388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476" name="AutoShape 19"/>
            <p:cNvCxnSpPr>
              <a:cxnSpLocks noChangeShapeType="1"/>
              <a:stCxn id="4472" idx="2"/>
              <a:endCxn id="4475" idx="0"/>
            </p:cNvCxnSpPr>
            <p:nvPr/>
          </p:nvCxnSpPr>
          <p:spPr bwMode="auto">
            <a:xfrm flipH="1">
              <a:off x="9294813" y="1870075"/>
              <a:ext cx="1587" cy="873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77" name="AutoShape 19"/>
            <p:cNvCxnSpPr>
              <a:cxnSpLocks noChangeShapeType="1"/>
              <a:stCxn id="4472" idx="2"/>
              <a:endCxn id="4505" idx="0"/>
            </p:cNvCxnSpPr>
            <p:nvPr/>
          </p:nvCxnSpPr>
          <p:spPr bwMode="auto">
            <a:xfrm>
              <a:off x="9296400" y="1870075"/>
              <a:ext cx="228600" cy="1270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78" name="Rectangle 6"/>
            <p:cNvSpPr>
              <a:spLocks noChangeArrowheads="1"/>
            </p:cNvSpPr>
            <p:nvPr/>
          </p:nvSpPr>
          <p:spPr bwMode="auto">
            <a:xfrm>
              <a:off x="8912225" y="1962150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479" name="AutoShape 19"/>
            <p:cNvCxnSpPr>
              <a:cxnSpLocks noChangeShapeType="1"/>
              <a:stCxn id="4478" idx="0"/>
              <a:endCxn id="4471" idx="2"/>
            </p:cNvCxnSpPr>
            <p:nvPr/>
          </p:nvCxnSpPr>
          <p:spPr bwMode="auto">
            <a:xfrm flipH="1" flipV="1">
              <a:off x="8866188" y="1870075"/>
              <a:ext cx="112712" cy="920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80" name="Rectangle 6"/>
            <p:cNvSpPr>
              <a:spLocks noChangeArrowheads="1"/>
            </p:cNvSpPr>
            <p:nvPr/>
          </p:nvSpPr>
          <p:spPr bwMode="auto">
            <a:xfrm>
              <a:off x="9012238" y="2078038"/>
              <a:ext cx="131762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481" name="AutoShape 19"/>
            <p:cNvCxnSpPr>
              <a:cxnSpLocks noChangeShapeType="1"/>
              <a:stCxn id="4480" idx="0"/>
              <a:endCxn id="4478" idx="2"/>
            </p:cNvCxnSpPr>
            <p:nvPr/>
          </p:nvCxnSpPr>
          <p:spPr bwMode="auto">
            <a:xfrm flipH="1" flipV="1">
              <a:off x="8978900" y="2005013"/>
              <a:ext cx="100013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82" name="Rectangle 6"/>
            <p:cNvSpPr>
              <a:spLocks noChangeArrowheads="1"/>
            </p:cNvSpPr>
            <p:nvPr/>
          </p:nvSpPr>
          <p:spPr bwMode="auto">
            <a:xfrm>
              <a:off x="8850313" y="2078038"/>
              <a:ext cx="131762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483" name="AutoShape 19"/>
            <p:cNvCxnSpPr>
              <a:cxnSpLocks noChangeShapeType="1"/>
              <a:stCxn id="4478" idx="2"/>
              <a:endCxn id="4482" idx="0"/>
            </p:cNvCxnSpPr>
            <p:nvPr/>
          </p:nvCxnSpPr>
          <p:spPr bwMode="auto">
            <a:xfrm flipH="1">
              <a:off x="8915400" y="2005013"/>
              <a:ext cx="63500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84" name="Rectangle 6"/>
            <p:cNvSpPr>
              <a:spLocks noChangeArrowheads="1"/>
            </p:cNvSpPr>
            <p:nvPr/>
          </p:nvSpPr>
          <p:spPr bwMode="auto">
            <a:xfrm>
              <a:off x="8710613" y="1930400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cxnSp>
          <p:nvCxnSpPr>
            <p:cNvPr id="4485" name="AutoShape 19"/>
            <p:cNvCxnSpPr>
              <a:cxnSpLocks noChangeShapeType="1"/>
              <a:stCxn id="4471" idx="2"/>
              <a:endCxn id="4484" idx="0"/>
            </p:cNvCxnSpPr>
            <p:nvPr/>
          </p:nvCxnSpPr>
          <p:spPr bwMode="auto">
            <a:xfrm flipH="1">
              <a:off x="8775700" y="1870075"/>
              <a:ext cx="90488" cy="603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86" name="Rectangle 6"/>
            <p:cNvSpPr>
              <a:spLocks noChangeArrowheads="1"/>
            </p:cNvSpPr>
            <p:nvPr/>
          </p:nvSpPr>
          <p:spPr bwMode="auto">
            <a:xfrm>
              <a:off x="8208963" y="1851025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487" name="AutoShape 19"/>
            <p:cNvCxnSpPr>
              <a:cxnSpLocks noChangeShapeType="1"/>
              <a:stCxn id="4486" idx="2"/>
              <a:endCxn id="4490" idx="0"/>
            </p:cNvCxnSpPr>
            <p:nvPr/>
          </p:nvCxnSpPr>
          <p:spPr bwMode="auto">
            <a:xfrm>
              <a:off x="8274050" y="1895475"/>
              <a:ext cx="223838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88" name="Rectangle 6"/>
            <p:cNvSpPr>
              <a:spLocks noChangeArrowheads="1"/>
            </p:cNvSpPr>
            <p:nvPr/>
          </p:nvSpPr>
          <p:spPr bwMode="auto">
            <a:xfrm>
              <a:off x="8208963" y="1943100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489" name="Rectangle 6"/>
            <p:cNvSpPr>
              <a:spLocks noChangeArrowheads="1"/>
            </p:cNvSpPr>
            <p:nvPr/>
          </p:nvSpPr>
          <p:spPr bwMode="auto">
            <a:xfrm>
              <a:off x="8002588" y="1943100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490" name="Rectangle 6"/>
            <p:cNvSpPr>
              <a:spLocks noChangeArrowheads="1"/>
            </p:cNvSpPr>
            <p:nvPr/>
          </p:nvSpPr>
          <p:spPr bwMode="auto">
            <a:xfrm>
              <a:off x="8431213" y="1943100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491" name="AutoShape 19"/>
            <p:cNvCxnSpPr>
              <a:cxnSpLocks noChangeShapeType="1"/>
              <a:stCxn id="4486" idx="2"/>
              <a:endCxn id="4488" idx="0"/>
            </p:cNvCxnSpPr>
            <p:nvPr/>
          </p:nvCxnSpPr>
          <p:spPr bwMode="auto">
            <a:xfrm>
              <a:off x="8274050" y="1895475"/>
              <a:ext cx="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92" name="AutoShape 19"/>
            <p:cNvCxnSpPr>
              <a:cxnSpLocks noChangeShapeType="1"/>
              <a:stCxn id="4486" idx="2"/>
              <a:endCxn id="4489" idx="0"/>
            </p:cNvCxnSpPr>
            <p:nvPr/>
          </p:nvCxnSpPr>
          <p:spPr bwMode="auto">
            <a:xfrm flipH="1">
              <a:off x="8067675" y="1895475"/>
              <a:ext cx="206375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93" name="Rectangle 6"/>
            <p:cNvSpPr>
              <a:spLocks noChangeArrowheads="1"/>
            </p:cNvSpPr>
            <p:nvPr/>
          </p:nvSpPr>
          <p:spPr bwMode="auto">
            <a:xfrm>
              <a:off x="8431213" y="2074863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494" name="AutoShape 19"/>
            <p:cNvCxnSpPr>
              <a:cxnSpLocks noChangeShapeType="1"/>
              <a:stCxn id="4490" idx="2"/>
              <a:endCxn id="4493" idx="0"/>
            </p:cNvCxnSpPr>
            <p:nvPr/>
          </p:nvCxnSpPr>
          <p:spPr bwMode="auto">
            <a:xfrm flipH="1">
              <a:off x="8496300" y="1987550"/>
              <a:ext cx="1588" cy="873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95" name="AutoShape 19"/>
            <p:cNvCxnSpPr>
              <a:cxnSpLocks noChangeShapeType="1"/>
              <a:stCxn id="4490" idx="2"/>
              <a:endCxn id="4502" idx="0"/>
            </p:cNvCxnSpPr>
            <p:nvPr/>
          </p:nvCxnSpPr>
          <p:spPr bwMode="auto">
            <a:xfrm>
              <a:off x="8497888" y="1987550"/>
              <a:ext cx="234950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96" name="Rectangle 6"/>
            <p:cNvSpPr>
              <a:spLocks noChangeArrowheads="1"/>
            </p:cNvSpPr>
            <p:nvPr/>
          </p:nvSpPr>
          <p:spPr bwMode="auto">
            <a:xfrm>
              <a:off x="8113713" y="2078038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497" name="AutoShape 19"/>
            <p:cNvCxnSpPr>
              <a:cxnSpLocks noChangeShapeType="1"/>
              <a:stCxn id="4496" idx="0"/>
              <a:endCxn id="4489" idx="2"/>
            </p:cNvCxnSpPr>
            <p:nvPr/>
          </p:nvCxnSpPr>
          <p:spPr bwMode="auto">
            <a:xfrm flipH="1" flipV="1">
              <a:off x="8067675" y="1987550"/>
              <a:ext cx="112713" cy="90488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98" name="AutoShape 19"/>
            <p:cNvCxnSpPr>
              <a:cxnSpLocks noChangeShapeType="1"/>
              <a:stCxn id="4561" idx="0"/>
              <a:endCxn id="4496" idx="2"/>
            </p:cNvCxnSpPr>
            <p:nvPr/>
          </p:nvCxnSpPr>
          <p:spPr bwMode="auto">
            <a:xfrm flipH="1" flipV="1">
              <a:off x="8180388" y="2122488"/>
              <a:ext cx="134937" cy="603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99" name="Rectangle 6"/>
            <p:cNvSpPr>
              <a:spLocks noChangeArrowheads="1"/>
            </p:cNvSpPr>
            <p:nvPr/>
          </p:nvSpPr>
          <p:spPr bwMode="auto">
            <a:xfrm>
              <a:off x="8051800" y="2193925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500" name="AutoShape 19"/>
            <p:cNvCxnSpPr>
              <a:cxnSpLocks noChangeShapeType="1"/>
              <a:stCxn id="4496" idx="2"/>
              <a:endCxn id="4499" idx="0"/>
            </p:cNvCxnSpPr>
            <p:nvPr/>
          </p:nvCxnSpPr>
          <p:spPr bwMode="auto">
            <a:xfrm flipH="1">
              <a:off x="8116888" y="2122488"/>
              <a:ext cx="63500" cy="7143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01" name="Rectangle 6"/>
            <p:cNvSpPr>
              <a:spLocks noChangeArrowheads="1"/>
            </p:cNvSpPr>
            <p:nvPr/>
          </p:nvSpPr>
          <p:spPr bwMode="auto">
            <a:xfrm>
              <a:off x="7912100" y="2047875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sp>
          <p:nvSpPr>
            <p:cNvPr id="4502" name="Rectangle 6"/>
            <p:cNvSpPr>
              <a:spLocks noChangeArrowheads="1"/>
            </p:cNvSpPr>
            <p:nvPr/>
          </p:nvSpPr>
          <p:spPr bwMode="auto">
            <a:xfrm>
              <a:off x="8667750" y="2060575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J</a:t>
              </a:r>
            </a:p>
          </p:txBody>
        </p:sp>
        <p:cxnSp>
          <p:nvCxnSpPr>
            <p:cNvPr id="4503" name="AutoShape 19"/>
            <p:cNvCxnSpPr>
              <a:cxnSpLocks noChangeShapeType="1"/>
              <a:stCxn id="4489" idx="2"/>
              <a:endCxn id="4501" idx="0"/>
            </p:cNvCxnSpPr>
            <p:nvPr/>
          </p:nvCxnSpPr>
          <p:spPr bwMode="auto">
            <a:xfrm flipH="1">
              <a:off x="7977188" y="1987550"/>
              <a:ext cx="90487" cy="603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04" name="AutoShape 19"/>
            <p:cNvCxnSpPr>
              <a:cxnSpLocks noChangeShapeType="1"/>
              <a:stCxn id="4486" idx="0"/>
              <a:endCxn id="4466" idx="2"/>
            </p:cNvCxnSpPr>
            <p:nvPr/>
          </p:nvCxnSpPr>
          <p:spPr bwMode="auto">
            <a:xfrm flipV="1">
              <a:off x="8274050" y="1751013"/>
              <a:ext cx="88900" cy="1000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05" name="Rectangle 6"/>
            <p:cNvSpPr>
              <a:spLocks noChangeArrowheads="1"/>
            </p:cNvSpPr>
            <p:nvPr/>
          </p:nvSpPr>
          <p:spPr bwMode="auto">
            <a:xfrm>
              <a:off x="9458325" y="1997075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506" name="AutoShape 19"/>
            <p:cNvCxnSpPr>
              <a:cxnSpLocks noChangeShapeType="1"/>
              <a:stCxn id="4505" idx="2"/>
              <a:endCxn id="4509" idx="0"/>
            </p:cNvCxnSpPr>
            <p:nvPr/>
          </p:nvCxnSpPr>
          <p:spPr bwMode="auto">
            <a:xfrm>
              <a:off x="9525000" y="2039938"/>
              <a:ext cx="222250" cy="492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07" name="Rectangle 6"/>
            <p:cNvSpPr>
              <a:spLocks noChangeArrowheads="1"/>
            </p:cNvSpPr>
            <p:nvPr/>
          </p:nvSpPr>
          <p:spPr bwMode="auto">
            <a:xfrm>
              <a:off x="9458325" y="2089150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508" name="Rectangle 6"/>
            <p:cNvSpPr>
              <a:spLocks noChangeArrowheads="1"/>
            </p:cNvSpPr>
            <p:nvPr/>
          </p:nvSpPr>
          <p:spPr bwMode="auto">
            <a:xfrm>
              <a:off x="9253538" y="2089150"/>
              <a:ext cx="130175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509" name="Rectangle 6"/>
            <p:cNvSpPr>
              <a:spLocks noChangeArrowheads="1"/>
            </p:cNvSpPr>
            <p:nvPr/>
          </p:nvSpPr>
          <p:spPr bwMode="auto">
            <a:xfrm>
              <a:off x="9682163" y="2089150"/>
              <a:ext cx="131762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510" name="AutoShape 19"/>
            <p:cNvCxnSpPr>
              <a:cxnSpLocks noChangeShapeType="1"/>
              <a:stCxn id="4505" idx="2"/>
              <a:endCxn id="4507" idx="0"/>
            </p:cNvCxnSpPr>
            <p:nvPr/>
          </p:nvCxnSpPr>
          <p:spPr bwMode="auto">
            <a:xfrm>
              <a:off x="9525000" y="2039938"/>
              <a:ext cx="0" cy="492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11" name="AutoShape 19"/>
            <p:cNvCxnSpPr>
              <a:cxnSpLocks noChangeShapeType="1"/>
              <a:stCxn id="4505" idx="2"/>
              <a:endCxn id="4508" idx="0"/>
            </p:cNvCxnSpPr>
            <p:nvPr/>
          </p:nvCxnSpPr>
          <p:spPr bwMode="auto">
            <a:xfrm flipH="1">
              <a:off x="9318625" y="2039938"/>
              <a:ext cx="206375" cy="492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12" name="Rectangle 6"/>
            <p:cNvSpPr>
              <a:spLocks noChangeArrowheads="1"/>
            </p:cNvSpPr>
            <p:nvPr/>
          </p:nvSpPr>
          <p:spPr bwMode="auto">
            <a:xfrm>
              <a:off x="9682163" y="2220913"/>
              <a:ext cx="130175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513" name="AutoShape 19"/>
            <p:cNvCxnSpPr>
              <a:cxnSpLocks noChangeShapeType="1"/>
              <a:stCxn id="4509" idx="2"/>
              <a:endCxn id="4512" idx="0"/>
            </p:cNvCxnSpPr>
            <p:nvPr/>
          </p:nvCxnSpPr>
          <p:spPr bwMode="auto">
            <a:xfrm flipH="1">
              <a:off x="9747250" y="2132013"/>
              <a:ext cx="0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14" name="AutoShape 19"/>
            <p:cNvCxnSpPr>
              <a:cxnSpLocks noChangeShapeType="1"/>
              <a:stCxn id="4509" idx="2"/>
              <a:endCxn id="4523" idx="0"/>
            </p:cNvCxnSpPr>
            <p:nvPr/>
          </p:nvCxnSpPr>
          <p:spPr bwMode="auto">
            <a:xfrm>
              <a:off x="9747250" y="2132013"/>
              <a:ext cx="190500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15" name="Rectangle 6"/>
            <p:cNvSpPr>
              <a:spLocks noChangeArrowheads="1"/>
            </p:cNvSpPr>
            <p:nvPr/>
          </p:nvSpPr>
          <p:spPr bwMode="auto">
            <a:xfrm>
              <a:off x="9364663" y="2224088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516" name="AutoShape 19"/>
            <p:cNvCxnSpPr>
              <a:cxnSpLocks noChangeShapeType="1"/>
              <a:stCxn id="4515" idx="0"/>
              <a:endCxn id="4508" idx="2"/>
            </p:cNvCxnSpPr>
            <p:nvPr/>
          </p:nvCxnSpPr>
          <p:spPr bwMode="auto">
            <a:xfrm flipH="1" flipV="1">
              <a:off x="9318625" y="2132013"/>
              <a:ext cx="111125" cy="920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17" name="Rectangle 6"/>
            <p:cNvSpPr>
              <a:spLocks noChangeArrowheads="1"/>
            </p:cNvSpPr>
            <p:nvPr/>
          </p:nvSpPr>
          <p:spPr bwMode="auto">
            <a:xfrm>
              <a:off x="9464675" y="2339975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518" name="AutoShape 19"/>
            <p:cNvCxnSpPr>
              <a:cxnSpLocks noChangeShapeType="1"/>
              <a:stCxn id="4517" idx="0"/>
              <a:endCxn id="4515" idx="2"/>
            </p:cNvCxnSpPr>
            <p:nvPr/>
          </p:nvCxnSpPr>
          <p:spPr bwMode="auto">
            <a:xfrm flipH="1" flipV="1">
              <a:off x="9429750" y="2268538"/>
              <a:ext cx="100013" cy="7143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19" name="Rectangle 6"/>
            <p:cNvSpPr>
              <a:spLocks noChangeArrowheads="1"/>
            </p:cNvSpPr>
            <p:nvPr/>
          </p:nvSpPr>
          <p:spPr bwMode="auto">
            <a:xfrm>
              <a:off x="9302750" y="2339975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520" name="AutoShape 19"/>
            <p:cNvCxnSpPr>
              <a:cxnSpLocks noChangeShapeType="1"/>
              <a:stCxn id="4515" idx="2"/>
              <a:endCxn id="4519" idx="0"/>
            </p:cNvCxnSpPr>
            <p:nvPr/>
          </p:nvCxnSpPr>
          <p:spPr bwMode="auto">
            <a:xfrm flipH="1">
              <a:off x="9367838" y="2268538"/>
              <a:ext cx="61912" cy="7143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21" name="Rectangle 6"/>
            <p:cNvSpPr>
              <a:spLocks noChangeArrowheads="1"/>
            </p:cNvSpPr>
            <p:nvPr/>
          </p:nvSpPr>
          <p:spPr bwMode="auto">
            <a:xfrm>
              <a:off x="9161463" y="2193925"/>
              <a:ext cx="131762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cxnSp>
          <p:nvCxnSpPr>
            <p:cNvPr id="4522" name="AutoShape 19"/>
            <p:cNvCxnSpPr>
              <a:cxnSpLocks noChangeShapeType="1"/>
              <a:stCxn id="4508" idx="2"/>
              <a:endCxn id="4521" idx="0"/>
            </p:cNvCxnSpPr>
            <p:nvPr/>
          </p:nvCxnSpPr>
          <p:spPr bwMode="auto">
            <a:xfrm flipH="1">
              <a:off x="9228138" y="2132013"/>
              <a:ext cx="90487" cy="619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23" name="Rectangle 6"/>
            <p:cNvSpPr>
              <a:spLocks noChangeArrowheads="1"/>
            </p:cNvSpPr>
            <p:nvPr/>
          </p:nvSpPr>
          <p:spPr bwMode="auto">
            <a:xfrm>
              <a:off x="9871075" y="2220913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524" name="AutoShape 19"/>
            <p:cNvCxnSpPr>
              <a:cxnSpLocks noChangeShapeType="1"/>
              <a:stCxn id="4523" idx="2"/>
              <a:endCxn id="4527" idx="0"/>
            </p:cNvCxnSpPr>
            <p:nvPr/>
          </p:nvCxnSpPr>
          <p:spPr bwMode="auto">
            <a:xfrm>
              <a:off x="9937750" y="2265363"/>
              <a:ext cx="22225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25" name="Rectangle 6"/>
            <p:cNvSpPr>
              <a:spLocks noChangeArrowheads="1"/>
            </p:cNvSpPr>
            <p:nvPr/>
          </p:nvSpPr>
          <p:spPr bwMode="auto">
            <a:xfrm>
              <a:off x="9871075" y="2312988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526" name="Rectangle 6"/>
            <p:cNvSpPr>
              <a:spLocks noChangeArrowheads="1"/>
            </p:cNvSpPr>
            <p:nvPr/>
          </p:nvSpPr>
          <p:spPr bwMode="auto">
            <a:xfrm>
              <a:off x="9666288" y="2312988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527" name="Rectangle 6"/>
            <p:cNvSpPr>
              <a:spLocks noChangeArrowheads="1"/>
            </p:cNvSpPr>
            <p:nvPr/>
          </p:nvSpPr>
          <p:spPr bwMode="auto">
            <a:xfrm>
              <a:off x="10094913" y="2312988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528" name="AutoShape 19"/>
            <p:cNvCxnSpPr>
              <a:cxnSpLocks noChangeShapeType="1"/>
              <a:stCxn id="4523" idx="2"/>
              <a:endCxn id="4525" idx="0"/>
            </p:cNvCxnSpPr>
            <p:nvPr/>
          </p:nvCxnSpPr>
          <p:spPr bwMode="auto">
            <a:xfrm>
              <a:off x="9937750" y="2265363"/>
              <a:ext cx="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29" name="AutoShape 19"/>
            <p:cNvCxnSpPr>
              <a:cxnSpLocks noChangeShapeType="1"/>
              <a:stCxn id="4523" idx="2"/>
              <a:endCxn id="4526" idx="0"/>
            </p:cNvCxnSpPr>
            <p:nvPr/>
          </p:nvCxnSpPr>
          <p:spPr bwMode="auto">
            <a:xfrm flipH="1">
              <a:off x="9731375" y="2265363"/>
              <a:ext cx="206375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30" name="Rectangle 6"/>
            <p:cNvSpPr>
              <a:spLocks noChangeArrowheads="1"/>
            </p:cNvSpPr>
            <p:nvPr/>
          </p:nvSpPr>
          <p:spPr bwMode="auto">
            <a:xfrm>
              <a:off x="10093325" y="2444750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531" name="AutoShape 19"/>
            <p:cNvCxnSpPr>
              <a:cxnSpLocks noChangeShapeType="1"/>
              <a:stCxn id="4527" idx="2"/>
              <a:endCxn id="4530" idx="0"/>
            </p:cNvCxnSpPr>
            <p:nvPr/>
          </p:nvCxnSpPr>
          <p:spPr bwMode="auto">
            <a:xfrm flipH="1">
              <a:off x="10160000" y="2357438"/>
              <a:ext cx="0" cy="873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32" name="AutoShape 19"/>
            <p:cNvCxnSpPr>
              <a:cxnSpLocks noChangeShapeType="1"/>
              <a:stCxn id="4527" idx="2"/>
              <a:endCxn id="4539" idx="0"/>
            </p:cNvCxnSpPr>
            <p:nvPr/>
          </p:nvCxnSpPr>
          <p:spPr bwMode="auto">
            <a:xfrm>
              <a:off x="10160000" y="2357438"/>
              <a:ext cx="236538" cy="746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33" name="Rectangle 6"/>
            <p:cNvSpPr>
              <a:spLocks noChangeArrowheads="1"/>
            </p:cNvSpPr>
            <p:nvPr/>
          </p:nvSpPr>
          <p:spPr bwMode="auto">
            <a:xfrm>
              <a:off x="9777413" y="2447925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534" name="AutoShape 19"/>
            <p:cNvCxnSpPr>
              <a:cxnSpLocks noChangeShapeType="1"/>
              <a:stCxn id="4533" idx="0"/>
              <a:endCxn id="4526" idx="2"/>
            </p:cNvCxnSpPr>
            <p:nvPr/>
          </p:nvCxnSpPr>
          <p:spPr bwMode="auto">
            <a:xfrm flipH="1" flipV="1">
              <a:off x="9731375" y="2357438"/>
              <a:ext cx="111125" cy="9048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35" name="AutoShape 19"/>
            <p:cNvCxnSpPr>
              <a:cxnSpLocks noChangeShapeType="1"/>
              <a:stCxn id="4579" idx="0"/>
              <a:endCxn id="4533" idx="2"/>
            </p:cNvCxnSpPr>
            <p:nvPr/>
          </p:nvCxnSpPr>
          <p:spPr bwMode="auto">
            <a:xfrm flipH="1" flipV="1">
              <a:off x="9842500" y="2492375"/>
              <a:ext cx="125413" cy="746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36" name="Rectangle 6"/>
            <p:cNvSpPr>
              <a:spLocks noChangeArrowheads="1"/>
            </p:cNvSpPr>
            <p:nvPr/>
          </p:nvSpPr>
          <p:spPr bwMode="auto">
            <a:xfrm>
              <a:off x="9713913" y="2565400"/>
              <a:ext cx="131762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537" name="AutoShape 19"/>
            <p:cNvCxnSpPr>
              <a:cxnSpLocks noChangeShapeType="1"/>
              <a:stCxn id="4533" idx="2"/>
              <a:endCxn id="4536" idx="0"/>
            </p:cNvCxnSpPr>
            <p:nvPr/>
          </p:nvCxnSpPr>
          <p:spPr bwMode="auto">
            <a:xfrm flipH="1">
              <a:off x="9780588" y="2492375"/>
              <a:ext cx="61912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38" name="Rectangle 6"/>
            <p:cNvSpPr>
              <a:spLocks noChangeArrowheads="1"/>
            </p:cNvSpPr>
            <p:nvPr/>
          </p:nvSpPr>
          <p:spPr bwMode="auto">
            <a:xfrm>
              <a:off x="9574213" y="2417763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sp>
          <p:nvSpPr>
            <p:cNvPr id="4539" name="Rectangle 6"/>
            <p:cNvSpPr>
              <a:spLocks noChangeArrowheads="1"/>
            </p:cNvSpPr>
            <p:nvPr/>
          </p:nvSpPr>
          <p:spPr bwMode="auto">
            <a:xfrm>
              <a:off x="10331450" y="2432050"/>
              <a:ext cx="130175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J</a:t>
              </a:r>
            </a:p>
          </p:txBody>
        </p:sp>
        <p:cxnSp>
          <p:nvCxnSpPr>
            <p:cNvPr id="4540" name="AutoShape 19"/>
            <p:cNvCxnSpPr>
              <a:cxnSpLocks noChangeShapeType="1"/>
              <a:stCxn id="4526" idx="2"/>
              <a:endCxn id="4538" idx="0"/>
            </p:cNvCxnSpPr>
            <p:nvPr/>
          </p:nvCxnSpPr>
          <p:spPr bwMode="auto">
            <a:xfrm flipH="1">
              <a:off x="9639300" y="2357438"/>
              <a:ext cx="92075" cy="603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41" name="Rectangle 6"/>
            <p:cNvSpPr>
              <a:spLocks noChangeArrowheads="1"/>
            </p:cNvSpPr>
            <p:nvPr/>
          </p:nvSpPr>
          <p:spPr bwMode="auto">
            <a:xfrm>
              <a:off x="9072563" y="2338388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542" name="AutoShape 19"/>
            <p:cNvCxnSpPr>
              <a:cxnSpLocks noChangeShapeType="1"/>
              <a:stCxn id="4541" idx="2"/>
              <a:endCxn id="4545" idx="0"/>
            </p:cNvCxnSpPr>
            <p:nvPr/>
          </p:nvCxnSpPr>
          <p:spPr bwMode="auto">
            <a:xfrm>
              <a:off x="9139238" y="2382838"/>
              <a:ext cx="22225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43" name="Rectangle 6"/>
            <p:cNvSpPr>
              <a:spLocks noChangeArrowheads="1"/>
            </p:cNvSpPr>
            <p:nvPr/>
          </p:nvSpPr>
          <p:spPr bwMode="auto">
            <a:xfrm>
              <a:off x="9072563" y="2430463"/>
              <a:ext cx="131762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544" name="Rectangle 6"/>
            <p:cNvSpPr>
              <a:spLocks noChangeArrowheads="1"/>
            </p:cNvSpPr>
            <p:nvPr/>
          </p:nvSpPr>
          <p:spPr bwMode="auto">
            <a:xfrm>
              <a:off x="8867775" y="2430463"/>
              <a:ext cx="130175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545" name="Rectangle 6"/>
            <p:cNvSpPr>
              <a:spLocks noChangeArrowheads="1"/>
            </p:cNvSpPr>
            <p:nvPr/>
          </p:nvSpPr>
          <p:spPr bwMode="auto">
            <a:xfrm>
              <a:off x="9296400" y="2430463"/>
              <a:ext cx="130175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546" name="AutoShape 19"/>
            <p:cNvCxnSpPr>
              <a:cxnSpLocks noChangeShapeType="1"/>
              <a:stCxn id="4541" idx="2"/>
              <a:endCxn id="4543" idx="0"/>
            </p:cNvCxnSpPr>
            <p:nvPr/>
          </p:nvCxnSpPr>
          <p:spPr bwMode="auto">
            <a:xfrm>
              <a:off x="9139238" y="2382838"/>
              <a:ext cx="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47" name="AutoShape 19"/>
            <p:cNvCxnSpPr>
              <a:cxnSpLocks noChangeShapeType="1"/>
              <a:stCxn id="4541" idx="2"/>
              <a:endCxn id="4544" idx="0"/>
            </p:cNvCxnSpPr>
            <p:nvPr/>
          </p:nvCxnSpPr>
          <p:spPr bwMode="auto">
            <a:xfrm flipH="1">
              <a:off x="8932863" y="2382838"/>
              <a:ext cx="206375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48" name="Rectangle 6"/>
            <p:cNvSpPr>
              <a:spLocks noChangeArrowheads="1"/>
            </p:cNvSpPr>
            <p:nvPr/>
          </p:nvSpPr>
          <p:spPr bwMode="auto">
            <a:xfrm>
              <a:off x="9294813" y="2562225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549" name="AutoShape 19"/>
            <p:cNvCxnSpPr>
              <a:cxnSpLocks noChangeShapeType="1"/>
              <a:stCxn id="4545" idx="2"/>
              <a:endCxn id="4548" idx="0"/>
            </p:cNvCxnSpPr>
            <p:nvPr/>
          </p:nvCxnSpPr>
          <p:spPr bwMode="auto">
            <a:xfrm flipH="1">
              <a:off x="9361488" y="2473325"/>
              <a:ext cx="0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50" name="AutoShape 19"/>
            <p:cNvCxnSpPr>
              <a:cxnSpLocks noChangeShapeType="1"/>
              <a:stCxn id="4545" idx="2"/>
              <a:endCxn id="4558" idx="0"/>
            </p:cNvCxnSpPr>
            <p:nvPr/>
          </p:nvCxnSpPr>
          <p:spPr bwMode="auto">
            <a:xfrm>
              <a:off x="9361488" y="2473325"/>
              <a:ext cx="236537" cy="746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51" name="Rectangle 6"/>
            <p:cNvSpPr>
              <a:spLocks noChangeArrowheads="1"/>
            </p:cNvSpPr>
            <p:nvPr/>
          </p:nvSpPr>
          <p:spPr bwMode="auto">
            <a:xfrm>
              <a:off x="8978900" y="2565400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552" name="AutoShape 19"/>
            <p:cNvCxnSpPr>
              <a:cxnSpLocks noChangeShapeType="1"/>
              <a:stCxn id="4551" idx="0"/>
              <a:endCxn id="4544" idx="2"/>
            </p:cNvCxnSpPr>
            <p:nvPr/>
          </p:nvCxnSpPr>
          <p:spPr bwMode="auto">
            <a:xfrm flipH="1" flipV="1">
              <a:off x="8932863" y="2473325"/>
              <a:ext cx="111125" cy="920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53" name="Rectangle 6"/>
            <p:cNvSpPr>
              <a:spLocks noChangeArrowheads="1"/>
            </p:cNvSpPr>
            <p:nvPr/>
          </p:nvSpPr>
          <p:spPr bwMode="auto">
            <a:xfrm>
              <a:off x="9078913" y="2681288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554" name="AutoShape 19"/>
            <p:cNvCxnSpPr>
              <a:cxnSpLocks noChangeShapeType="1"/>
              <a:stCxn id="4553" idx="0"/>
              <a:endCxn id="4551" idx="2"/>
            </p:cNvCxnSpPr>
            <p:nvPr/>
          </p:nvCxnSpPr>
          <p:spPr bwMode="auto">
            <a:xfrm flipH="1" flipV="1">
              <a:off x="9043988" y="2609850"/>
              <a:ext cx="100012" cy="71438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55" name="Rectangle 6"/>
            <p:cNvSpPr>
              <a:spLocks noChangeArrowheads="1"/>
            </p:cNvSpPr>
            <p:nvPr/>
          </p:nvSpPr>
          <p:spPr bwMode="auto">
            <a:xfrm>
              <a:off x="8915400" y="2681288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556" name="AutoShape 19"/>
            <p:cNvCxnSpPr>
              <a:cxnSpLocks noChangeShapeType="1"/>
              <a:stCxn id="4551" idx="2"/>
              <a:endCxn id="4555" idx="0"/>
            </p:cNvCxnSpPr>
            <p:nvPr/>
          </p:nvCxnSpPr>
          <p:spPr bwMode="auto">
            <a:xfrm flipH="1">
              <a:off x="8982075" y="2609850"/>
              <a:ext cx="61913" cy="71438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57" name="Rectangle 6"/>
            <p:cNvSpPr>
              <a:spLocks noChangeArrowheads="1"/>
            </p:cNvSpPr>
            <p:nvPr/>
          </p:nvSpPr>
          <p:spPr bwMode="auto">
            <a:xfrm>
              <a:off x="8775700" y="2535238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sp>
          <p:nvSpPr>
            <p:cNvPr id="4558" name="Rectangle 6"/>
            <p:cNvSpPr>
              <a:spLocks noChangeArrowheads="1"/>
            </p:cNvSpPr>
            <p:nvPr/>
          </p:nvSpPr>
          <p:spPr bwMode="auto">
            <a:xfrm>
              <a:off x="9532938" y="2547938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J</a:t>
              </a:r>
            </a:p>
          </p:txBody>
        </p:sp>
        <p:cxnSp>
          <p:nvCxnSpPr>
            <p:cNvPr id="4559" name="AutoShape 19"/>
            <p:cNvCxnSpPr>
              <a:cxnSpLocks noChangeShapeType="1"/>
              <a:stCxn id="4544" idx="2"/>
              <a:endCxn id="4557" idx="0"/>
            </p:cNvCxnSpPr>
            <p:nvPr/>
          </p:nvCxnSpPr>
          <p:spPr bwMode="auto">
            <a:xfrm flipH="1">
              <a:off x="8840788" y="2473325"/>
              <a:ext cx="92075" cy="619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60" name="AutoShape 19"/>
            <p:cNvCxnSpPr>
              <a:cxnSpLocks noChangeShapeType="1"/>
              <a:stCxn id="4541" idx="0"/>
              <a:endCxn id="4521" idx="2"/>
            </p:cNvCxnSpPr>
            <p:nvPr/>
          </p:nvCxnSpPr>
          <p:spPr bwMode="auto">
            <a:xfrm flipV="1">
              <a:off x="9139238" y="2236788"/>
              <a:ext cx="88900" cy="1016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61" name="Rectangle 6"/>
            <p:cNvSpPr>
              <a:spLocks noChangeArrowheads="1"/>
            </p:cNvSpPr>
            <p:nvPr/>
          </p:nvSpPr>
          <p:spPr bwMode="auto">
            <a:xfrm>
              <a:off x="8250238" y="2182813"/>
              <a:ext cx="131762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562" name="AutoShape 19"/>
            <p:cNvCxnSpPr>
              <a:cxnSpLocks noChangeShapeType="1"/>
              <a:stCxn id="4561" idx="2"/>
              <a:endCxn id="4565" idx="0"/>
            </p:cNvCxnSpPr>
            <p:nvPr/>
          </p:nvCxnSpPr>
          <p:spPr bwMode="auto">
            <a:xfrm>
              <a:off x="8315325" y="2225675"/>
              <a:ext cx="223838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63" name="Rectangle 6"/>
            <p:cNvSpPr>
              <a:spLocks noChangeArrowheads="1"/>
            </p:cNvSpPr>
            <p:nvPr/>
          </p:nvSpPr>
          <p:spPr bwMode="auto">
            <a:xfrm>
              <a:off x="8250238" y="2273300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564" name="Rectangle 6"/>
            <p:cNvSpPr>
              <a:spLocks noChangeArrowheads="1"/>
            </p:cNvSpPr>
            <p:nvPr/>
          </p:nvSpPr>
          <p:spPr bwMode="auto">
            <a:xfrm>
              <a:off x="8043863" y="2273300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565" name="Rectangle 6"/>
            <p:cNvSpPr>
              <a:spLocks noChangeArrowheads="1"/>
            </p:cNvSpPr>
            <p:nvPr/>
          </p:nvSpPr>
          <p:spPr bwMode="auto">
            <a:xfrm>
              <a:off x="8474075" y="2273300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566" name="AutoShape 19"/>
            <p:cNvCxnSpPr>
              <a:cxnSpLocks noChangeShapeType="1"/>
              <a:stCxn id="4561" idx="2"/>
              <a:endCxn id="4563" idx="0"/>
            </p:cNvCxnSpPr>
            <p:nvPr/>
          </p:nvCxnSpPr>
          <p:spPr bwMode="auto">
            <a:xfrm>
              <a:off x="8315325" y="2225675"/>
              <a:ext cx="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67" name="AutoShape 19"/>
            <p:cNvCxnSpPr>
              <a:cxnSpLocks noChangeShapeType="1"/>
              <a:stCxn id="4561" idx="2"/>
              <a:endCxn id="4564" idx="0"/>
            </p:cNvCxnSpPr>
            <p:nvPr/>
          </p:nvCxnSpPr>
          <p:spPr bwMode="auto">
            <a:xfrm flipH="1">
              <a:off x="8110538" y="2225675"/>
              <a:ext cx="204787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68" name="AutoShape 19"/>
            <p:cNvCxnSpPr>
              <a:cxnSpLocks noChangeShapeType="1"/>
              <a:stCxn id="4565" idx="2"/>
              <a:endCxn id="4776" idx="0"/>
            </p:cNvCxnSpPr>
            <p:nvPr/>
          </p:nvCxnSpPr>
          <p:spPr bwMode="auto">
            <a:xfrm>
              <a:off x="8539163" y="2317750"/>
              <a:ext cx="20637" cy="274638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69" name="AutoShape 19"/>
            <p:cNvCxnSpPr>
              <a:cxnSpLocks noChangeShapeType="1"/>
              <a:stCxn id="4565" idx="2"/>
              <a:endCxn id="4577" idx="0"/>
            </p:cNvCxnSpPr>
            <p:nvPr/>
          </p:nvCxnSpPr>
          <p:spPr bwMode="auto">
            <a:xfrm>
              <a:off x="8539163" y="2317750"/>
              <a:ext cx="236537" cy="746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70" name="Rectangle 6"/>
            <p:cNvSpPr>
              <a:spLocks noChangeArrowheads="1"/>
            </p:cNvSpPr>
            <p:nvPr/>
          </p:nvSpPr>
          <p:spPr bwMode="auto">
            <a:xfrm>
              <a:off x="8154988" y="2409825"/>
              <a:ext cx="131762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571" name="AutoShape 19"/>
            <p:cNvCxnSpPr>
              <a:cxnSpLocks noChangeShapeType="1"/>
              <a:stCxn id="4570" idx="0"/>
              <a:endCxn id="4564" idx="2"/>
            </p:cNvCxnSpPr>
            <p:nvPr/>
          </p:nvCxnSpPr>
          <p:spPr bwMode="auto">
            <a:xfrm flipH="1" flipV="1">
              <a:off x="8110538" y="2317750"/>
              <a:ext cx="111125" cy="920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72" name="Rectangle 6"/>
            <p:cNvSpPr>
              <a:spLocks noChangeArrowheads="1"/>
            </p:cNvSpPr>
            <p:nvPr/>
          </p:nvSpPr>
          <p:spPr bwMode="auto">
            <a:xfrm>
              <a:off x="8255000" y="2525713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573" name="AutoShape 19"/>
            <p:cNvCxnSpPr>
              <a:cxnSpLocks noChangeShapeType="1"/>
              <a:stCxn id="4572" idx="0"/>
              <a:endCxn id="4570" idx="2"/>
            </p:cNvCxnSpPr>
            <p:nvPr/>
          </p:nvCxnSpPr>
          <p:spPr bwMode="auto">
            <a:xfrm flipH="1" flipV="1">
              <a:off x="8221663" y="2452688"/>
              <a:ext cx="100012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74" name="Rectangle 6"/>
            <p:cNvSpPr>
              <a:spLocks noChangeArrowheads="1"/>
            </p:cNvSpPr>
            <p:nvPr/>
          </p:nvSpPr>
          <p:spPr bwMode="auto">
            <a:xfrm>
              <a:off x="8093075" y="2525713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575" name="AutoShape 19"/>
            <p:cNvCxnSpPr>
              <a:cxnSpLocks noChangeShapeType="1"/>
              <a:stCxn id="4570" idx="2"/>
              <a:endCxn id="4574" idx="0"/>
            </p:cNvCxnSpPr>
            <p:nvPr/>
          </p:nvCxnSpPr>
          <p:spPr bwMode="auto">
            <a:xfrm flipH="1">
              <a:off x="8158163" y="2452688"/>
              <a:ext cx="63500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76" name="Rectangle 6"/>
            <p:cNvSpPr>
              <a:spLocks noChangeArrowheads="1"/>
            </p:cNvSpPr>
            <p:nvPr/>
          </p:nvSpPr>
          <p:spPr bwMode="auto">
            <a:xfrm>
              <a:off x="7953375" y="2379663"/>
              <a:ext cx="130175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sp>
          <p:nvSpPr>
            <p:cNvPr id="4577" name="Rectangle 6"/>
            <p:cNvSpPr>
              <a:spLocks noChangeArrowheads="1"/>
            </p:cNvSpPr>
            <p:nvPr/>
          </p:nvSpPr>
          <p:spPr bwMode="auto">
            <a:xfrm>
              <a:off x="8709025" y="2392363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J</a:t>
              </a:r>
            </a:p>
          </p:txBody>
        </p:sp>
        <p:cxnSp>
          <p:nvCxnSpPr>
            <p:cNvPr id="4578" name="AutoShape 19"/>
            <p:cNvCxnSpPr>
              <a:cxnSpLocks noChangeShapeType="1"/>
              <a:stCxn id="4564" idx="2"/>
              <a:endCxn id="4576" idx="0"/>
            </p:cNvCxnSpPr>
            <p:nvPr/>
          </p:nvCxnSpPr>
          <p:spPr bwMode="auto">
            <a:xfrm flipH="1">
              <a:off x="8018463" y="2317750"/>
              <a:ext cx="92075" cy="619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79" name="Rectangle 6"/>
            <p:cNvSpPr>
              <a:spLocks noChangeArrowheads="1"/>
            </p:cNvSpPr>
            <p:nvPr/>
          </p:nvSpPr>
          <p:spPr bwMode="auto">
            <a:xfrm>
              <a:off x="9901238" y="2566988"/>
              <a:ext cx="131762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580" name="AutoShape 19"/>
            <p:cNvCxnSpPr>
              <a:cxnSpLocks noChangeShapeType="1"/>
              <a:stCxn id="4579" idx="2"/>
              <a:endCxn id="4583" idx="0"/>
            </p:cNvCxnSpPr>
            <p:nvPr/>
          </p:nvCxnSpPr>
          <p:spPr bwMode="auto">
            <a:xfrm>
              <a:off x="9967913" y="2609850"/>
              <a:ext cx="222250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81" name="Rectangle 6"/>
            <p:cNvSpPr>
              <a:spLocks noChangeArrowheads="1"/>
            </p:cNvSpPr>
            <p:nvPr/>
          </p:nvSpPr>
          <p:spPr bwMode="auto">
            <a:xfrm>
              <a:off x="9901238" y="2659063"/>
              <a:ext cx="131762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582" name="Rectangle 6"/>
            <p:cNvSpPr>
              <a:spLocks noChangeArrowheads="1"/>
            </p:cNvSpPr>
            <p:nvPr/>
          </p:nvSpPr>
          <p:spPr bwMode="auto">
            <a:xfrm>
              <a:off x="9694863" y="2659063"/>
              <a:ext cx="131762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583" name="Rectangle 6"/>
            <p:cNvSpPr>
              <a:spLocks noChangeArrowheads="1"/>
            </p:cNvSpPr>
            <p:nvPr/>
          </p:nvSpPr>
          <p:spPr bwMode="auto">
            <a:xfrm>
              <a:off x="10125075" y="2659063"/>
              <a:ext cx="130175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584" name="AutoShape 19"/>
            <p:cNvCxnSpPr>
              <a:cxnSpLocks noChangeShapeType="1"/>
              <a:stCxn id="4579" idx="2"/>
              <a:endCxn id="4581" idx="0"/>
            </p:cNvCxnSpPr>
            <p:nvPr/>
          </p:nvCxnSpPr>
          <p:spPr bwMode="auto">
            <a:xfrm>
              <a:off x="9967913" y="2609850"/>
              <a:ext cx="0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85" name="AutoShape 19"/>
            <p:cNvCxnSpPr>
              <a:cxnSpLocks noChangeShapeType="1"/>
              <a:stCxn id="4579" idx="2"/>
              <a:endCxn id="4582" idx="0"/>
            </p:cNvCxnSpPr>
            <p:nvPr/>
          </p:nvCxnSpPr>
          <p:spPr bwMode="auto">
            <a:xfrm flipH="1">
              <a:off x="9761538" y="2609850"/>
              <a:ext cx="206375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86" name="Rectangle 6"/>
            <p:cNvSpPr>
              <a:spLocks noChangeArrowheads="1"/>
            </p:cNvSpPr>
            <p:nvPr/>
          </p:nvSpPr>
          <p:spPr bwMode="auto">
            <a:xfrm>
              <a:off x="10123488" y="2790825"/>
              <a:ext cx="131762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587" name="AutoShape 19"/>
            <p:cNvCxnSpPr>
              <a:cxnSpLocks noChangeShapeType="1"/>
              <a:stCxn id="4583" idx="2"/>
              <a:endCxn id="4586" idx="0"/>
            </p:cNvCxnSpPr>
            <p:nvPr/>
          </p:nvCxnSpPr>
          <p:spPr bwMode="auto">
            <a:xfrm flipH="1">
              <a:off x="10190163" y="2701925"/>
              <a:ext cx="0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88" name="AutoShape 19"/>
            <p:cNvCxnSpPr>
              <a:cxnSpLocks noChangeShapeType="1"/>
              <a:stCxn id="4583" idx="2"/>
              <a:endCxn id="4597" idx="0"/>
            </p:cNvCxnSpPr>
            <p:nvPr/>
          </p:nvCxnSpPr>
          <p:spPr bwMode="auto">
            <a:xfrm>
              <a:off x="10190163" y="2701925"/>
              <a:ext cx="188912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89" name="Rectangle 6"/>
            <p:cNvSpPr>
              <a:spLocks noChangeArrowheads="1"/>
            </p:cNvSpPr>
            <p:nvPr/>
          </p:nvSpPr>
          <p:spPr bwMode="auto">
            <a:xfrm>
              <a:off x="9807575" y="2794000"/>
              <a:ext cx="130175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590" name="AutoShape 19"/>
            <p:cNvCxnSpPr>
              <a:cxnSpLocks noChangeShapeType="1"/>
              <a:stCxn id="4589" idx="0"/>
              <a:endCxn id="4582" idx="2"/>
            </p:cNvCxnSpPr>
            <p:nvPr/>
          </p:nvCxnSpPr>
          <p:spPr bwMode="auto">
            <a:xfrm flipH="1" flipV="1">
              <a:off x="9761538" y="2701925"/>
              <a:ext cx="111125" cy="920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91" name="Rectangle 6"/>
            <p:cNvSpPr>
              <a:spLocks noChangeArrowheads="1"/>
            </p:cNvSpPr>
            <p:nvPr/>
          </p:nvSpPr>
          <p:spPr bwMode="auto">
            <a:xfrm>
              <a:off x="9906000" y="2909888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592" name="AutoShape 19"/>
            <p:cNvCxnSpPr>
              <a:cxnSpLocks noChangeShapeType="1"/>
              <a:stCxn id="4591" idx="0"/>
              <a:endCxn id="4589" idx="2"/>
            </p:cNvCxnSpPr>
            <p:nvPr/>
          </p:nvCxnSpPr>
          <p:spPr bwMode="auto">
            <a:xfrm flipH="1" flipV="1">
              <a:off x="9872663" y="2836863"/>
              <a:ext cx="100012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93" name="Rectangle 6"/>
            <p:cNvSpPr>
              <a:spLocks noChangeArrowheads="1"/>
            </p:cNvSpPr>
            <p:nvPr/>
          </p:nvSpPr>
          <p:spPr bwMode="auto">
            <a:xfrm>
              <a:off x="9744075" y="2909888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594" name="AutoShape 19"/>
            <p:cNvCxnSpPr>
              <a:cxnSpLocks noChangeShapeType="1"/>
              <a:stCxn id="4589" idx="2"/>
              <a:endCxn id="4593" idx="0"/>
            </p:cNvCxnSpPr>
            <p:nvPr/>
          </p:nvCxnSpPr>
          <p:spPr bwMode="auto">
            <a:xfrm flipH="1">
              <a:off x="9810750" y="2836863"/>
              <a:ext cx="61913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95" name="Rectangle 6"/>
            <p:cNvSpPr>
              <a:spLocks noChangeArrowheads="1"/>
            </p:cNvSpPr>
            <p:nvPr/>
          </p:nvSpPr>
          <p:spPr bwMode="auto">
            <a:xfrm>
              <a:off x="9604375" y="2763838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cxnSp>
          <p:nvCxnSpPr>
            <p:cNvPr id="4596" name="AutoShape 19"/>
            <p:cNvCxnSpPr>
              <a:cxnSpLocks noChangeShapeType="1"/>
              <a:stCxn id="4582" idx="2"/>
              <a:endCxn id="4595" idx="0"/>
            </p:cNvCxnSpPr>
            <p:nvPr/>
          </p:nvCxnSpPr>
          <p:spPr bwMode="auto">
            <a:xfrm flipH="1">
              <a:off x="9669463" y="2701925"/>
              <a:ext cx="92075" cy="619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97" name="Rectangle 6"/>
            <p:cNvSpPr>
              <a:spLocks noChangeArrowheads="1"/>
            </p:cNvSpPr>
            <p:nvPr/>
          </p:nvSpPr>
          <p:spPr bwMode="auto">
            <a:xfrm>
              <a:off x="10313988" y="2790825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598" name="AutoShape 19"/>
            <p:cNvCxnSpPr>
              <a:cxnSpLocks noChangeShapeType="1"/>
              <a:stCxn id="4597" idx="2"/>
              <a:endCxn id="4601" idx="0"/>
            </p:cNvCxnSpPr>
            <p:nvPr/>
          </p:nvCxnSpPr>
          <p:spPr bwMode="auto">
            <a:xfrm>
              <a:off x="10379075" y="2835275"/>
              <a:ext cx="223838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599" name="Rectangle 6"/>
            <p:cNvSpPr>
              <a:spLocks noChangeArrowheads="1"/>
            </p:cNvSpPr>
            <p:nvPr/>
          </p:nvSpPr>
          <p:spPr bwMode="auto">
            <a:xfrm>
              <a:off x="10313988" y="2882900"/>
              <a:ext cx="131762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600" name="Rectangle 6"/>
            <p:cNvSpPr>
              <a:spLocks noChangeArrowheads="1"/>
            </p:cNvSpPr>
            <p:nvPr/>
          </p:nvSpPr>
          <p:spPr bwMode="auto">
            <a:xfrm>
              <a:off x="10107613" y="2882900"/>
              <a:ext cx="131762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601" name="Rectangle 6"/>
            <p:cNvSpPr>
              <a:spLocks noChangeArrowheads="1"/>
            </p:cNvSpPr>
            <p:nvPr/>
          </p:nvSpPr>
          <p:spPr bwMode="auto">
            <a:xfrm>
              <a:off x="10536238" y="2882900"/>
              <a:ext cx="131762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602" name="AutoShape 19"/>
            <p:cNvCxnSpPr>
              <a:cxnSpLocks noChangeShapeType="1"/>
              <a:stCxn id="4597" idx="2"/>
              <a:endCxn id="4599" idx="0"/>
            </p:cNvCxnSpPr>
            <p:nvPr/>
          </p:nvCxnSpPr>
          <p:spPr bwMode="auto">
            <a:xfrm>
              <a:off x="10379075" y="2835275"/>
              <a:ext cx="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03" name="AutoShape 19"/>
            <p:cNvCxnSpPr>
              <a:cxnSpLocks noChangeShapeType="1"/>
              <a:stCxn id="4597" idx="2"/>
              <a:endCxn id="4600" idx="0"/>
            </p:cNvCxnSpPr>
            <p:nvPr/>
          </p:nvCxnSpPr>
          <p:spPr bwMode="auto">
            <a:xfrm flipH="1">
              <a:off x="10174288" y="2835275"/>
              <a:ext cx="204787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04" name="Rectangle 6"/>
            <p:cNvSpPr>
              <a:spLocks noChangeArrowheads="1"/>
            </p:cNvSpPr>
            <p:nvPr/>
          </p:nvSpPr>
          <p:spPr bwMode="auto">
            <a:xfrm>
              <a:off x="10536238" y="3014663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605" name="AutoShape 19"/>
            <p:cNvCxnSpPr>
              <a:cxnSpLocks noChangeShapeType="1"/>
              <a:stCxn id="4601" idx="2"/>
              <a:endCxn id="4604" idx="0"/>
            </p:cNvCxnSpPr>
            <p:nvPr/>
          </p:nvCxnSpPr>
          <p:spPr bwMode="auto">
            <a:xfrm flipH="1">
              <a:off x="10601325" y="2925763"/>
              <a:ext cx="1588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06" name="AutoShape 19"/>
            <p:cNvCxnSpPr>
              <a:cxnSpLocks noChangeShapeType="1"/>
              <a:stCxn id="4601" idx="2"/>
              <a:endCxn id="4634" idx="0"/>
            </p:cNvCxnSpPr>
            <p:nvPr/>
          </p:nvCxnSpPr>
          <p:spPr bwMode="auto">
            <a:xfrm>
              <a:off x="10602913" y="2925763"/>
              <a:ext cx="228600" cy="12858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07" name="Rectangle 6"/>
            <p:cNvSpPr>
              <a:spLocks noChangeArrowheads="1"/>
            </p:cNvSpPr>
            <p:nvPr/>
          </p:nvSpPr>
          <p:spPr bwMode="auto">
            <a:xfrm>
              <a:off x="10218738" y="3017838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608" name="AutoShape 19"/>
            <p:cNvCxnSpPr>
              <a:cxnSpLocks noChangeShapeType="1"/>
              <a:stCxn id="4607" idx="0"/>
              <a:endCxn id="4600" idx="2"/>
            </p:cNvCxnSpPr>
            <p:nvPr/>
          </p:nvCxnSpPr>
          <p:spPr bwMode="auto">
            <a:xfrm flipH="1" flipV="1">
              <a:off x="10174288" y="2925763"/>
              <a:ext cx="111125" cy="920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09" name="Rectangle 6"/>
            <p:cNvSpPr>
              <a:spLocks noChangeArrowheads="1"/>
            </p:cNvSpPr>
            <p:nvPr/>
          </p:nvSpPr>
          <p:spPr bwMode="auto">
            <a:xfrm>
              <a:off x="10318750" y="3133725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610" name="AutoShape 19"/>
            <p:cNvCxnSpPr>
              <a:cxnSpLocks noChangeShapeType="1"/>
              <a:stCxn id="4609" idx="0"/>
              <a:endCxn id="4607" idx="2"/>
            </p:cNvCxnSpPr>
            <p:nvPr/>
          </p:nvCxnSpPr>
          <p:spPr bwMode="auto">
            <a:xfrm flipH="1" flipV="1">
              <a:off x="10285413" y="3062288"/>
              <a:ext cx="100012" cy="7143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11" name="Rectangle 6"/>
            <p:cNvSpPr>
              <a:spLocks noChangeArrowheads="1"/>
            </p:cNvSpPr>
            <p:nvPr/>
          </p:nvSpPr>
          <p:spPr bwMode="auto">
            <a:xfrm>
              <a:off x="10156825" y="3133725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612" name="AutoShape 19"/>
            <p:cNvCxnSpPr>
              <a:cxnSpLocks noChangeShapeType="1"/>
              <a:stCxn id="4607" idx="2"/>
              <a:endCxn id="4611" idx="0"/>
            </p:cNvCxnSpPr>
            <p:nvPr/>
          </p:nvCxnSpPr>
          <p:spPr bwMode="auto">
            <a:xfrm flipH="1">
              <a:off x="10221913" y="3062288"/>
              <a:ext cx="63500" cy="7143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13" name="Rectangle 6"/>
            <p:cNvSpPr>
              <a:spLocks noChangeArrowheads="1"/>
            </p:cNvSpPr>
            <p:nvPr/>
          </p:nvSpPr>
          <p:spPr bwMode="auto">
            <a:xfrm>
              <a:off x="10017125" y="2987675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cxnSp>
          <p:nvCxnSpPr>
            <p:cNvPr id="4614" name="AutoShape 19"/>
            <p:cNvCxnSpPr>
              <a:cxnSpLocks noChangeShapeType="1"/>
              <a:stCxn id="4600" idx="2"/>
              <a:endCxn id="4613" idx="0"/>
            </p:cNvCxnSpPr>
            <p:nvPr/>
          </p:nvCxnSpPr>
          <p:spPr bwMode="auto">
            <a:xfrm flipH="1">
              <a:off x="10082213" y="2925763"/>
              <a:ext cx="92075" cy="619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15" name="Rectangle 6"/>
            <p:cNvSpPr>
              <a:spLocks noChangeArrowheads="1"/>
            </p:cNvSpPr>
            <p:nvPr/>
          </p:nvSpPr>
          <p:spPr bwMode="auto">
            <a:xfrm>
              <a:off x="9515475" y="2908300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616" name="AutoShape 19"/>
            <p:cNvCxnSpPr>
              <a:cxnSpLocks noChangeShapeType="1"/>
              <a:stCxn id="4615" idx="2"/>
              <a:endCxn id="4619" idx="0"/>
            </p:cNvCxnSpPr>
            <p:nvPr/>
          </p:nvCxnSpPr>
          <p:spPr bwMode="auto">
            <a:xfrm>
              <a:off x="9580563" y="2951163"/>
              <a:ext cx="223837" cy="492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17" name="Rectangle 6"/>
            <p:cNvSpPr>
              <a:spLocks noChangeArrowheads="1"/>
            </p:cNvSpPr>
            <p:nvPr/>
          </p:nvSpPr>
          <p:spPr bwMode="auto">
            <a:xfrm>
              <a:off x="9515475" y="3000375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618" name="Rectangle 6"/>
            <p:cNvSpPr>
              <a:spLocks noChangeArrowheads="1"/>
            </p:cNvSpPr>
            <p:nvPr/>
          </p:nvSpPr>
          <p:spPr bwMode="auto">
            <a:xfrm>
              <a:off x="9309100" y="3000375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619" name="Rectangle 6"/>
            <p:cNvSpPr>
              <a:spLocks noChangeArrowheads="1"/>
            </p:cNvSpPr>
            <p:nvPr/>
          </p:nvSpPr>
          <p:spPr bwMode="auto">
            <a:xfrm>
              <a:off x="9737725" y="3000375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620" name="AutoShape 19"/>
            <p:cNvCxnSpPr>
              <a:cxnSpLocks noChangeShapeType="1"/>
              <a:stCxn id="4615" idx="2"/>
              <a:endCxn id="4617" idx="0"/>
            </p:cNvCxnSpPr>
            <p:nvPr/>
          </p:nvCxnSpPr>
          <p:spPr bwMode="auto">
            <a:xfrm>
              <a:off x="9580563" y="2951163"/>
              <a:ext cx="0" cy="492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21" name="AutoShape 19"/>
            <p:cNvCxnSpPr>
              <a:cxnSpLocks noChangeShapeType="1"/>
              <a:stCxn id="4615" idx="2"/>
              <a:endCxn id="4618" idx="0"/>
            </p:cNvCxnSpPr>
            <p:nvPr/>
          </p:nvCxnSpPr>
          <p:spPr bwMode="auto">
            <a:xfrm flipH="1">
              <a:off x="9375775" y="2951163"/>
              <a:ext cx="204788" cy="492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22" name="Rectangle 6"/>
            <p:cNvSpPr>
              <a:spLocks noChangeArrowheads="1"/>
            </p:cNvSpPr>
            <p:nvPr/>
          </p:nvSpPr>
          <p:spPr bwMode="auto">
            <a:xfrm>
              <a:off x="9737725" y="3132138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623" name="AutoShape 19"/>
            <p:cNvCxnSpPr>
              <a:cxnSpLocks noChangeShapeType="1"/>
              <a:stCxn id="4619" idx="2"/>
              <a:endCxn id="4622" idx="0"/>
            </p:cNvCxnSpPr>
            <p:nvPr/>
          </p:nvCxnSpPr>
          <p:spPr bwMode="auto">
            <a:xfrm flipH="1">
              <a:off x="9802813" y="3043238"/>
              <a:ext cx="1587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24" name="AutoShape 19"/>
            <p:cNvCxnSpPr>
              <a:cxnSpLocks noChangeShapeType="1"/>
              <a:stCxn id="4619" idx="2"/>
              <a:endCxn id="4631" idx="0"/>
            </p:cNvCxnSpPr>
            <p:nvPr/>
          </p:nvCxnSpPr>
          <p:spPr bwMode="auto">
            <a:xfrm>
              <a:off x="9804400" y="3043238"/>
              <a:ext cx="236538" cy="746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25" name="Rectangle 6"/>
            <p:cNvSpPr>
              <a:spLocks noChangeArrowheads="1"/>
            </p:cNvSpPr>
            <p:nvPr/>
          </p:nvSpPr>
          <p:spPr bwMode="auto">
            <a:xfrm>
              <a:off x="9420225" y="3135313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626" name="AutoShape 19"/>
            <p:cNvCxnSpPr>
              <a:cxnSpLocks noChangeShapeType="1"/>
              <a:stCxn id="4625" idx="0"/>
              <a:endCxn id="4618" idx="2"/>
            </p:cNvCxnSpPr>
            <p:nvPr/>
          </p:nvCxnSpPr>
          <p:spPr bwMode="auto">
            <a:xfrm flipH="1" flipV="1">
              <a:off x="9375775" y="3043238"/>
              <a:ext cx="111125" cy="920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27" name="AutoShape 19"/>
            <p:cNvCxnSpPr>
              <a:cxnSpLocks noChangeShapeType="1"/>
              <a:stCxn id="4691" idx="0"/>
              <a:endCxn id="4625" idx="2"/>
            </p:cNvCxnSpPr>
            <p:nvPr/>
          </p:nvCxnSpPr>
          <p:spPr bwMode="auto">
            <a:xfrm flipH="1" flipV="1">
              <a:off x="9486900" y="3179763"/>
              <a:ext cx="136525" cy="5873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28" name="Rectangle 6"/>
            <p:cNvSpPr>
              <a:spLocks noChangeArrowheads="1"/>
            </p:cNvSpPr>
            <p:nvPr/>
          </p:nvSpPr>
          <p:spPr bwMode="auto">
            <a:xfrm>
              <a:off x="9358313" y="3251200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629" name="AutoShape 19"/>
            <p:cNvCxnSpPr>
              <a:cxnSpLocks noChangeShapeType="1"/>
              <a:stCxn id="4625" idx="2"/>
              <a:endCxn id="4628" idx="0"/>
            </p:cNvCxnSpPr>
            <p:nvPr/>
          </p:nvCxnSpPr>
          <p:spPr bwMode="auto">
            <a:xfrm flipH="1">
              <a:off x="9423400" y="3179763"/>
              <a:ext cx="63500" cy="7143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30" name="Rectangle 6"/>
            <p:cNvSpPr>
              <a:spLocks noChangeArrowheads="1"/>
            </p:cNvSpPr>
            <p:nvPr/>
          </p:nvSpPr>
          <p:spPr bwMode="auto">
            <a:xfrm>
              <a:off x="9218613" y="3105150"/>
              <a:ext cx="130175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sp>
          <p:nvSpPr>
            <p:cNvPr id="4631" name="Rectangle 6"/>
            <p:cNvSpPr>
              <a:spLocks noChangeArrowheads="1"/>
            </p:cNvSpPr>
            <p:nvPr/>
          </p:nvSpPr>
          <p:spPr bwMode="auto">
            <a:xfrm>
              <a:off x="9974263" y="3117850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J</a:t>
              </a:r>
            </a:p>
          </p:txBody>
        </p:sp>
        <p:cxnSp>
          <p:nvCxnSpPr>
            <p:cNvPr id="4632" name="AutoShape 19"/>
            <p:cNvCxnSpPr>
              <a:cxnSpLocks noChangeShapeType="1"/>
              <a:stCxn id="4618" idx="2"/>
              <a:endCxn id="4630" idx="0"/>
            </p:cNvCxnSpPr>
            <p:nvPr/>
          </p:nvCxnSpPr>
          <p:spPr bwMode="auto">
            <a:xfrm flipH="1">
              <a:off x="9283700" y="3043238"/>
              <a:ext cx="92075" cy="619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33" name="AutoShape 19"/>
            <p:cNvCxnSpPr>
              <a:cxnSpLocks noChangeShapeType="1"/>
              <a:stCxn id="4615" idx="0"/>
              <a:endCxn id="4595" idx="2"/>
            </p:cNvCxnSpPr>
            <p:nvPr/>
          </p:nvCxnSpPr>
          <p:spPr bwMode="auto">
            <a:xfrm flipV="1">
              <a:off x="9580563" y="2806700"/>
              <a:ext cx="88900" cy="1016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34" name="Rectangle 6"/>
            <p:cNvSpPr>
              <a:spLocks noChangeArrowheads="1"/>
            </p:cNvSpPr>
            <p:nvPr/>
          </p:nvSpPr>
          <p:spPr bwMode="auto">
            <a:xfrm>
              <a:off x="10766425" y="3054350"/>
              <a:ext cx="130175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635" name="AutoShape 19"/>
            <p:cNvCxnSpPr>
              <a:cxnSpLocks noChangeShapeType="1"/>
              <a:stCxn id="4634" idx="2"/>
              <a:endCxn id="4638" idx="0"/>
            </p:cNvCxnSpPr>
            <p:nvPr/>
          </p:nvCxnSpPr>
          <p:spPr bwMode="auto">
            <a:xfrm>
              <a:off x="10831513" y="3097213"/>
              <a:ext cx="22225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36" name="Rectangle 6"/>
            <p:cNvSpPr>
              <a:spLocks noChangeArrowheads="1"/>
            </p:cNvSpPr>
            <p:nvPr/>
          </p:nvSpPr>
          <p:spPr bwMode="auto">
            <a:xfrm>
              <a:off x="10766425" y="3144838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637" name="Rectangle 6"/>
            <p:cNvSpPr>
              <a:spLocks noChangeArrowheads="1"/>
            </p:cNvSpPr>
            <p:nvPr/>
          </p:nvSpPr>
          <p:spPr bwMode="auto">
            <a:xfrm>
              <a:off x="10560050" y="3144838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638" name="Rectangle 6"/>
            <p:cNvSpPr>
              <a:spLocks noChangeArrowheads="1"/>
            </p:cNvSpPr>
            <p:nvPr/>
          </p:nvSpPr>
          <p:spPr bwMode="auto">
            <a:xfrm>
              <a:off x="10988675" y="3144838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639" name="AutoShape 19"/>
            <p:cNvCxnSpPr>
              <a:cxnSpLocks noChangeShapeType="1"/>
              <a:stCxn id="4634" idx="2"/>
              <a:endCxn id="4636" idx="0"/>
            </p:cNvCxnSpPr>
            <p:nvPr/>
          </p:nvCxnSpPr>
          <p:spPr bwMode="auto">
            <a:xfrm>
              <a:off x="10831513" y="3097213"/>
              <a:ext cx="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40" name="AutoShape 19"/>
            <p:cNvCxnSpPr>
              <a:cxnSpLocks noChangeShapeType="1"/>
              <a:stCxn id="4634" idx="2"/>
              <a:endCxn id="4637" idx="0"/>
            </p:cNvCxnSpPr>
            <p:nvPr/>
          </p:nvCxnSpPr>
          <p:spPr bwMode="auto">
            <a:xfrm flipH="1">
              <a:off x="10625138" y="3097213"/>
              <a:ext cx="206375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41" name="Rectangle 6"/>
            <p:cNvSpPr>
              <a:spLocks noChangeArrowheads="1"/>
            </p:cNvSpPr>
            <p:nvPr/>
          </p:nvSpPr>
          <p:spPr bwMode="auto">
            <a:xfrm>
              <a:off x="10988675" y="3278188"/>
              <a:ext cx="130175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642" name="AutoShape 19"/>
            <p:cNvCxnSpPr>
              <a:cxnSpLocks noChangeShapeType="1"/>
              <a:stCxn id="4638" idx="2"/>
              <a:endCxn id="4641" idx="0"/>
            </p:cNvCxnSpPr>
            <p:nvPr/>
          </p:nvCxnSpPr>
          <p:spPr bwMode="auto">
            <a:xfrm flipH="1">
              <a:off x="11053763" y="3189288"/>
              <a:ext cx="0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43" name="AutoShape 19"/>
            <p:cNvCxnSpPr>
              <a:cxnSpLocks noChangeShapeType="1"/>
              <a:stCxn id="4638" idx="2"/>
              <a:endCxn id="4652" idx="0"/>
            </p:cNvCxnSpPr>
            <p:nvPr/>
          </p:nvCxnSpPr>
          <p:spPr bwMode="auto">
            <a:xfrm>
              <a:off x="11053763" y="3189288"/>
              <a:ext cx="190500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44" name="Rectangle 6"/>
            <p:cNvSpPr>
              <a:spLocks noChangeArrowheads="1"/>
            </p:cNvSpPr>
            <p:nvPr/>
          </p:nvSpPr>
          <p:spPr bwMode="auto">
            <a:xfrm>
              <a:off x="10671175" y="3281363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645" name="AutoShape 19"/>
            <p:cNvCxnSpPr>
              <a:cxnSpLocks noChangeShapeType="1"/>
              <a:stCxn id="4644" idx="0"/>
              <a:endCxn id="4637" idx="2"/>
            </p:cNvCxnSpPr>
            <p:nvPr/>
          </p:nvCxnSpPr>
          <p:spPr bwMode="auto">
            <a:xfrm flipH="1" flipV="1">
              <a:off x="10625138" y="3189288"/>
              <a:ext cx="111125" cy="920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46" name="Rectangle 6"/>
            <p:cNvSpPr>
              <a:spLocks noChangeArrowheads="1"/>
            </p:cNvSpPr>
            <p:nvPr/>
          </p:nvSpPr>
          <p:spPr bwMode="auto">
            <a:xfrm>
              <a:off x="10771188" y="3397250"/>
              <a:ext cx="131762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647" name="AutoShape 19"/>
            <p:cNvCxnSpPr>
              <a:cxnSpLocks noChangeShapeType="1"/>
              <a:stCxn id="4646" idx="0"/>
              <a:endCxn id="4644" idx="2"/>
            </p:cNvCxnSpPr>
            <p:nvPr/>
          </p:nvCxnSpPr>
          <p:spPr bwMode="auto">
            <a:xfrm flipH="1" flipV="1">
              <a:off x="10736263" y="3324225"/>
              <a:ext cx="100012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48" name="Rectangle 6"/>
            <p:cNvSpPr>
              <a:spLocks noChangeArrowheads="1"/>
            </p:cNvSpPr>
            <p:nvPr/>
          </p:nvSpPr>
          <p:spPr bwMode="auto">
            <a:xfrm>
              <a:off x="10609263" y="3397250"/>
              <a:ext cx="130175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649" name="AutoShape 19"/>
            <p:cNvCxnSpPr>
              <a:cxnSpLocks noChangeShapeType="1"/>
              <a:stCxn id="4644" idx="2"/>
              <a:endCxn id="4648" idx="0"/>
            </p:cNvCxnSpPr>
            <p:nvPr/>
          </p:nvCxnSpPr>
          <p:spPr bwMode="auto">
            <a:xfrm flipH="1">
              <a:off x="10674350" y="3324225"/>
              <a:ext cx="61913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50" name="Rectangle 6"/>
            <p:cNvSpPr>
              <a:spLocks noChangeArrowheads="1"/>
            </p:cNvSpPr>
            <p:nvPr/>
          </p:nvSpPr>
          <p:spPr bwMode="auto">
            <a:xfrm>
              <a:off x="10467975" y="3251200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cxnSp>
          <p:nvCxnSpPr>
            <p:cNvPr id="4651" name="AutoShape 19"/>
            <p:cNvCxnSpPr>
              <a:cxnSpLocks noChangeShapeType="1"/>
              <a:stCxn id="4637" idx="2"/>
              <a:endCxn id="4650" idx="0"/>
            </p:cNvCxnSpPr>
            <p:nvPr/>
          </p:nvCxnSpPr>
          <p:spPr bwMode="auto">
            <a:xfrm flipH="1">
              <a:off x="10534650" y="3189288"/>
              <a:ext cx="90488" cy="619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52" name="Rectangle 6"/>
            <p:cNvSpPr>
              <a:spLocks noChangeArrowheads="1"/>
            </p:cNvSpPr>
            <p:nvPr/>
          </p:nvSpPr>
          <p:spPr bwMode="auto">
            <a:xfrm>
              <a:off x="11179175" y="3278188"/>
              <a:ext cx="130175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653" name="AutoShape 19"/>
            <p:cNvCxnSpPr>
              <a:cxnSpLocks noChangeShapeType="1"/>
              <a:stCxn id="4652" idx="2"/>
              <a:endCxn id="4656" idx="0"/>
            </p:cNvCxnSpPr>
            <p:nvPr/>
          </p:nvCxnSpPr>
          <p:spPr bwMode="auto">
            <a:xfrm>
              <a:off x="11244263" y="3321050"/>
              <a:ext cx="222250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54" name="Rectangle 6"/>
            <p:cNvSpPr>
              <a:spLocks noChangeArrowheads="1"/>
            </p:cNvSpPr>
            <p:nvPr/>
          </p:nvSpPr>
          <p:spPr bwMode="auto">
            <a:xfrm>
              <a:off x="11179175" y="3370263"/>
              <a:ext cx="130175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655" name="Rectangle 6"/>
            <p:cNvSpPr>
              <a:spLocks noChangeArrowheads="1"/>
            </p:cNvSpPr>
            <p:nvPr/>
          </p:nvSpPr>
          <p:spPr bwMode="auto">
            <a:xfrm>
              <a:off x="10972800" y="3370263"/>
              <a:ext cx="130175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656" name="Rectangle 6"/>
            <p:cNvSpPr>
              <a:spLocks noChangeArrowheads="1"/>
            </p:cNvSpPr>
            <p:nvPr/>
          </p:nvSpPr>
          <p:spPr bwMode="auto">
            <a:xfrm>
              <a:off x="11401425" y="3370263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657" name="AutoShape 19"/>
            <p:cNvCxnSpPr>
              <a:cxnSpLocks noChangeShapeType="1"/>
              <a:stCxn id="4652" idx="2"/>
              <a:endCxn id="4654" idx="0"/>
            </p:cNvCxnSpPr>
            <p:nvPr/>
          </p:nvCxnSpPr>
          <p:spPr bwMode="auto">
            <a:xfrm>
              <a:off x="11244263" y="3321050"/>
              <a:ext cx="0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58" name="AutoShape 19"/>
            <p:cNvCxnSpPr>
              <a:cxnSpLocks noChangeShapeType="1"/>
              <a:stCxn id="4652" idx="2"/>
              <a:endCxn id="4655" idx="0"/>
            </p:cNvCxnSpPr>
            <p:nvPr/>
          </p:nvCxnSpPr>
          <p:spPr bwMode="auto">
            <a:xfrm flipH="1">
              <a:off x="11037888" y="3321050"/>
              <a:ext cx="206375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59" name="Rectangle 6"/>
            <p:cNvSpPr>
              <a:spLocks noChangeArrowheads="1"/>
            </p:cNvSpPr>
            <p:nvPr/>
          </p:nvSpPr>
          <p:spPr bwMode="auto">
            <a:xfrm>
              <a:off x="11401425" y="3502025"/>
              <a:ext cx="130175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660" name="AutoShape 19"/>
            <p:cNvCxnSpPr>
              <a:cxnSpLocks noChangeShapeType="1"/>
              <a:stCxn id="4656" idx="2"/>
              <a:endCxn id="4659" idx="0"/>
            </p:cNvCxnSpPr>
            <p:nvPr/>
          </p:nvCxnSpPr>
          <p:spPr bwMode="auto">
            <a:xfrm flipH="1">
              <a:off x="11466513" y="3413125"/>
              <a:ext cx="0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61" name="AutoShape 19"/>
            <p:cNvCxnSpPr>
              <a:cxnSpLocks noChangeShapeType="1"/>
              <a:stCxn id="4656" idx="2"/>
              <a:endCxn id="4669" idx="0"/>
            </p:cNvCxnSpPr>
            <p:nvPr/>
          </p:nvCxnSpPr>
          <p:spPr bwMode="auto">
            <a:xfrm>
              <a:off x="11466513" y="3413125"/>
              <a:ext cx="236537" cy="746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62" name="Rectangle 6"/>
            <p:cNvSpPr>
              <a:spLocks noChangeArrowheads="1"/>
            </p:cNvSpPr>
            <p:nvPr/>
          </p:nvSpPr>
          <p:spPr bwMode="auto">
            <a:xfrm>
              <a:off x="11083925" y="3505200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663" name="AutoShape 19"/>
            <p:cNvCxnSpPr>
              <a:cxnSpLocks noChangeShapeType="1"/>
              <a:stCxn id="4662" idx="0"/>
              <a:endCxn id="4655" idx="2"/>
            </p:cNvCxnSpPr>
            <p:nvPr/>
          </p:nvCxnSpPr>
          <p:spPr bwMode="auto">
            <a:xfrm flipH="1" flipV="1">
              <a:off x="11037888" y="3413125"/>
              <a:ext cx="111125" cy="920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64" name="Rectangle 6"/>
            <p:cNvSpPr>
              <a:spLocks noChangeArrowheads="1"/>
            </p:cNvSpPr>
            <p:nvPr/>
          </p:nvSpPr>
          <p:spPr bwMode="auto">
            <a:xfrm>
              <a:off x="11183938" y="3621088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665" name="AutoShape 19"/>
            <p:cNvCxnSpPr>
              <a:cxnSpLocks noChangeShapeType="1"/>
              <a:stCxn id="4664" idx="0"/>
              <a:endCxn id="4662" idx="2"/>
            </p:cNvCxnSpPr>
            <p:nvPr/>
          </p:nvCxnSpPr>
          <p:spPr bwMode="auto">
            <a:xfrm flipH="1" flipV="1">
              <a:off x="11149013" y="3549650"/>
              <a:ext cx="100012" cy="71438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66" name="Rectangle 6"/>
            <p:cNvSpPr>
              <a:spLocks noChangeArrowheads="1"/>
            </p:cNvSpPr>
            <p:nvPr/>
          </p:nvSpPr>
          <p:spPr bwMode="auto">
            <a:xfrm>
              <a:off x="11022013" y="3621088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667" name="AutoShape 19"/>
            <p:cNvCxnSpPr>
              <a:cxnSpLocks noChangeShapeType="1"/>
              <a:stCxn id="4662" idx="2"/>
              <a:endCxn id="4666" idx="0"/>
            </p:cNvCxnSpPr>
            <p:nvPr/>
          </p:nvCxnSpPr>
          <p:spPr bwMode="auto">
            <a:xfrm flipH="1">
              <a:off x="11087100" y="3549650"/>
              <a:ext cx="61913" cy="71438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68" name="Rectangle 6"/>
            <p:cNvSpPr>
              <a:spLocks noChangeArrowheads="1"/>
            </p:cNvSpPr>
            <p:nvPr/>
          </p:nvSpPr>
          <p:spPr bwMode="auto">
            <a:xfrm>
              <a:off x="10880725" y="3475038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sp>
          <p:nvSpPr>
            <p:cNvPr id="4669" name="Rectangle 6"/>
            <p:cNvSpPr>
              <a:spLocks noChangeArrowheads="1"/>
            </p:cNvSpPr>
            <p:nvPr/>
          </p:nvSpPr>
          <p:spPr bwMode="auto">
            <a:xfrm>
              <a:off x="11637963" y="3487738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J</a:t>
              </a:r>
            </a:p>
          </p:txBody>
        </p:sp>
        <p:cxnSp>
          <p:nvCxnSpPr>
            <p:cNvPr id="4670" name="AutoShape 19"/>
            <p:cNvCxnSpPr>
              <a:cxnSpLocks noChangeShapeType="1"/>
              <a:stCxn id="4655" idx="2"/>
              <a:endCxn id="4668" idx="0"/>
            </p:cNvCxnSpPr>
            <p:nvPr/>
          </p:nvCxnSpPr>
          <p:spPr bwMode="auto">
            <a:xfrm flipH="1">
              <a:off x="10947400" y="3413125"/>
              <a:ext cx="90488" cy="619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71" name="Rectangle 6"/>
            <p:cNvSpPr>
              <a:spLocks noChangeArrowheads="1"/>
            </p:cNvSpPr>
            <p:nvPr/>
          </p:nvSpPr>
          <p:spPr bwMode="auto">
            <a:xfrm>
              <a:off x="10379075" y="3395663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672" name="AutoShape 19"/>
            <p:cNvCxnSpPr>
              <a:cxnSpLocks noChangeShapeType="1"/>
              <a:stCxn id="4671" idx="2"/>
              <a:endCxn id="4675" idx="0"/>
            </p:cNvCxnSpPr>
            <p:nvPr/>
          </p:nvCxnSpPr>
          <p:spPr bwMode="auto">
            <a:xfrm>
              <a:off x="10445750" y="3438525"/>
              <a:ext cx="222250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73" name="Rectangle 6"/>
            <p:cNvSpPr>
              <a:spLocks noChangeArrowheads="1"/>
            </p:cNvSpPr>
            <p:nvPr/>
          </p:nvSpPr>
          <p:spPr bwMode="auto">
            <a:xfrm>
              <a:off x="10379075" y="3487738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674" name="Rectangle 6"/>
            <p:cNvSpPr>
              <a:spLocks noChangeArrowheads="1"/>
            </p:cNvSpPr>
            <p:nvPr/>
          </p:nvSpPr>
          <p:spPr bwMode="auto">
            <a:xfrm>
              <a:off x="10174288" y="3487738"/>
              <a:ext cx="130175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675" name="Rectangle 6"/>
            <p:cNvSpPr>
              <a:spLocks noChangeArrowheads="1"/>
            </p:cNvSpPr>
            <p:nvPr/>
          </p:nvSpPr>
          <p:spPr bwMode="auto">
            <a:xfrm>
              <a:off x="10602913" y="3487738"/>
              <a:ext cx="131762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676" name="AutoShape 19"/>
            <p:cNvCxnSpPr>
              <a:cxnSpLocks noChangeShapeType="1"/>
              <a:stCxn id="4671" idx="2"/>
              <a:endCxn id="4673" idx="0"/>
            </p:cNvCxnSpPr>
            <p:nvPr/>
          </p:nvCxnSpPr>
          <p:spPr bwMode="auto">
            <a:xfrm>
              <a:off x="10445750" y="3438525"/>
              <a:ext cx="0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77" name="AutoShape 19"/>
            <p:cNvCxnSpPr>
              <a:cxnSpLocks noChangeShapeType="1"/>
              <a:stCxn id="4671" idx="2"/>
              <a:endCxn id="4674" idx="0"/>
            </p:cNvCxnSpPr>
            <p:nvPr/>
          </p:nvCxnSpPr>
          <p:spPr bwMode="auto">
            <a:xfrm flipH="1">
              <a:off x="10239375" y="3438525"/>
              <a:ext cx="206375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78" name="Rectangle 6"/>
            <p:cNvSpPr>
              <a:spLocks noChangeArrowheads="1"/>
            </p:cNvSpPr>
            <p:nvPr/>
          </p:nvSpPr>
          <p:spPr bwMode="auto">
            <a:xfrm>
              <a:off x="10601325" y="3619500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679" name="AutoShape 19"/>
            <p:cNvCxnSpPr>
              <a:cxnSpLocks noChangeShapeType="1"/>
              <a:stCxn id="4675" idx="2"/>
              <a:endCxn id="4678" idx="0"/>
            </p:cNvCxnSpPr>
            <p:nvPr/>
          </p:nvCxnSpPr>
          <p:spPr bwMode="auto">
            <a:xfrm flipH="1">
              <a:off x="10668000" y="3530600"/>
              <a:ext cx="0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80" name="AutoShape 19"/>
            <p:cNvCxnSpPr>
              <a:cxnSpLocks noChangeShapeType="1"/>
              <a:stCxn id="4675" idx="2"/>
              <a:endCxn id="4688" idx="0"/>
            </p:cNvCxnSpPr>
            <p:nvPr/>
          </p:nvCxnSpPr>
          <p:spPr bwMode="auto">
            <a:xfrm>
              <a:off x="10668000" y="3530600"/>
              <a:ext cx="236538" cy="746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81" name="Rectangle 6"/>
            <p:cNvSpPr>
              <a:spLocks noChangeArrowheads="1"/>
            </p:cNvSpPr>
            <p:nvPr/>
          </p:nvSpPr>
          <p:spPr bwMode="auto">
            <a:xfrm>
              <a:off x="10285413" y="3622675"/>
              <a:ext cx="131762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682" name="AutoShape 19"/>
            <p:cNvCxnSpPr>
              <a:cxnSpLocks noChangeShapeType="1"/>
              <a:stCxn id="4681" idx="0"/>
              <a:endCxn id="4674" idx="2"/>
            </p:cNvCxnSpPr>
            <p:nvPr/>
          </p:nvCxnSpPr>
          <p:spPr bwMode="auto">
            <a:xfrm flipH="1" flipV="1">
              <a:off x="10239375" y="3530600"/>
              <a:ext cx="111125" cy="920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83" name="Rectangle 6"/>
            <p:cNvSpPr>
              <a:spLocks noChangeArrowheads="1"/>
            </p:cNvSpPr>
            <p:nvPr/>
          </p:nvSpPr>
          <p:spPr bwMode="auto">
            <a:xfrm>
              <a:off x="10385425" y="3738563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684" name="AutoShape 19"/>
            <p:cNvCxnSpPr>
              <a:cxnSpLocks noChangeShapeType="1"/>
              <a:stCxn id="4683" idx="0"/>
              <a:endCxn id="4681" idx="2"/>
            </p:cNvCxnSpPr>
            <p:nvPr/>
          </p:nvCxnSpPr>
          <p:spPr bwMode="auto">
            <a:xfrm flipH="1" flipV="1">
              <a:off x="10350500" y="3665538"/>
              <a:ext cx="100013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85" name="Rectangle 6"/>
            <p:cNvSpPr>
              <a:spLocks noChangeArrowheads="1"/>
            </p:cNvSpPr>
            <p:nvPr/>
          </p:nvSpPr>
          <p:spPr bwMode="auto">
            <a:xfrm>
              <a:off x="10221913" y="3738563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686" name="AutoShape 19"/>
            <p:cNvCxnSpPr>
              <a:cxnSpLocks noChangeShapeType="1"/>
              <a:stCxn id="4681" idx="2"/>
              <a:endCxn id="4685" idx="0"/>
            </p:cNvCxnSpPr>
            <p:nvPr/>
          </p:nvCxnSpPr>
          <p:spPr bwMode="auto">
            <a:xfrm flipH="1">
              <a:off x="10288588" y="3665538"/>
              <a:ext cx="61912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87" name="Rectangle 6"/>
            <p:cNvSpPr>
              <a:spLocks noChangeArrowheads="1"/>
            </p:cNvSpPr>
            <p:nvPr/>
          </p:nvSpPr>
          <p:spPr bwMode="auto">
            <a:xfrm>
              <a:off x="10082213" y="3592513"/>
              <a:ext cx="131762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sp>
          <p:nvSpPr>
            <p:cNvPr id="4688" name="Rectangle 6"/>
            <p:cNvSpPr>
              <a:spLocks noChangeArrowheads="1"/>
            </p:cNvSpPr>
            <p:nvPr/>
          </p:nvSpPr>
          <p:spPr bwMode="auto">
            <a:xfrm>
              <a:off x="10839450" y="3605213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J</a:t>
              </a:r>
            </a:p>
          </p:txBody>
        </p:sp>
        <p:cxnSp>
          <p:nvCxnSpPr>
            <p:cNvPr id="4689" name="AutoShape 19"/>
            <p:cNvCxnSpPr>
              <a:cxnSpLocks noChangeShapeType="1"/>
              <a:stCxn id="4674" idx="2"/>
              <a:endCxn id="4687" idx="0"/>
            </p:cNvCxnSpPr>
            <p:nvPr/>
          </p:nvCxnSpPr>
          <p:spPr bwMode="auto">
            <a:xfrm flipH="1">
              <a:off x="10147300" y="3530600"/>
              <a:ext cx="92075" cy="619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90" name="AutoShape 19"/>
            <p:cNvCxnSpPr>
              <a:cxnSpLocks noChangeShapeType="1"/>
              <a:stCxn id="4671" idx="0"/>
              <a:endCxn id="4650" idx="2"/>
            </p:cNvCxnSpPr>
            <p:nvPr/>
          </p:nvCxnSpPr>
          <p:spPr bwMode="auto">
            <a:xfrm flipV="1">
              <a:off x="10445750" y="3294063"/>
              <a:ext cx="88900" cy="1016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91" name="Rectangle 6"/>
            <p:cNvSpPr>
              <a:spLocks noChangeArrowheads="1"/>
            </p:cNvSpPr>
            <p:nvPr/>
          </p:nvSpPr>
          <p:spPr bwMode="auto">
            <a:xfrm>
              <a:off x="9556750" y="3238500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692" name="AutoShape 19"/>
            <p:cNvCxnSpPr>
              <a:cxnSpLocks noChangeShapeType="1"/>
              <a:stCxn id="4691" idx="2"/>
              <a:endCxn id="4695" idx="0"/>
            </p:cNvCxnSpPr>
            <p:nvPr/>
          </p:nvCxnSpPr>
          <p:spPr bwMode="auto">
            <a:xfrm>
              <a:off x="9623425" y="3282950"/>
              <a:ext cx="22225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93" name="Rectangle 6"/>
            <p:cNvSpPr>
              <a:spLocks noChangeArrowheads="1"/>
            </p:cNvSpPr>
            <p:nvPr/>
          </p:nvSpPr>
          <p:spPr bwMode="auto">
            <a:xfrm>
              <a:off x="9556750" y="3330575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694" name="Rectangle 6"/>
            <p:cNvSpPr>
              <a:spLocks noChangeArrowheads="1"/>
            </p:cNvSpPr>
            <p:nvPr/>
          </p:nvSpPr>
          <p:spPr bwMode="auto">
            <a:xfrm>
              <a:off x="9350375" y="3330575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695" name="Rectangle 6"/>
            <p:cNvSpPr>
              <a:spLocks noChangeArrowheads="1"/>
            </p:cNvSpPr>
            <p:nvPr/>
          </p:nvSpPr>
          <p:spPr bwMode="auto">
            <a:xfrm>
              <a:off x="9780588" y="3330575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696" name="AutoShape 19"/>
            <p:cNvCxnSpPr>
              <a:cxnSpLocks noChangeShapeType="1"/>
              <a:stCxn id="4691" idx="2"/>
              <a:endCxn id="4693" idx="0"/>
            </p:cNvCxnSpPr>
            <p:nvPr/>
          </p:nvCxnSpPr>
          <p:spPr bwMode="auto">
            <a:xfrm>
              <a:off x="9623425" y="3282950"/>
              <a:ext cx="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97" name="AutoShape 19"/>
            <p:cNvCxnSpPr>
              <a:cxnSpLocks noChangeShapeType="1"/>
              <a:stCxn id="4691" idx="2"/>
              <a:endCxn id="4694" idx="0"/>
            </p:cNvCxnSpPr>
            <p:nvPr/>
          </p:nvCxnSpPr>
          <p:spPr bwMode="auto">
            <a:xfrm flipH="1">
              <a:off x="9417050" y="3282950"/>
              <a:ext cx="206375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98" name="Rectangle 6"/>
            <p:cNvSpPr>
              <a:spLocks noChangeArrowheads="1"/>
            </p:cNvSpPr>
            <p:nvPr/>
          </p:nvSpPr>
          <p:spPr bwMode="auto">
            <a:xfrm>
              <a:off x="9779000" y="3462338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699" name="AutoShape 19"/>
            <p:cNvCxnSpPr>
              <a:cxnSpLocks noChangeShapeType="1"/>
              <a:stCxn id="4695" idx="2"/>
              <a:endCxn id="4698" idx="0"/>
            </p:cNvCxnSpPr>
            <p:nvPr/>
          </p:nvCxnSpPr>
          <p:spPr bwMode="auto">
            <a:xfrm flipH="1">
              <a:off x="9845675" y="3375025"/>
              <a:ext cx="0" cy="873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700" name="AutoShape 19"/>
            <p:cNvCxnSpPr>
              <a:cxnSpLocks noChangeShapeType="1"/>
              <a:stCxn id="4695" idx="2"/>
              <a:endCxn id="4708" idx="0"/>
            </p:cNvCxnSpPr>
            <p:nvPr/>
          </p:nvCxnSpPr>
          <p:spPr bwMode="auto">
            <a:xfrm>
              <a:off x="9845675" y="3375025"/>
              <a:ext cx="236538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01" name="Rectangle 6"/>
            <p:cNvSpPr>
              <a:spLocks noChangeArrowheads="1"/>
            </p:cNvSpPr>
            <p:nvPr/>
          </p:nvSpPr>
          <p:spPr bwMode="auto">
            <a:xfrm>
              <a:off x="9463088" y="3465513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702" name="AutoShape 19"/>
            <p:cNvCxnSpPr>
              <a:cxnSpLocks noChangeShapeType="1"/>
              <a:stCxn id="4701" idx="0"/>
              <a:endCxn id="4694" idx="2"/>
            </p:cNvCxnSpPr>
            <p:nvPr/>
          </p:nvCxnSpPr>
          <p:spPr bwMode="auto">
            <a:xfrm flipH="1" flipV="1">
              <a:off x="9417050" y="3375025"/>
              <a:ext cx="111125" cy="90488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03" name="Rectangle 6"/>
            <p:cNvSpPr>
              <a:spLocks noChangeArrowheads="1"/>
            </p:cNvSpPr>
            <p:nvPr/>
          </p:nvSpPr>
          <p:spPr bwMode="auto">
            <a:xfrm>
              <a:off x="9561513" y="3581400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704" name="AutoShape 19"/>
            <p:cNvCxnSpPr>
              <a:cxnSpLocks noChangeShapeType="1"/>
              <a:stCxn id="4703" idx="0"/>
              <a:endCxn id="4701" idx="2"/>
            </p:cNvCxnSpPr>
            <p:nvPr/>
          </p:nvCxnSpPr>
          <p:spPr bwMode="auto">
            <a:xfrm flipH="1" flipV="1">
              <a:off x="9528175" y="3509963"/>
              <a:ext cx="100013" cy="7143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05" name="Rectangle 6"/>
            <p:cNvSpPr>
              <a:spLocks noChangeArrowheads="1"/>
            </p:cNvSpPr>
            <p:nvPr/>
          </p:nvSpPr>
          <p:spPr bwMode="auto">
            <a:xfrm>
              <a:off x="9399588" y="3581400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706" name="AutoShape 19"/>
            <p:cNvCxnSpPr>
              <a:cxnSpLocks noChangeShapeType="1"/>
              <a:stCxn id="4701" idx="2"/>
              <a:endCxn id="4705" idx="0"/>
            </p:cNvCxnSpPr>
            <p:nvPr/>
          </p:nvCxnSpPr>
          <p:spPr bwMode="auto">
            <a:xfrm flipH="1">
              <a:off x="9466263" y="3509963"/>
              <a:ext cx="61912" cy="7143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07" name="Rectangle 6"/>
            <p:cNvSpPr>
              <a:spLocks noChangeArrowheads="1"/>
            </p:cNvSpPr>
            <p:nvPr/>
          </p:nvSpPr>
          <p:spPr bwMode="auto">
            <a:xfrm>
              <a:off x="9259888" y="3435350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sp>
          <p:nvSpPr>
            <p:cNvPr id="4708" name="Rectangle 6"/>
            <p:cNvSpPr>
              <a:spLocks noChangeArrowheads="1"/>
            </p:cNvSpPr>
            <p:nvPr/>
          </p:nvSpPr>
          <p:spPr bwMode="auto">
            <a:xfrm>
              <a:off x="10017125" y="3448050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J</a:t>
              </a:r>
            </a:p>
          </p:txBody>
        </p:sp>
        <p:cxnSp>
          <p:nvCxnSpPr>
            <p:cNvPr id="4709" name="AutoShape 19"/>
            <p:cNvCxnSpPr>
              <a:cxnSpLocks noChangeShapeType="1"/>
              <a:stCxn id="4694" idx="2"/>
              <a:endCxn id="4707" idx="0"/>
            </p:cNvCxnSpPr>
            <p:nvPr/>
          </p:nvCxnSpPr>
          <p:spPr bwMode="auto">
            <a:xfrm flipH="1">
              <a:off x="9324975" y="3375025"/>
              <a:ext cx="92075" cy="603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710" name="AutoShape 19"/>
            <p:cNvCxnSpPr>
              <a:cxnSpLocks noChangeShapeType="1"/>
              <a:stCxn id="4450" idx="2"/>
              <a:endCxn id="4711" idx="0"/>
            </p:cNvCxnSpPr>
            <p:nvPr/>
          </p:nvCxnSpPr>
          <p:spPr bwMode="auto">
            <a:xfrm>
              <a:off x="8659813" y="1554163"/>
              <a:ext cx="1663700" cy="619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11" name="Rectangle 6"/>
            <p:cNvSpPr>
              <a:spLocks noChangeArrowheads="1"/>
            </p:cNvSpPr>
            <p:nvPr/>
          </p:nvSpPr>
          <p:spPr bwMode="auto">
            <a:xfrm>
              <a:off x="10256838" y="1616075"/>
              <a:ext cx="131762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sp>
          <p:nvSpPr>
            <p:cNvPr id="4712" name="Rectangle 6"/>
            <p:cNvSpPr>
              <a:spLocks noChangeArrowheads="1"/>
            </p:cNvSpPr>
            <p:nvPr/>
          </p:nvSpPr>
          <p:spPr bwMode="auto">
            <a:xfrm>
              <a:off x="10256838" y="1747838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713" name="AutoShape 19"/>
            <p:cNvCxnSpPr>
              <a:cxnSpLocks noChangeShapeType="1"/>
              <a:stCxn id="4711" idx="2"/>
              <a:endCxn id="4712" idx="0"/>
            </p:cNvCxnSpPr>
            <p:nvPr/>
          </p:nvCxnSpPr>
          <p:spPr bwMode="auto">
            <a:xfrm flipH="1">
              <a:off x="10321925" y="1658938"/>
              <a:ext cx="1588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714" name="AutoShape 19"/>
            <p:cNvCxnSpPr>
              <a:cxnSpLocks noChangeShapeType="1"/>
              <a:stCxn id="4711" idx="2"/>
              <a:endCxn id="4715" idx="0"/>
            </p:cNvCxnSpPr>
            <p:nvPr/>
          </p:nvCxnSpPr>
          <p:spPr bwMode="auto">
            <a:xfrm>
              <a:off x="10323513" y="1658938"/>
              <a:ext cx="228600" cy="12858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15" name="Rectangle 6"/>
            <p:cNvSpPr>
              <a:spLocks noChangeArrowheads="1"/>
            </p:cNvSpPr>
            <p:nvPr/>
          </p:nvSpPr>
          <p:spPr bwMode="auto">
            <a:xfrm>
              <a:off x="10487025" y="1787525"/>
              <a:ext cx="130175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716" name="AutoShape 19"/>
            <p:cNvCxnSpPr>
              <a:cxnSpLocks noChangeShapeType="1"/>
              <a:stCxn id="4715" idx="2"/>
              <a:endCxn id="4719" idx="0"/>
            </p:cNvCxnSpPr>
            <p:nvPr/>
          </p:nvCxnSpPr>
          <p:spPr bwMode="auto">
            <a:xfrm>
              <a:off x="10552113" y="1830388"/>
              <a:ext cx="22225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17" name="Rectangle 6"/>
            <p:cNvSpPr>
              <a:spLocks noChangeArrowheads="1"/>
            </p:cNvSpPr>
            <p:nvPr/>
          </p:nvSpPr>
          <p:spPr bwMode="auto">
            <a:xfrm>
              <a:off x="10487025" y="1878013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718" name="Rectangle 6"/>
            <p:cNvSpPr>
              <a:spLocks noChangeArrowheads="1"/>
            </p:cNvSpPr>
            <p:nvPr/>
          </p:nvSpPr>
          <p:spPr bwMode="auto">
            <a:xfrm>
              <a:off x="10280650" y="1878013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719" name="Rectangle 6"/>
            <p:cNvSpPr>
              <a:spLocks noChangeArrowheads="1"/>
            </p:cNvSpPr>
            <p:nvPr/>
          </p:nvSpPr>
          <p:spPr bwMode="auto">
            <a:xfrm>
              <a:off x="10709275" y="1878013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720" name="AutoShape 19"/>
            <p:cNvCxnSpPr>
              <a:cxnSpLocks noChangeShapeType="1"/>
              <a:stCxn id="4715" idx="2"/>
              <a:endCxn id="4717" idx="0"/>
            </p:cNvCxnSpPr>
            <p:nvPr/>
          </p:nvCxnSpPr>
          <p:spPr bwMode="auto">
            <a:xfrm>
              <a:off x="10552113" y="1830388"/>
              <a:ext cx="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721" name="AutoShape 19"/>
            <p:cNvCxnSpPr>
              <a:cxnSpLocks noChangeShapeType="1"/>
              <a:stCxn id="4715" idx="2"/>
              <a:endCxn id="4718" idx="0"/>
            </p:cNvCxnSpPr>
            <p:nvPr/>
          </p:nvCxnSpPr>
          <p:spPr bwMode="auto">
            <a:xfrm flipH="1">
              <a:off x="10345738" y="1830388"/>
              <a:ext cx="206375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22" name="Rectangle 6"/>
            <p:cNvSpPr>
              <a:spLocks noChangeArrowheads="1"/>
            </p:cNvSpPr>
            <p:nvPr/>
          </p:nvSpPr>
          <p:spPr bwMode="auto">
            <a:xfrm>
              <a:off x="10709275" y="2011363"/>
              <a:ext cx="130175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723" name="AutoShape 19"/>
            <p:cNvCxnSpPr>
              <a:cxnSpLocks noChangeShapeType="1"/>
              <a:stCxn id="4719" idx="2"/>
              <a:endCxn id="4722" idx="0"/>
            </p:cNvCxnSpPr>
            <p:nvPr/>
          </p:nvCxnSpPr>
          <p:spPr bwMode="auto">
            <a:xfrm flipH="1">
              <a:off x="10774363" y="1922463"/>
              <a:ext cx="0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724" name="AutoShape 19"/>
            <p:cNvCxnSpPr>
              <a:cxnSpLocks noChangeShapeType="1"/>
              <a:stCxn id="4719" idx="2"/>
              <a:endCxn id="4733" idx="0"/>
            </p:cNvCxnSpPr>
            <p:nvPr/>
          </p:nvCxnSpPr>
          <p:spPr bwMode="auto">
            <a:xfrm>
              <a:off x="10774363" y="1922463"/>
              <a:ext cx="190500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25" name="Rectangle 6"/>
            <p:cNvSpPr>
              <a:spLocks noChangeArrowheads="1"/>
            </p:cNvSpPr>
            <p:nvPr/>
          </p:nvSpPr>
          <p:spPr bwMode="auto">
            <a:xfrm>
              <a:off x="10391775" y="2014538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726" name="AutoShape 19"/>
            <p:cNvCxnSpPr>
              <a:cxnSpLocks noChangeShapeType="1"/>
              <a:stCxn id="4725" idx="0"/>
              <a:endCxn id="4718" idx="2"/>
            </p:cNvCxnSpPr>
            <p:nvPr/>
          </p:nvCxnSpPr>
          <p:spPr bwMode="auto">
            <a:xfrm flipH="1" flipV="1">
              <a:off x="10345738" y="1922463"/>
              <a:ext cx="111125" cy="920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27" name="Rectangle 6"/>
            <p:cNvSpPr>
              <a:spLocks noChangeArrowheads="1"/>
            </p:cNvSpPr>
            <p:nvPr/>
          </p:nvSpPr>
          <p:spPr bwMode="auto">
            <a:xfrm>
              <a:off x="10491788" y="2130425"/>
              <a:ext cx="131762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728" name="AutoShape 19"/>
            <p:cNvCxnSpPr>
              <a:cxnSpLocks noChangeShapeType="1"/>
              <a:stCxn id="4727" idx="0"/>
              <a:endCxn id="4725" idx="2"/>
            </p:cNvCxnSpPr>
            <p:nvPr/>
          </p:nvCxnSpPr>
          <p:spPr bwMode="auto">
            <a:xfrm flipH="1" flipV="1">
              <a:off x="10456863" y="2057400"/>
              <a:ext cx="100012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29" name="Rectangle 6"/>
            <p:cNvSpPr>
              <a:spLocks noChangeArrowheads="1"/>
            </p:cNvSpPr>
            <p:nvPr/>
          </p:nvSpPr>
          <p:spPr bwMode="auto">
            <a:xfrm>
              <a:off x="10329863" y="2130425"/>
              <a:ext cx="130175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730" name="AutoShape 19"/>
            <p:cNvCxnSpPr>
              <a:cxnSpLocks noChangeShapeType="1"/>
              <a:stCxn id="4725" idx="2"/>
              <a:endCxn id="4729" idx="0"/>
            </p:cNvCxnSpPr>
            <p:nvPr/>
          </p:nvCxnSpPr>
          <p:spPr bwMode="auto">
            <a:xfrm flipH="1">
              <a:off x="10394950" y="2057400"/>
              <a:ext cx="61913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31" name="Rectangle 6"/>
            <p:cNvSpPr>
              <a:spLocks noChangeArrowheads="1"/>
            </p:cNvSpPr>
            <p:nvPr/>
          </p:nvSpPr>
          <p:spPr bwMode="auto">
            <a:xfrm>
              <a:off x="10188575" y="1984375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cxnSp>
          <p:nvCxnSpPr>
            <p:cNvPr id="4732" name="AutoShape 19"/>
            <p:cNvCxnSpPr>
              <a:cxnSpLocks noChangeShapeType="1"/>
              <a:stCxn id="4718" idx="2"/>
              <a:endCxn id="4731" idx="0"/>
            </p:cNvCxnSpPr>
            <p:nvPr/>
          </p:nvCxnSpPr>
          <p:spPr bwMode="auto">
            <a:xfrm flipH="1">
              <a:off x="10255250" y="1922463"/>
              <a:ext cx="90488" cy="619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33" name="Rectangle 6"/>
            <p:cNvSpPr>
              <a:spLocks noChangeArrowheads="1"/>
            </p:cNvSpPr>
            <p:nvPr/>
          </p:nvSpPr>
          <p:spPr bwMode="auto">
            <a:xfrm>
              <a:off x="10898188" y="2011363"/>
              <a:ext cx="131762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734" name="AutoShape 19"/>
            <p:cNvCxnSpPr>
              <a:cxnSpLocks noChangeShapeType="1"/>
              <a:stCxn id="4733" idx="2"/>
              <a:endCxn id="4737" idx="0"/>
            </p:cNvCxnSpPr>
            <p:nvPr/>
          </p:nvCxnSpPr>
          <p:spPr bwMode="auto">
            <a:xfrm>
              <a:off x="10964863" y="2054225"/>
              <a:ext cx="222250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35" name="Rectangle 6"/>
            <p:cNvSpPr>
              <a:spLocks noChangeArrowheads="1"/>
            </p:cNvSpPr>
            <p:nvPr/>
          </p:nvSpPr>
          <p:spPr bwMode="auto">
            <a:xfrm>
              <a:off x="10898188" y="2103438"/>
              <a:ext cx="131762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736" name="Rectangle 6"/>
            <p:cNvSpPr>
              <a:spLocks noChangeArrowheads="1"/>
            </p:cNvSpPr>
            <p:nvPr/>
          </p:nvSpPr>
          <p:spPr bwMode="auto">
            <a:xfrm>
              <a:off x="10693400" y="2103438"/>
              <a:ext cx="130175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737" name="Rectangle 6"/>
            <p:cNvSpPr>
              <a:spLocks noChangeArrowheads="1"/>
            </p:cNvSpPr>
            <p:nvPr/>
          </p:nvSpPr>
          <p:spPr bwMode="auto">
            <a:xfrm>
              <a:off x="11122025" y="2103438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738" name="AutoShape 19"/>
            <p:cNvCxnSpPr>
              <a:cxnSpLocks noChangeShapeType="1"/>
              <a:stCxn id="4733" idx="2"/>
              <a:endCxn id="4735" idx="0"/>
            </p:cNvCxnSpPr>
            <p:nvPr/>
          </p:nvCxnSpPr>
          <p:spPr bwMode="auto">
            <a:xfrm>
              <a:off x="10964863" y="2054225"/>
              <a:ext cx="0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739" name="AutoShape 19"/>
            <p:cNvCxnSpPr>
              <a:cxnSpLocks noChangeShapeType="1"/>
              <a:stCxn id="4733" idx="2"/>
              <a:endCxn id="4736" idx="0"/>
            </p:cNvCxnSpPr>
            <p:nvPr/>
          </p:nvCxnSpPr>
          <p:spPr bwMode="auto">
            <a:xfrm flipH="1">
              <a:off x="10758488" y="2054225"/>
              <a:ext cx="206375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40" name="Rectangle 6"/>
            <p:cNvSpPr>
              <a:spLocks noChangeArrowheads="1"/>
            </p:cNvSpPr>
            <p:nvPr/>
          </p:nvSpPr>
          <p:spPr bwMode="auto">
            <a:xfrm>
              <a:off x="11122025" y="2235200"/>
              <a:ext cx="130175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741" name="AutoShape 19"/>
            <p:cNvCxnSpPr>
              <a:cxnSpLocks noChangeShapeType="1"/>
              <a:stCxn id="4737" idx="2"/>
              <a:endCxn id="4740" idx="0"/>
            </p:cNvCxnSpPr>
            <p:nvPr/>
          </p:nvCxnSpPr>
          <p:spPr bwMode="auto">
            <a:xfrm flipH="1">
              <a:off x="11187113" y="2146300"/>
              <a:ext cx="0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742" name="AutoShape 19"/>
            <p:cNvCxnSpPr>
              <a:cxnSpLocks noChangeShapeType="1"/>
              <a:stCxn id="4737" idx="2"/>
              <a:endCxn id="4750" idx="0"/>
            </p:cNvCxnSpPr>
            <p:nvPr/>
          </p:nvCxnSpPr>
          <p:spPr bwMode="auto">
            <a:xfrm>
              <a:off x="11187113" y="2146300"/>
              <a:ext cx="236537" cy="746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43" name="Rectangle 6"/>
            <p:cNvSpPr>
              <a:spLocks noChangeArrowheads="1"/>
            </p:cNvSpPr>
            <p:nvPr/>
          </p:nvSpPr>
          <p:spPr bwMode="auto">
            <a:xfrm>
              <a:off x="10804525" y="2238375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744" name="AutoShape 19"/>
            <p:cNvCxnSpPr>
              <a:cxnSpLocks noChangeShapeType="1"/>
              <a:stCxn id="4743" idx="0"/>
              <a:endCxn id="4736" idx="2"/>
            </p:cNvCxnSpPr>
            <p:nvPr/>
          </p:nvCxnSpPr>
          <p:spPr bwMode="auto">
            <a:xfrm flipH="1" flipV="1">
              <a:off x="10758488" y="2146300"/>
              <a:ext cx="111125" cy="920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45" name="Rectangle 6"/>
            <p:cNvSpPr>
              <a:spLocks noChangeArrowheads="1"/>
            </p:cNvSpPr>
            <p:nvPr/>
          </p:nvSpPr>
          <p:spPr bwMode="auto">
            <a:xfrm>
              <a:off x="10904538" y="2354263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746" name="AutoShape 19"/>
            <p:cNvCxnSpPr>
              <a:cxnSpLocks noChangeShapeType="1"/>
              <a:stCxn id="4745" idx="0"/>
              <a:endCxn id="4743" idx="2"/>
            </p:cNvCxnSpPr>
            <p:nvPr/>
          </p:nvCxnSpPr>
          <p:spPr bwMode="auto">
            <a:xfrm flipH="1" flipV="1">
              <a:off x="10869613" y="2282825"/>
              <a:ext cx="100012" cy="71438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47" name="Rectangle 6"/>
            <p:cNvSpPr>
              <a:spLocks noChangeArrowheads="1"/>
            </p:cNvSpPr>
            <p:nvPr/>
          </p:nvSpPr>
          <p:spPr bwMode="auto">
            <a:xfrm>
              <a:off x="10742613" y="2354263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748" name="AutoShape 19"/>
            <p:cNvCxnSpPr>
              <a:cxnSpLocks noChangeShapeType="1"/>
              <a:stCxn id="4743" idx="2"/>
              <a:endCxn id="4747" idx="0"/>
            </p:cNvCxnSpPr>
            <p:nvPr/>
          </p:nvCxnSpPr>
          <p:spPr bwMode="auto">
            <a:xfrm flipH="1">
              <a:off x="10807700" y="2282825"/>
              <a:ext cx="61913" cy="71438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49" name="Rectangle 6"/>
            <p:cNvSpPr>
              <a:spLocks noChangeArrowheads="1"/>
            </p:cNvSpPr>
            <p:nvPr/>
          </p:nvSpPr>
          <p:spPr bwMode="auto">
            <a:xfrm>
              <a:off x="10601325" y="2208213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sp>
          <p:nvSpPr>
            <p:cNvPr id="4750" name="Rectangle 6"/>
            <p:cNvSpPr>
              <a:spLocks noChangeArrowheads="1"/>
            </p:cNvSpPr>
            <p:nvPr/>
          </p:nvSpPr>
          <p:spPr bwMode="auto">
            <a:xfrm>
              <a:off x="11358563" y="2220913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J</a:t>
              </a:r>
            </a:p>
          </p:txBody>
        </p:sp>
        <p:cxnSp>
          <p:nvCxnSpPr>
            <p:cNvPr id="4751" name="AutoShape 19"/>
            <p:cNvCxnSpPr>
              <a:cxnSpLocks noChangeShapeType="1"/>
              <a:stCxn id="4736" idx="2"/>
              <a:endCxn id="4749" idx="0"/>
            </p:cNvCxnSpPr>
            <p:nvPr/>
          </p:nvCxnSpPr>
          <p:spPr bwMode="auto">
            <a:xfrm flipH="1">
              <a:off x="10668000" y="2146300"/>
              <a:ext cx="90488" cy="619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52" name="Rectangle 6"/>
            <p:cNvSpPr>
              <a:spLocks noChangeArrowheads="1"/>
            </p:cNvSpPr>
            <p:nvPr/>
          </p:nvSpPr>
          <p:spPr bwMode="auto">
            <a:xfrm>
              <a:off x="10099675" y="2128838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753" name="AutoShape 19"/>
            <p:cNvCxnSpPr>
              <a:cxnSpLocks noChangeShapeType="1"/>
              <a:stCxn id="4752" idx="2"/>
              <a:endCxn id="4755" idx="0"/>
            </p:cNvCxnSpPr>
            <p:nvPr/>
          </p:nvCxnSpPr>
          <p:spPr bwMode="auto">
            <a:xfrm>
              <a:off x="10166350" y="2171700"/>
              <a:ext cx="222250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54" name="Rectangle 6"/>
            <p:cNvSpPr>
              <a:spLocks noChangeArrowheads="1"/>
            </p:cNvSpPr>
            <p:nvPr/>
          </p:nvSpPr>
          <p:spPr bwMode="auto">
            <a:xfrm>
              <a:off x="10099675" y="2220913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755" name="Rectangle 6"/>
            <p:cNvSpPr>
              <a:spLocks noChangeArrowheads="1"/>
            </p:cNvSpPr>
            <p:nvPr/>
          </p:nvSpPr>
          <p:spPr bwMode="auto">
            <a:xfrm>
              <a:off x="10323513" y="2220913"/>
              <a:ext cx="131762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756" name="AutoShape 19"/>
            <p:cNvCxnSpPr>
              <a:cxnSpLocks noChangeShapeType="1"/>
              <a:stCxn id="4752" idx="2"/>
              <a:endCxn id="4754" idx="0"/>
            </p:cNvCxnSpPr>
            <p:nvPr/>
          </p:nvCxnSpPr>
          <p:spPr bwMode="auto">
            <a:xfrm>
              <a:off x="10166350" y="2171700"/>
              <a:ext cx="0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57" name="Rectangle 6"/>
            <p:cNvSpPr>
              <a:spLocks noChangeArrowheads="1"/>
            </p:cNvSpPr>
            <p:nvPr/>
          </p:nvSpPr>
          <p:spPr bwMode="auto">
            <a:xfrm>
              <a:off x="10321925" y="2352675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758" name="AutoShape 19"/>
            <p:cNvCxnSpPr>
              <a:cxnSpLocks noChangeShapeType="1"/>
              <a:stCxn id="4755" idx="2"/>
              <a:endCxn id="4757" idx="0"/>
            </p:cNvCxnSpPr>
            <p:nvPr/>
          </p:nvCxnSpPr>
          <p:spPr bwMode="auto">
            <a:xfrm flipH="1">
              <a:off x="10388600" y="2263775"/>
              <a:ext cx="0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759" name="AutoShape 19"/>
            <p:cNvCxnSpPr>
              <a:cxnSpLocks noChangeShapeType="1"/>
              <a:stCxn id="4755" idx="2"/>
              <a:endCxn id="4760" idx="0"/>
            </p:cNvCxnSpPr>
            <p:nvPr/>
          </p:nvCxnSpPr>
          <p:spPr bwMode="auto">
            <a:xfrm>
              <a:off x="10388600" y="2263775"/>
              <a:ext cx="236538" cy="746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60" name="Rectangle 6"/>
            <p:cNvSpPr>
              <a:spLocks noChangeArrowheads="1"/>
            </p:cNvSpPr>
            <p:nvPr/>
          </p:nvSpPr>
          <p:spPr bwMode="auto">
            <a:xfrm>
              <a:off x="10560050" y="2338388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J</a:t>
              </a:r>
            </a:p>
          </p:txBody>
        </p:sp>
        <p:cxnSp>
          <p:nvCxnSpPr>
            <p:cNvPr id="4761" name="AutoShape 19"/>
            <p:cNvCxnSpPr>
              <a:cxnSpLocks noChangeShapeType="1"/>
              <a:stCxn id="4752" idx="0"/>
              <a:endCxn id="4731" idx="2"/>
            </p:cNvCxnSpPr>
            <p:nvPr/>
          </p:nvCxnSpPr>
          <p:spPr bwMode="auto">
            <a:xfrm flipV="1">
              <a:off x="10166350" y="2027238"/>
              <a:ext cx="88900" cy="1016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62" name="Rectangle 6"/>
            <p:cNvSpPr>
              <a:spLocks noChangeArrowheads="1"/>
            </p:cNvSpPr>
            <p:nvPr/>
          </p:nvSpPr>
          <p:spPr bwMode="auto">
            <a:xfrm>
              <a:off x="9197975" y="1606550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sp>
          <p:nvSpPr>
            <p:cNvPr id="4763" name="Rectangle 6"/>
            <p:cNvSpPr>
              <a:spLocks noChangeArrowheads="1"/>
            </p:cNvSpPr>
            <p:nvPr/>
          </p:nvSpPr>
          <p:spPr bwMode="auto">
            <a:xfrm>
              <a:off x="9636125" y="1731963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764" name="AutoShape 19"/>
            <p:cNvCxnSpPr>
              <a:cxnSpLocks noChangeShapeType="1"/>
              <a:stCxn id="4763" idx="2"/>
              <a:endCxn id="4767" idx="0"/>
            </p:cNvCxnSpPr>
            <p:nvPr/>
          </p:nvCxnSpPr>
          <p:spPr bwMode="auto">
            <a:xfrm>
              <a:off x="9702800" y="1774825"/>
              <a:ext cx="222250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65" name="Rectangle 6"/>
            <p:cNvSpPr>
              <a:spLocks noChangeArrowheads="1"/>
            </p:cNvSpPr>
            <p:nvPr/>
          </p:nvSpPr>
          <p:spPr bwMode="auto">
            <a:xfrm>
              <a:off x="9636125" y="1824038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766" name="Rectangle 6"/>
            <p:cNvSpPr>
              <a:spLocks noChangeArrowheads="1"/>
            </p:cNvSpPr>
            <p:nvPr/>
          </p:nvSpPr>
          <p:spPr bwMode="auto">
            <a:xfrm>
              <a:off x="9429750" y="1824038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767" name="Rectangle 6"/>
            <p:cNvSpPr>
              <a:spLocks noChangeArrowheads="1"/>
            </p:cNvSpPr>
            <p:nvPr/>
          </p:nvSpPr>
          <p:spPr bwMode="auto">
            <a:xfrm>
              <a:off x="9859963" y="1824038"/>
              <a:ext cx="130175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768" name="AutoShape 19"/>
            <p:cNvCxnSpPr>
              <a:cxnSpLocks noChangeShapeType="1"/>
              <a:stCxn id="4763" idx="2"/>
              <a:endCxn id="4765" idx="0"/>
            </p:cNvCxnSpPr>
            <p:nvPr/>
          </p:nvCxnSpPr>
          <p:spPr bwMode="auto">
            <a:xfrm>
              <a:off x="9702800" y="1774825"/>
              <a:ext cx="0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769" name="AutoShape 19"/>
            <p:cNvCxnSpPr>
              <a:cxnSpLocks noChangeShapeType="1"/>
              <a:stCxn id="4763" idx="2"/>
              <a:endCxn id="4766" idx="0"/>
            </p:cNvCxnSpPr>
            <p:nvPr/>
          </p:nvCxnSpPr>
          <p:spPr bwMode="auto">
            <a:xfrm flipH="1">
              <a:off x="9496425" y="1774825"/>
              <a:ext cx="206375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770" name="AutoShape 19"/>
            <p:cNvCxnSpPr>
              <a:cxnSpLocks noChangeShapeType="1"/>
              <a:stCxn id="4450" idx="2"/>
              <a:endCxn id="4762" idx="0"/>
            </p:cNvCxnSpPr>
            <p:nvPr/>
          </p:nvCxnSpPr>
          <p:spPr bwMode="auto">
            <a:xfrm>
              <a:off x="8659813" y="1554163"/>
              <a:ext cx="604837" cy="5238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771" name="AutoShape 19"/>
            <p:cNvCxnSpPr>
              <a:cxnSpLocks noChangeShapeType="1"/>
              <a:stCxn id="4762" idx="2"/>
              <a:endCxn id="4763" idx="0"/>
            </p:cNvCxnSpPr>
            <p:nvPr/>
          </p:nvCxnSpPr>
          <p:spPr bwMode="auto">
            <a:xfrm>
              <a:off x="9264650" y="1649413"/>
              <a:ext cx="438150" cy="8255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72" name="Rectangle 6"/>
            <p:cNvSpPr>
              <a:spLocks noChangeArrowheads="1"/>
            </p:cNvSpPr>
            <p:nvPr/>
          </p:nvSpPr>
          <p:spPr bwMode="auto">
            <a:xfrm>
              <a:off x="9736138" y="1968500"/>
              <a:ext cx="130175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773" name="AutoShape 19"/>
            <p:cNvCxnSpPr>
              <a:cxnSpLocks noChangeShapeType="1"/>
              <a:stCxn id="4767" idx="2"/>
              <a:endCxn id="4772" idx="0"/>
            </p:cNvCxnSpPr>
            <p:nvPr/>
          </p:nvCxnSpPr>
          <p:spPr bwMode="auto">
            <a:xfrm flipH="1">
              <a:off x="9801225" y="1866900"/>
              <a:ext cx="123825" cy="1016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774" name="AutoShape 19"/>
            <p:cNvCxnSpPr>
              <a:cxnSpLocks noChangeShapeType="1"/>
              <a:stCxn id="4767" idx="2"/>
              <a:endCxn id="4775" idx="0"/>
            </p:cNvCxnSpPr>
            <p:nvPr/>
          </p:nvCxnSpPr>
          <p:spPr bwMode="auto">
            <a:xfrm>
              <a:off x="9925050" y="1866900"/>
              <a:ext cx="106363" cy="1301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75" name="Rectangle 6"/>
            <p:cNvSpPr>
              <a:spLocks noChangeArrowheads="1"/>
            </p:cNvSpPr>
            <p:nvPr/>
          </p:nvSpPr>
          <p:spPr bwMode="auto">
            <a:xfrm>
              <a:off x="9966325" y="1997075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J</a:t>
              </a:r>
            </a:p>
          </p:txBody>
        </p:sp>
        <p:sp>
          <p:nvSpPr>
            <p:cNvPr id="4776" name="Rectangle 6"/>
            <p:cNvSpPr>
              <a:spLocks noChangeArrowheads="1"/>
            </p:cNvSpPr>
            <p:nvPr/>
          </p:nvSpPr>
          <p:spPr bwMode="auto">
            <a:xfrm>
              <a:off x="8494713" y="2592388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777" name="AutoShape 19"/>
            <p:cNvCxnSpPr>
              <a:cxnSpLocks noChangeShapeType="1"/>
              <a:stCxn id="4776" idx="2"/>
              <a:endCxn id="4780" idx="0"/>
            </p:cNvCxnSpPr>
            <p:nvPr/>
          </p:nvCxnSpPr>
          <p:spPr bwMode="auto">
            <a:xfrm>
              <a:off x="8559800" y="2636838"/>
              <a:ext cx="223838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78" name="Rectangle 6"/>
            <p:cNvSpPr>
              <a:spLocks noChangeArrowheads="1"/>
            </p:cNvSpPr>
            <p:nvPr/>
          </p:nvSpPr>
          <p:spPr bwMode="auto">
            <a:xfrm>
              <a:off x="8494713" y="2684463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779" name="Rectangle 6"/>
            <p:cNvSpPr>
              <a:spLocks noChangeArrowheads="1"/>
            </p:cNvSpPr>
            <p:nvPr/>
          </p:nvSpPr>
          <p:spPr bwMode="auto">
            <a:xfrm>
              <a:off x="8288338" y="2684463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780" name="Rectangle 6"/>
            <p:cNvSpPr>
              <a:spLocks noChangeArrowheads="1"/>
            </p:cNvSpPr>
            <p:nvPr/>
          </p:nvSpPr>
          <p:spPr bwMode="auto">
            <a:xfrm>
              <a:off x="8716963" y="2684463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781" name="AutoShape 19"/>
            <p:cNvCxnSpPr>
              <a:cxnSpLocks noChangeShapeType="1"/>
              <a:stCxn id="4776" idx="2"/>
              <a:endCxn id="4778" idx="0"/>
            </p:cNvCxnSpPr>
            <p:nvPr/>
          </p:nvCxnSpPr>
          <p:spPr bwMode="auto">
            <a:xfrm>
              <a:off x="8559800" y="2636838"/>
              <a:ext cx="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782" name="AutoShape 19"/>
            <p:cNvCxnSpPr>
              <a:cxnSpLocks noChangeShapeType="1"/>
              <a:stCxn id="4776" idx="2"/>
              <a:endCxn id="4779" idx="0"/>
            </p:cNvCxnSpPr>
            <p:nvPr/>
          </p:nvCxnSpPr>
          <p:spPr bwMode="auto">
            <a:xfrm flipH="1">
              <a:off x="8353425" y="2636838"/>
              <a:ext cx="206375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83" name="Rectangle 6"/>
            <p:cNvSpPr>
              <a:spLocks noChangeArrowheads="1"/>
            </p:cNvSpPr>
            <p:nvPr/>
          </p:nvSpPr>
          <p:spPr bwMode="auto">
            <a:xfrm>
              <a:off x="8716963" y="2816225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784" name="AutoShape 19"/>
            <p:cNvCxnSpPr>
              <a:cxnSpLocks noChangeShapeType="1"/>
              <a:stCxn id="4780" idx="2"/>
              <a:endCxn id="4783" idx="0"/>
            </p:cNvCxnSpPr>
            <p:nvPr/>
          </p:nvCxnSpPr>
          <p:spPr bwMode="auto">
            <a:xfrm flipH="1">
              <a:off x="8782050" y="2728913"/>
              <a:ext cx="1588" cy="873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785" name="AutoShape 19"/>
            <p:cNvCxnSpPr>
              <a:cxnSpLocks noChangeShapeType="1"/>
              <a:stCxn id="4780" idx="2"/>
              <a:endCxn id="4793" idx="0"/>
            </p:cNvCxnSpPr>
            <p:nvPr/>
          </p:nvCxnSpPr>
          <p:spPr bwMode="auto">
            <a:xfrm>
              <a:off x="8783638" y="2728913"/>
              <a:ext cx="234950" cy="746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86" name="Rectangle 6"/>
            <p:cNvSpPr>
              <a:spLocks noChangeArrowheads="1"/>
            </p:cNvSpPr>
            <p:nvPr/>
          </p:nvSpPr>
          <p:spPr bwMode="auto">
            <a:xfrm>
              <a:off x="8399463" y="2819400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787" name="AutoShape 19"/>
            <p:cNvCxnSpPr>
              <a:cxnSpLocks noChangeShapeType="1"/>
              <a:stCxn id="4786" idx="0"/>
              <a:endCxn id="4779" idx="2"/>
            </p:cNvCxnSpPr>
            <p:nvPr/>
          </p:nvCxnSpPr>
          <p:spPr bwMode="auto">
            <a:xfrm flipH="1" flipV="1">
              <a:off x="8353425" y="2728913"/>
              <a:ext cx="112713" cy="9048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88" name="Rectangle 6"/>
            <p:cNvSpPr>
              <a:spLocks noChangeArrowheads="1"/>
            </p:cNvSpPr>
            <p:nvPr/>
          </p:nvSpPr>
          <p:spPr bwMode="auto">
            <a:xfrm>
              <a:off x="8499475" y="2936875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789" name="AutoShape 19"/>
            <p:cNvCxnSpPr>
              <a:cxnSpLocks noChangeShapeType="1"/>
              <a:stCxn id="4788" idx="0"/>
              <a:endCxn id="4786" idx="2"/>
            </p:cNvCxnSpPr>
            <p:nvPr/>
          </p:nvCxnSpPr>
          <p:spPr bwMode="auto">
            <a:xfrm flipH="1" flipV="1">
              <a:off x="8466138" y="2863850"/>
              <a:ext cx="98425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90" name="Rectangle 6"/>
            <p:cNvSpPr>
              <a:spLocks noChangeArrowheads="1"/>
            </p:cNvSpPr>
            <p:nvPr/>
          </p:nvSpPr>
          <p:spPr bwMode="auto">
            <a:xfrm>
              <a:off x="8337550" y="2936875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791" name="AutoShape 19"/>
            <p:cNvCxnSpPr>
              <a:cxnSpLocks noChangeShapeType="1"/>
              <a:stCxn id="4786" idx="2"/>
              <a:endCxn id="4790" idx="0"/>
            </p:cNvCxnSpPr>
            <p:nvPr/>
          </p:nvCxnSpPr>
          <p:spPr bwMode="auto">
            <a:xfrm flipH="1">
              <a:off x="8402638" y="2863850"/>
              <a:ext cx="63500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92" name="Rectangle 6"/>
            <p:cNvSpPr>
              <a:spLocks noChangeArrowheads="1"/>
            </p:cNvSpPr>
            <p:nvPr/>
          </p:nvSpPr>
          <p:spPr bwMode="auto">
            <a:xfrm>
              <a:off x="8197850" y="2789238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sp>
          <p:nvSpPr>
            <p:cNvPr id="4793" name="Rectangle 6"/>
            <p:cNvSpPr>
              <a:spLocks noChangeArrowheads="1"/>
            </p:cNvSpPr>
            <p:nvPr/>
          </p:nvSpPr>
          <p:spPr bwMode="auto">
            <a:xfrm>
              <a:off x="8953500" y="2803525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J</a:t>
              </a:r>
            </a:p>
          </p:txBody>
        </p:sp>
        <p:cxnSp>
          <p:nvCxnSpPr>
            <p:cNvPr id="4794" name="AutoShape 19"/>
            <p:cNvCxnSpPr>
              <a:cxnSpLocks noChangeShapeType="1"/>
              <a:stCxn id="4779" idx="2"/>
              <a:endCxn id="4792" idx="0"/>
            </p:cNvCxnSpPr>
            <p:nvPr/>
          </p:nvCxnSpPr>
          <p:spPr bwMode="auto">
            <a:xfrm flipH="1">
              <a:off x="8262938" y="2728913"/>
              <a:ext cx="90487" cy="603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102" name="Group 355"/>
          <p:cNvGrpSpPr>
            <a:grpSpLocks/>
          </p:cNvGrpSpPr>
          <p:nvPr/>
        </p:nvGrpSpPr>
        <p:grpSpPr bwMode="auto">
          <a:xfrm>
            <a:off x="6717507" y="2572942"/>
            <a:ext cx="2140744" cy="1401365"/>
            <a:chOff x="7912100" y="1509713"/>
            <a:chExt cx="3857625" cy="2273300"/>
          </a:xfrm>
        </p:grpSpPr>
        <p:sp>
          <p:nvSpPr>
            <p:cNvPr id="4105" name="Rectangle 6"/>
            <p:cNvSpPr>
              <a:spLocks noChangeArrowheads="1"/>
            </p:cNvSpPr>
            <p:nvPr/>
          </p:nvSpPr>
          <p:spPr bwMode="auto">
            <a:xfrm>
              <a:off x="8594725" y="1509713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106" name="AutoShape 19"/>
            <p:cNvCxnSpPr>
              <a:cxnSpLocks noChangeShapeType="1"/>
              <a:stCxn id="4105" idx="2"/>
              <a:endCxn id="4109" idx="0"/>
            </p:cNvCxnSpPr>
            <p:nvPr/>
          </p:nvCxnSpPr>
          <p:spPr bwMode="auto">
            <a:xfrm>
              <a:off x="8659813" y="1554163"/>
              <a:ext cx="223837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07" name="Rectangle 6"/>
            <p:cNvSpPr>
              <a:spLocks noChangeArrowheads="1"/>
            </p:cNvSpPr>
            <p:nvPr/>
          </p:nvSpPr>
          <p:spPr bwMode="auto">
            <a:xfrm>
              <a:off x="8594725" y="1601788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108" name="Rectangle 6"/>
            <p:cNvSpPr>
              <a:spLocks noChangeArrowheads="1"/>
            </p:cNvSpPr>
            <p:nvPr/>
          </p:nvSpPr>
          <p:spPr bwMode="auto">
            <a:xfrm>
              <a:off x="8388350" y="1601788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109" name="Rectangle 6"/>
            <p:cNvSpPr>
              <a:spLocks noChangeArrowheads="1"/>
            </p:cNvSpPr>
            <p:nvPr/>
          </p:nvSpPr>
          <p:spPr bwMode="auto">
            <a:xfrm>
              <a:off x="8816975" y="1601788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110" name="AutoShape 19"/>
            <p:cNvCxnSpPr>
              <a:cxnSpLocks noChangeShapeType="1"/>
              <a:stCxn id="4105" idx="2"/>
              <a:endCxn id="4107" idx="0"/>
            </p:cNvCxnSpPr>
            <p:nvPr/>
          </p:nvCxnSpPr>
          <p:spPr bwMode="auto">
            <a:xfrm>
              <a:off x="8659813" y="1554163"/>
              <a:ext cx="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11" name="AutoShape 19"/>
            <p:cNvCxnSpPr>
              <a:cxnSpLocks noChangeShapeType="1"/>
              <a:stCxn id="4105" idx="2"/>
              <a:endCxn id="4108" idx="0"/>
            </p:cNvCxnSpPr>
            <p:nvPr/>
          </p:nvCxnSpPr>
          <p:spPr bwMode="auto">
            <a:xfrm flipH="1">
              <a:off x="8455025" y="1554163"/>
              <a:ext cx="204788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12" name="Rectangle 6"/>
            <p:cNvSpPr>
              <a:spLocks noChangeArrowheads="1"/>
            </p:cNvSpPr>
            <p:nvPr/>
          </p:nvSpPr>
          <p:spPr bwMode="auto">
            <a:xfrm>
              <a:off x="8816975" y="1733550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113" name="AutoShape 19"/>
            <p:cNvCxnSpPr>
              <a:cxnSpLocks noChangeShapeType="1"/>
              <a:stCxn id="4109" idx="2"/>
              <a:endCxn id="4112" idx="0"/>
            </p:cNvCxnSpPr>
            <p:nvPr/>
          </p:nvCxnSpPr>
          <p:spPr bwMode="auto">
            <a:xfrm flipH="1">
              <a:off x="8882063" y="1644650"/>
              <a:ext cx="1587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14" name="AutoShape 19"/>
            <p:cNvCxnSpPr>
              <a:cxnSpLocks noChangeShapeType="1"/>
              <a:stCxn id="4109" idx="2"/>
              <a:endCxn id="4123" idx="0"/>
            </p:cNvCxnSpPr>
            <p:nvPr/>
          </p:nvCxnSpPr>
          <p:spPr bwMode="auto">
            <a:xfrm>
              <a:off x="8883650" y="1644650"/>
              <a:ext cx="188913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15" name="Rectangle 6"/>
            <p:cNvSpPr>
              <a:spLocks noChangeArrowheads="1"/>
            </p:cNvSpPr>
            <p:nvPr/>
          </p:nvSpPr>
          <p:spPr bwMode="auto">
            <a:xfrm>
              <a:off x="8499475" y="1736725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116" name="AutoShape 19"/>
            <p:cNvCxnSpPr>
              <a:cxnSpLocks noChangeShapeType="1"/>
              <a:stCxn id="4115" idx="0"/>
              <a:endCxn id="4108" idx="2"/>
            </p:cNvCxnSpPr>
            <p:nvPr/>
          </p:nvCxnSpPr>
          <p:spPr bwMode="auto">
            <a:xfrm flipH="1" flipV="1">
              <a:off x="8455025" y="1644650"/>
              <a:ext cx="111125" cy="920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17" name="Rectangle 6"/>
            <p:cNvSpPr>
              <a:spLocks noChangeArrowheads="1"/>
            </p:cNvSpPr>
            <p:nvPr/>
          </p:nvSpPr>
          <p:spPr bwMode="auto">
            <a:xfrm>
              <a:off x="8599488" y="1852613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118" name="AutoShape 19"/>
            <p:cNvCxnSpPr>
              <a:cxnSpLocks noChangeShapeType="1"/>
              <a:stCxn id="4117" idx="0"/>
              <a:endCxn id="4115" idx="2"/>
            </p:cNvCxnSpPr>
            <p:nvPr/>
          </p:nvCxnSpPr>
          <p:spPr bwMode="auto">
            <a:xfrm flipH="1" flipV="1">
              <a:off x="8566150" y="1781175"/>
              <a:ext cx="100013" cy="71438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19" name="Rectangle 6"/>
            <p:cNvSpPr>
              <a:spLocks noChangeArrowheads="1"/>
            </p:cNvSpPr>
            <p:nvPr/>
          </p:nvSpPr>
          <p:spPr bwMode="auto">
            <a:xfrm>
              <a:off x="8437563" y="1852613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120" name="AutoShape 19"/>
            <p:cNvCxnSpPr>
              <a:cxnSpLocks noChangeShapeType="1"/>
              <a:stCxn id="4115" idx="2"/>
              <a:endCxn id="4119" idx="0"/>
            </p:cNvCxnSpPr>
            <p:nvPr/>
          </p:nvCxnSpPr>
          <p:spPr bwMode="auto">
            <a:xfrm flipH="1">
              <a:off x="8502650" y="1781175"/>
              <a:ext cx="63500" cy="71438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21" name="Rectangle 6"/>
            <p:cNvSpPr>
              <a:spLocks noChangeArrowheads="1"/>
            </p:cNvSpPr>
            <p:nvPr/>
          </p:nvSpPr>
          <p:spPr bwMode="auto">
            <a:xfrm>
              <a:off x="8297863" y="1706563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cxnSp>
          <p:nvCxnSpPr>
            <p:cNvPr id="4122" name="AutoShape 19"/>
            <p:cNvCxnSpPr>
              <a:cxnSpLocks noChangeShapeType="1"/>
              <a:stCxn id="4108" idx="2"/>
              <a:endCxn id="4121" idx="0"/>
            </p:cNvCxnSpPr>
            <p:nvPr/>
          </p:nvCxnSpPr>
          <p:spPr bwMode="auto">
            <a:xfrm flipH="1">
              <a:off x="8362950" y="1644650"/>
              <a:ext cx="92075" cy="619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23" name="Rectangle 6"/>
            <p:cNvSpPr>
              <a:spLocks noChangeArrowheads="1"/>
            </p:cNvSpPr>
            <p:nvPr/>
          </p:nvSpPr>
          <p:spPr bwMode="auto">
            <a:xfrm>
              <a:off x="9007475" y="1733550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124" name="AutoShape 19"/>
            <p:cNvCxnSpPr>
              <a:cxnSpLocks noChangeShapeType="1"/>
              <a:stCxn id="4123" idx="2"/>
              <a:endCxn id="4127" idx="0"/>
            </p:cNvCxnSpPr>
            <p:nvPr/>
          </p:nvCxnSpPr>
          <p:spPr bwMode="auto">
            <a:xfrm>
              <a:off x="9072563" y="1778000"/>
              <a:ext cx="223837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25" name="Rectangle 6"/>
            <p:cNvSpPr>
              <a:spLocks noChangeArrowheads="1"/>
            </p:cNvSpPr>
            <p:nvPr/>
          </p:nvSpPr>
          <p:spPr bwMode="auto">
            <a:xfrm>
              <a:off x="9007475" y="1825625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126" name="Rectangle 6"/>
            <p:cNvSpPr>
              <a:spLocks noChangeArrowheads="1"/>
            </p:cNvSpPr>
            <p:nvPr/>
          </p:nvSpPr>
          <p:spPr bwMode="auto">
            <a:xfrm>
              <a:off x="8801100" y="1825625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127" name="Rectangle 6"/>
            <p:cNvSpPr>
              <a:spLocks noChangeArrowheads="1"/>
            </p:cNvSpPr>
            <p:nvPr/>
          </p:nvSpPr>
          <p:spPr bwMode="auto">
            <a:xfrm>
              <a:off x="9229725" y="1825625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128" name="AutoShape 19"/>
            <p:cNvCxnSpPr>
              <a:cxnSpLocks noChangeShapeType="1"/>
              <a:stCxn id="4123" idx="2"/>
              <a:endCxn id="4125" idx="0"/>
            </p:cNvCxnSpPr>
            <p:nvPr/>
          </p:nvCxnSpPr>
          <p:spPr bwMode="auto">
            <a:xfrm>
              <a:off x="9072563" y="1778000"/>
              <a:ext cx="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29" name="AutoShape 19"/>
            <p:cNvCxnSpPr>
              <a:cxnSpLocks noChangeShapeType="1"/>
              <a:stCxn id="4123" idx="2"/>
              <a:endCxn id="4126" idx="0"/>
            </p:cNvCxnSpPr>
            <p:nvPr/>
          </p:nvCxnSpPr>
          <p:spPr bwMode="auto">
            <a:xfrm flipH="1">
              <a:off x="8866188" y="1778000"/>
              <a:ext cx="206375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30" name="Rectangle 6"/>
            <p:cNvSpPr>
              <a:spLocks noChangeArrowheads="1"/>
            </p:cNvSpPr>
            <p:nvPr/>
          </p:nvSpPr>
          <p:spPr bwMode="auto">
            <a:xfrm>
              <a:off x="9229725" y="1957388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131" name="AutoShape 19"/>
            <p:cNvCxnSpPr>
              <a:cxnSpLocks noChangeShapeType="1"/>
              <a:stCxn id="4127" idx="2"/>
              <a:endCxn id="4130" idx="0"/>
            </p:cNvCxnSpPr>
            <p:nvPr/>
          </p:nvCxnSpPr>
          <p:spPr bwMode="auto">
            <a:xfrm flipH="1">
              <a:off x="9294813" y="1870075"/>
              <a:ext cx="1587" cy="873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32" name="AutoShape 19"/>
            <p:cNvCxnSpPr>
              <a:cxnSpLocks noChangeShapeType="1"/>
              <a:stCxn id="4127" idx="2"/>
              <a:endCxn id="4160" idx="0"/>
            </p:cNvCxnSpPr>
            <p:nvPr/>
          </p:nvCxnSpPr>
          <p:spPr bwMode="auto">
            <a:xfrm>
              <a:off x="9296400" y="1870075"/>
              <a:ext cx="228600" cy="1270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33" name="Rectangle 6"/>
            <p:cNvSpPr>
              <a:spLocks noChangeArrowheads="1"/>
            </p:cNvSpPr>
            <p:nvPr/>
          </p:nvSpPr>
          <p:spPr bwMode="auto">
            <a:xfrm>
              <a:off x="8912225" y="1962150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134" name="AutoShape 19"/>
            <p:cNvCxnSpPr>
              <a:cxnSpLocks noChangeShapeType="1"/>
              <a:stCxn id="4133" idx="0"/>
              <a:endCxn id="4126" idx="2"/>
            </p:cNvCxnSpPr>
            <p:nvPr/>
          </p:nvCxnSpPr>
          <p:spPr bwMode="auto">
            <a:xfrm flipH="1" flipV="1">
              <a:off x="8866188" y="1870075"/>
              <a:ext cx="112712" cy="920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35" name="Rectangle 6"/>
            <p:cNvSpPr>
              <a:spLocks noChangeArrowheads="1"/>
            </p:cNvSpPr>
            <p:nvPr/>
          </p:nvSpPr>
          <p:spPr bwMode="auto">
            <a:xfrm>
              <a:off x="9012238" y="2078038"/>
              <a:ext cx="131762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136" name="AutoShape 19"/>
            <p:cNvCxnSpPr>
              <a:cxnSpLocks noChangeShapeType="1"/>
              <a:stCxn id="4135" idx="0"/>
              <a:endCxn id="4133" idx="2"/>
            </p:cNvCxnSpPr>
            <p:nvPr/>
          </p:nvCxnSpPr>
          <p:spPr bwMode="auto">
            <a:xfrm flipH="1" flipV="1">
              <a:off x="8978900" y="2005013"/>
              <a:ext cx="100013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37" name="Rectangle 6"/>
            <p:cNvSpPr>
              <a:spLocks noChangeArrowheads="1"/>
            </p:cNvSpPr>
            <p:nvPr/>
          </p:nvSpPr>
          <p:spPr bwMode="auto">
            <a:xfrm>
              <a:off x="8850313" y="2078038"/>
              <a:ext cx="131762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138" name="AutoShape 19"/>
            <p:cNvCxnSpPr>
              <a:cxnSpLocks noChangeShapeType="1"/>
              <a:stCxn id="4133" idx="2"/>
              <a:endCxn id="4137" idx="0"/>
            </p:cNvCxnSpPr>
            <p:nvPr/>
          </p:nvCxnSpPr>
          <p:spPr bwMode="auto">
            <a:xfrm flipH="1">
              <a:off x="8915400" y="2005013"/>
              <a:ext cx="63500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39" name="Rectangle 6"/>
            <p:cNvSpPr>
              <a:spLocks noChangeArrowheads="1"/>
            </p:cNvSpPr>
            <p:nvPr/>
          </p:nvSpPr>
          <p:spPr bwMode="auto">
            <a:xfrm>
              <a:off x="8710613" y="1930400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cxnSp>
          <p:nvCxnSpPr>
            <p:cNvPr id="4140" name="AutoShape 19"/>
            <p:cNvCxnSpPr>
              <a:cxnSpLocks noChangeShapeType="1"/>
              <a:stCxn id="4126" idx="2"/>
              <a:endCxn id="4139" idx="0"/>
            </p:cNvCxnSpPr>
            <p:nvPr/>
          </p:nvCxnSpPr>
          <p:spPr bwMode="auto">
            <a:xfrm flipH="1">
              <a:off x="8775700" y="1870075"/>
              <a:ext cx="90488" cy="603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41" name="Rectangle 6"/>
            <p:cNvSpPr>
              <a:spLocks noChangeArrowheads="1"/>
            </p:cNvSpPr>
            <p:nvPr/>
          </p:nvSpPr>
          <p:spPr bwMode="auto">
            <a:xfrm>
              <a:off x="8208963" y="1851025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142" name="AutoShape 19"/>
            <p:cNvCxnSpPr>
              <a:cxnSpLocks noChangeShapeType="1"/>
              <a:stCxn id="4141" idx="2"/>
              <a:endCxn id="4145" idx="0"/>
            </p:cNvCxnSpPr>
            <p:nvPr/>
          </p:nvCxnSpPr>
          <p:spPr bwMode="auto">
            <a:xfrm>
              <a:off x="8274050" y="1895475"/>
              <a:ext cx="223838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43" name="Rectangle 6"/>
            <p:cNvSpPr>
              <a:spLocks noChangeArrowheads="1"/>
            </p:cNvSpPr>
            <p:nvPr/>
          </p:nvSpPr>
          <p:spPr bwMode="auto">
            <a:xfrm>
              <a:off x="8208963" y="1943100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144" name="Rectangle 6"/>
            <p:cNvSpPr>
              <a:spLocks noChangeArrowheads="1"/>
            </p:cNvSpPr>
            <p:nvPr/>
          </p:nvSpPr>
          <p:spPr bwMode="auto">
            <a:xfrm>
              <a:off x="8002588" y="1943100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145" name="Rectangle 6"/>
            <p:cNvSpPr>
              <a:spLocks noChangeArrowheads="1"/>
            </p:cNvSpPr>
            <p:nvPr/>
          </p:nvSpPr>
          <p:spPr bwMode="auto">
            <a:xfrm>
              <a:off x="8431213" y="1943100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146" name="AutoShape 19"/>
            <p:cNvCxnSpPr>
              <a:cxnSpLocks noChangeShapeType="1"/>
              <a:stCxn id="4141" idx="2"/>
              <a:endCxn id="4143" idx="0"/>
            </p:cNvCxnSpPr>
            <p:nvPr/>
          </p:nvCxnSpPr>
          <p:spPr bwMode="auto">
            <a:xfrm>
              <a:off x="8274050" y="1895475"/>
              <a:ext cx="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47" name="AutoShape 19"/>
            <p:cNvCxnSpPr>
              <a:cxnSpLocks noChangeShapeType="1"/>
              <a:stCxn id="4141" idx="2"/>
              <a:endCxn id="4144" idx="0"/>
            </p:cNvCxnSpPr>
            <p:nvPr/>
          </p:nvCxnSpPr>
          <p:spPr bwMode="auto">
            <a:xfrm flipH="1">
              <a:off x="8067675" y="1895475"/>
              <a:ext cx="206375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48" name="Rectangle 6"/>
            <p:cNvSpPr>
              <a:spLocks noChangeArrowheads="1"/>
            </p:cNvSpPr>
            <p:nvPr/>
          </p:nvSpPr>
          <p:spPr bwMode="auto">
            <a:xfrm>
              <a:off x="8431213" y="2074863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149" name="AutoShape 19"/>
            <p:cNvCxnSpPr>
              <a:cxnSpLocks noChangeShapeType="1"/>
              <a:stCxn id="4145" idx="2"/>
              <a:endCxn id="4148" idx="0"/>
            </p:cNvCxnSpPr>
            <p:nvPr/>
          </p:nvCxnSpPr>
          <p:spPr bwMode="auto">
            <a:xfrm flipH="1">
              <a:off x="8496300" y="1987550"/>
              <a:ext cx="1588" cy="873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50" name="AutoShape 19"/>
            <p:cNvCxnSpPr>
              <a:cxnSpLocks noChangeShapeType="1"/>
              <a:stCxn id="4145" idx="2"/>
              <a:endCxn id="4157" idx="0"/>
            </p:cNvCxnSpPr>
            <p:nvPr/>
          </p:nvCxnSpPr>
          <p:spPr bwMode="auto">
            <a:xfrm>
              <a:off x="8497888" y="1987550"/>
              <a:ext cx="234950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51" name="Rectangle 6"/>
            <p:cNvSpPr>
              <a:spLocks noChangeArrowheads="1"/>
            </p:cNvSpPr>
            <p:nvPr/>
          </p:nvSpPr>
          <p:spPr bwMode="auto">
            <a:xfrm>
              <a:off x="8113713" y="2078038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152" name="AutoShape 19"/>
            <p:cNvCxnSpPr>
              <a:cxnSpLocks noChangeShapeType="1"/>
              <a:stCxn id="4151" idx="0"/>
              <a:endCxn id="4144" idx="2"/>
            </p:cNvCxnSpPr>
            <p:nvPr/>
          </p:nvCxnSpPr>
          <p:spPr bwMode="auto">
            <a:xfrm flipH="1" flipV="1">
              <a:off x="8067675" y="1987550"/>
              <a:ext cx="112713" cy="90488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53" name="AutoShape 19"/>
            <p:cNvCxnSpPr>
              <a:cxnSpLocks noChangeShapeType="1"/>
              <a:stCxn id="4216" idx="0"/>
              <a:endCxn id="4151" idx="2"/>
            </p:cNvCxnSpPr>
            <p:nvPr/>
          </p:nvCxnSpPr>
          <p:spPr bwMode="auto">
            <a:xfrm flipH="1" flipV="1">
              <a:off x="8180388" y="2122488"/>
              <a:ext cx="134937" cy="603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54" name="Rectangle 6"/>
            <p:cNvSpPr>
              <a:spLocks noChangeArrowheads="1"/>
            </p:cNvSpPr>
            <p:nvPr/>
          </p:nvSpPr>
          <p:spPr bwMode="auto">
            <a:xfrm>
              <a:off x="8051800" y="2193925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155" name="AutoShape 19"/>
            <p:cNvCxnSpPr>
              <a:cxnSpLocks noChangeShapeType="1"/>
              <a:stCxn id="4151" idx="2"/>
              <a:endCxn id="4154" idx="0"/>
            </p:cNvCxnSpPr>
            <p:nvPr/>
          </p:nvCxnSpPr>
          <p:spPr bwMode="auto">
            <a:xfrm flipH="1">
              <a:off x="8116888" y="2122488"/>
              <a:ext cx="63500" cy="7143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56" name="Rectangle 6"/>
            <p:cNvSpPr>
              <a:spLocks noChangeArrowheads="1"/>
            </p:cNvSpPr>
            <p:nvPr/>
          </p:nvSpPr>
          <p:spPr bwMode="auto">
            <a:xfrm>
              <a:off x="7912100" y="2047875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sp>
          <p:nvSpPr>
            <p:cNvPr id="4157" name="Rectangle 6"/>
            <p:cNvSpPr>
              <a:spLocks noChangeArrowheads="1"/>
            </p:cNvSpPr>
            <p:nvPr/>
          </p:nvSpPr>
          <p:spPr bwMode="auto">
            <a:xfrm>
              <a:off x="8667750" y="2060575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J</a:t>
              </a:r>
            </a:p>
          </p:txBody>
        </p:sp>
        <p:cxnSp>
          <p:nvCxnSpPr>
            <p:cNvPr id="4158" name="AutoShape 19"/>
            <p:cNvCxnSpPr>
              <a:cxnSpLocks noChangeShapeType="1"/>
              <a:stCxn id="4144" idx="2"/>
              <a:endCxn id="4156" idx="0"/>
            </p:cNvCxnSpPr>
            <p:nvPr/>
          </p:nvCxnSpPr>
          <p:spPr bwMode="auto">
            <a:xfrm flipH="1">
              <a:off x="7977188" y="1987550"/>
              <a:ext cx="90487" cy="603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59" name="AutoShape 19"/>
            <p:cNvCxnSpPr>
              <a:cxnSpLocks noChangeShapeType="1"/>
              <a:stCxn id="4141" idx="0"/>
              <a:endCxn id="4121" idx="2"/>
            </p:cNvCxnSpPr>
            <p:nvPr/>
          </p:nvCxnSpPr>
          <p:spPr bwMode="auto">
            <a:xfrm flipV="1">
              <a:off x="8274050" y="1751013"/>
              <a:ext cx="88900" cy="1000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60" name="Rectangle 6"/>
            <p:cNvSpPr>
              <a:spLocks noChangeArrowheads="1"/>
            </p:cNvSpPr>
            <p:nvPr/>
          </p:nvSpPr>
          <p:spPr bwMode="auto">
            <a:xfrm>
              <a:off x="9458325" y="1997075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161" name="AutoShape 19"/>
            <p:cNvCxnSpPr>
              <a:cxnSpLocks noChangeShapeType="1"/>
              <a:stCxn id="4160" idx="2"/>
              <a:endCxn id="4164" idx="0"/>
            </p:cNvCxnSpPr>
            <p:nvPr/>
          </p:nvCxnSpPr>
          <p:spPr bwMode="auto">
            <a:xfrm>
              <a:off x="9525000" y="2039938"/>
              <a:ext cx="222250" cy="492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62" name="Rectangle 6"/>
            <p:cNvSpPr>
              <a:spLocks noChangeArrowheads="1"/>
            </p:cNvSpPr>
            <p:nvPr/>
          </p:nvSpPr>
          <p:spPr bwMode="auto">
            <a:xfrm>
              <a:off x="9458325" y="2089150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163" name="Rectangle 6"/>
            <p:cNvSpPr>
              <a:spLocks noChangeArrowheads="1"/>
            </p:cNvSpPr>
            <p:nvPr/>
          </p:nvSpPr>
          <p:spPr bwMode="auto">
            <a:xfrm>
              <a:off x="9253538" y="2089150"/>
              <a:ext cx="130175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164" name="Rectangle 6"/>
            <p:cNvSpPr>
              <a:spLocks noChangeArrowheads="1"/>
            </p:cNvSpPr>
            <p:nvPr/>
          </p:nvSpPr>
          <p:spPr bwMode="auto">
            <a:xfrm>
              <a:off x="9682163" y="2089150"/>
              <a:ext cx="131762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165" name="AutoShape 19"/>
            <p:cNvCxnSpPr>
              <a:cxnSpLocks noChangeShapeType="1"/>
              <a:stCxn id="4160" idx="2"/>
              <a:endCxn id="4162" idx="0"/>
            </p:cNvCxnSpPr>
            <p:nvPr/>
          </p:nvCxnSpPr>
          <p:spPr bwMode="auto">
            <a:xfrm>
              <a:off x="9525000" y="2039938"/>
              <a:ext cx="0" cy="492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66" name="AutoShape 19"/>
            <p:cNvCxnSpPr>
              <a:cxnSpLocks noChangeShapeType="1"/>
              <a:stCxn id="4160" idx="2"/>
              <a:endCxn id="4163" idx="0"/>
            </p:cNvCxnSpPr>
            <p:nvPr/>
          </p:nvCxnSpPr>
          <p:spPr bwMode="auto">
            <a:xfrm flipH="1">
              <a:off x="9318625" y="2039938"/>
              <a:ext cx="206375" cy="492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67" name="Rectangle 6"/>
            <p:cNvSpPr>
              <a:spLocks noChangeArrowheads="1"/>
            </p:cNvSpPr>
            <p:nvPr/>
          </p:nvSpPr>
          <p:spPr bwMode="auto">
            <a:xfrm>
              <a:off x="9682163" y="2220913"/>
              <a:ext cx="130175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168" name="AutoShape 19"/>
            <p:cNvCxnSpPr>
              <a:cxnSpLocks noChangeShapeType="1"/>
              <a:stCxn id="4164" idx="2"/>
              <a:endCxn id="4167" idx="0"/>
            </p:cNvCxnSpPr>
            <p:nvPr/>
          </p:nvCxnSpPr>
          <p:spPr bwMode="auto">
            <a:xfrm flipH="1">
              <a:off x="9747250" y="2132013"/>
              <a:ext cx="0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69" name="AutoShape 19"/>
            <p:cNvCxnSpPr>
              <a:cxnSpLocks noChangeShapeType="1"/>
              <a:stCxn id="4164" idx="2"/>
              <a:endCxn id="4178" idx="0"/>
            </p:cNvCxnSpPr>
            <p:nvPr/>
          </p:nvCxnSpPr>
          <p:spPr bwMode="auto">
            <a:xfrm>
              <a:off x="9747250" y="2132013"/>
              <a:ext cx="190500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70" name="Rectangle 6"/>
            <p:cNvSpPr>
              <a:spLocks noChangeArrowheads="1"/>
            </p:cNvSpPr>
            <p:nvPr/>
          </p:nvSpPr>
          <p:spPr bwMode="auto">
            <a:xfrm>
              <a:off x="9364663" y="2224088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171" name="AutoShape 19"/>
            <p:cNvCxnSpPr>
              <a:cxnSpLocks noChangeShapeType="1"/>
              <a:stCxn id="4170" idx="0"/>
              <a:endCxn id="4163" idx="2"/>
            </p:cNvCxnSpPr>
            <p:nvPr/>
          </p:nvCxnSpPr>
          <p:spPr bwMode="auto">
            <a:xfrm flipH="1" flipV="1">
              <a:off x="9318625" y="2132013"/>
              <a:ext cx="111125" cy="920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72" name="Rectangle 6"/>
            <p:cNvSpPr>
              <a:spLocks noChangeArrowheads="1"/>
            </p:cNvSpPr>
            <p:nvPr/>
          </p:nvSpPr>
          <p:spPr bwMode="auto">
            <a:xfrm>
              <a:off x="9464675" y="2339975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173" name="AutoShape 19"/>
            <p:cNvCxnSpPr>
              <a:cxnSpLocks noChangeShapeType="1"/>
              <a:stCxn id="4172" idx="0"/>
              <a:endCxn id="4170" idx="2"/>
            </p:cNvCxnSpPr>
            <p:nvPr/>
          </p:nvCxnSpPr>
          <p:spPr bwMode="auto">
            <a:xfrm flipH="1" flipV="1">
              <a:off x="9429750" y="2268538"/>
              <a:ext cx="100013" cy="7143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74" name="Rectangle 6"/>
            <p:cNvSpPr>
              <a:spLocks noChangeArrowheads="1"/>
            </p:cNvSpPr>
            <p:nvPr/>
          </p:nvSpPr>
          <p:spPr bwMode="auto">
            <a:xfrm>
              <a:off x="9302750" y="2339975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175" name="AutoShape 19"/>
            <p:cNvCxnSpPr>
              <a:cxnSpLocks noChangeShapeType="1"/>
              <a:stCxn id="4170" idx="2"/>
              <a:endCxn id="4174" idx="0"/>
            </p:cNvCxnSpPr>
            <p:nvPr/>
          </p:nvCxnSpPr>
          <p:spPr bwMode="auto">
            <a:xfrm flipH="1">
              <a:off x="9367838" y="2268538"/>
              <a:ext cx="61912" cy="7143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76" name="Rectangle 6"/>
            <p:cNvSpPr>
              <a:spLocks noChangeArrowheads="1"/>
            </p:cNvSpPr>
            <p:nvPr/>
          </p:nvSpPr>
          <p:spPr bwMode="auto">
            <a:xfrm>
              <a:off x="9161463" y="2193925"/>
              <a:ext cx="131762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cxnSp>
          <p:nvCxnSpPr>
            <p:cNvPr id="4177" name="AutoShape 19"/>
            <p:cNvCxnSpPr>
              <a:cxnSpLocks noChangeShapeType="1"/>
              <a:stCxn id="4163" idx="2"/>
              <a:endCxn id="4176" idx="0"/>
            </p:cNvCxnSpPr>
            <p:nvPr/>
          </p:nvCxnSpPr>
          <p:spPr bwMode="auto">
            <a:xfrm flipH="1">
              <a:off x="9228138" y="2132013"/>
              <a:ext cx="90487" cy="619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78" name="Rectangle 6"/>
            <p:cNvSpPr>
              <a:spLocks noChangeArrowheads="1"/>
            </p:cNvSpPr>
            <p:nvPr/>
          </p:nvSpPr>
          <p:spPr bwMode="auto">
            <a:xfrm>
              <a:off x="9871075" y="2220913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179" name="AutoShape 19"/>
            <p:cNvCxnSpPr>
              <a:cxnSpLocks noChangeShapeType="1"/>
              <a:stCxn id="4178" idx="2"/>
              <a:endCxn id="4182" idx="0"/>
            </p:cNvCxnSpPr>
            <p:nvPr/>
          </p:nvCxnSpPr>
          <p:spPr bwMode="auto">
            <a:xfrm>
              <a:off x="9937750" y="2265363"/>
              <a:ext cx="22225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80" name="Rectangle 6"/>
            <p:cNvSpPr>
              <a:spLocks noChangeArrowheads="1"/>
            </p:cNvSpPr>
            <p:nvPr/>
          </p:nvSpPr>
          <p:spPr bwMode="auto">
            <a:xfrm>
              <a:off x="9871075" y="2312988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181" name="Rectangle 6"/>
            <p:cNvSpPr>
              <a:spLocks noChangeArrowheads="1"/>
            </p:cNvSpPr>
            <p:nvPr/>
          </p:nvSpPr>
          <p:spPr bwMode="auto">
            <a:xfrm>
              <a:off x="9666288" y="2312988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182" name="Rectangle 6"/>
            <p:cNvSpPr>
              <a:spLocks noChangeArrowheads="1"/>
            </p:cNvSpPr>
            <p:nvPr/>
          </p:nvSpPr>
          <p:spPr bwMode="auto">
            <a:xfrm>
              <a:off x="10094913" y="2312988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183" name="AutoShape 19"/>
            <p:cNvCxnSpPr>
              <a:cxnSpLocks noChangeShapeType="1"/>
              <a:stCxn id="4178" idx="2"/>
              <a:endCxn id="4180" idx="0"/>
            </p:cNvCxnSpPr>
            <p:nvPr/>
          </p:nvCxnSpPr>
          <p:spPr bwMode="auto">
            <a:xfrm>
              <a:off x="9937750" y="2265363"/>
              <a:ext cx="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84" name="AutoShape 19"/>
            <p:cNvCxnSpPr>
              <a:cxnSpLocks noChangeShapeType="1"/>
              <a:stCxn id="4178" idx="2"/>
              <a:endCxn id="4181" idx="0"/>
            </p:cNvCxnSpPr>
            <p:nvPr/>
          </p:nvCxnSpPr>
          <p:spPr bwMode="auto">
            <a:xfrm flipH="1">
              <a:off x="9731375" y="2265363"/>
              <a:ext cx="206375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85" name="Rectangle 6"/>
            <p:cNvSpPr>
              <a:spLocks noChangeArrowheads="1"/>
            </p:cNvSpPr>
            <p:nvPr/>
          </p:nvSpPr>
          <p:spPr bwMode="auto">
            <a:xfrm>
              <a:off x="10093325" y="2444750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186" name="AutoShape 19"/>
            <p:cNvCxnSpPr>
              <a:cxnSpLocks noChangeShapeType="1"/>
              <a:stCxn id="4182" idx="2"/>
              <a:endCxn id="4185" idx="0"/>
            </p:cNvCxnSpPr>
            <p:nvPr/>
          </p:nvCxnSpPr>
          <p:spPr bwMode="auto">
            <a:xfrm flipH="1">
              <a:off x="10160000" y="2357438"/>
              <a:ext cx="0" cy="873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87" name="AutoShape 19"/>
            <p:cNvCxnSpPr>
              <a:cxnSpLocks noChangeShapeType="1"/>
              <a:stCxn id="4182" idx="2"/>
              <a:endCxn id="4194" idx="0"/>
            </p:cNvCxnSpPr>
            <p:nvPr/>
          </p:nvCxnSpPr>
          <p:spPr bwMode="auto">
            <a:xfrm>
              <a:off x="10160000" y="2357438"/>
              <a:ext cx="236538" cy="746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88" name="Rectangle 6"/>
            <p:cNvSpPr>
              <a:spLocks noChangeArrowheads="1"/>
            </p:cNvSpPr>
            <p:nvPr/>
          </p:nvSpPr>
          <p:spPr bwMode="auto">
            <a:xfrm>
              <a:off x="9777413" y="2447925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189" name="AutoShape 19"/>
            <p:cNvCxnSpPr>
              <a:cxnSpLocks noChangeShapeType="1"/>
              <a:stCxn id="4188" idx="0"/>
              <a:endCxn id="4181" idx="2"/>
            </p:cNvCxnSpPr>
            <p:nvPr/>
          </p:nvCxnSpPr>
          <p:spPr bwMode="auto">
            <a:xfrm flipH="1" flipV="1">
              <a:off x="9731375" y="2357438"/>
              <a:ext cx="111125" cy="9048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90" name="AutoShape 19"/>
            <p:cNvCxnSpPr>
              <a:cxnSpLocks noChangeShapeType="1"/>
              <a:stCxn id="4234" idx="0"/>
              <a:endCxn id="4188" idx="2"/>
            </p:cNvCxnSpPr>
            <p:nvPr/>
          </p:nvCxnSpPr>
          <p:spPr bwMode="auto">
            <a:xfrm flipH="1" flipV="1">
              <a:off x="9842500" y="2492375"/>
              <a:ext cx="125413" cy="746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91" name="Rectangle 6"/>
            <p:cNvSpPr>
              <a:spLocks noChangeArrowheads="1"/>
            </p:cNvSpPr>
            <p:nvPr/>
          </p:nvSpPr>
          <p:spPr bwMode="auto">
            <a:xfrm>
              <a:off x="9713913" y="2565400"/>
              <a:ext cx="131762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192" name="AutoShape 19"/>
            <p:cNvCxnSpPr>
              <a:cxnSpLocks noChangeShapeType="1"/>
              <a:stCxn id="4188" idx="2"/>
              <a:endCxn id="4191" idx="0"/>
            </p:cNvCxnSpPr>
            <p:nvPr/>
          </p:nvCxnSpPr>
          <p:spPr bwMode="auto">
            <a:xfrm flipH="1">
              <a:off x="9780588" y="2492375"/>
              <a:ext cx="61912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93" name="Rectangle 6"/>
            <p:cNvSpPr>
              <a:spLocks noChangeArrowheads="1"/>
            </p:cNvSpPr>
            <p:nvPr/>
          </p:nvSpPr>
          <p:spPr bwMode="auto">
            <a:xfrm>
              <a:off x="9574213" y="2417763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sp>
          <p:nvSpPr>
            <p:cNvPr id="4194" name="Rectangle 6"/>
            <p:cNvSpPr>
              <a:spLocks noChangeArrowheads="1"/>
            </p:cNvSpPr>
            <p:nvPr/>
          </p:nvSpPr>
          <p:spPr bwMode="auto">
            <a:xfrm>
              <a:off x="10331450" y="2432050"/>
              <a:ext cx="130175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J</a:t>
              </a:r>
            </a:p>
          </p:txBody>
        </p:sp>
        <p:cxnSp>
          <p:nvCxnSpPr>
            <p:cNvPr id="4195" name="AutoShape 19"/>
            <p:cNvCxnSpPr>
              <a:cxnSpLocks noChangeShapeType="1"/>
              <a:stCxn id="4181" idx="2"/>
              <a:endCxn id="4193" idx="0"/>
            </p:cNvCxnSpPr>
            <p:nvPr/>
          </p:nvCxnSpPr>
          <p:spPr bwMode="auto">
            <a:xfrm flipH="1">
              <a:off x="9639300" y="2357438"/>
              <a:ext cx="92075" cy="603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96" name="Rectangle 6"/>
            <p:cNvSpPr>
              <a:spLocks noChangeArrowheads="1"/>
            </p:cNvSpPr>
            <p:nvPr/>
          </p:nvSpPr>
          <p:spPr bwMode="auto">
            <a:xfrm>
              <a:off x="9072563" y="2338388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197" name="AutoShape 19"/>
            <p:cNvCxnSpPr>
              <a:cxnSpLocks noChangeShapeType="1"/>
              <a:stCxn id="4196" idx="2"/>
              <a:endCxn id="4200" idx="0"/>
            </p:cNvCxnSpPr>
            <p:nvPr/>
          </p:nvCxnSpPr>
          <p:spPr bwMode="auto">
            <a:xfrm>
              <a:off x="9139238" y="2382838"/>
              <a:ext cx="22225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98" name="Rectangle 6"/>
            <p:cNvSpPr>
              <a:spLocks noChangeArrowheads="1"/>
            </p:cNvSpPr>
            <p:nvPr/>
          </p:nvSpPr>
          <p:spPr bwMode="auto">
            <a:xfrm>
              <a:off x="9072563" y="2430463"/>
              <a:ext cx="131762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199" name="Rectangle 6"/>
            <p:cNvSpPr>
              <a:spLocks noChangeArrowheads="1"/>
            </p:cNvSpPr>
            <p:nvPr/>
          </p:nvSpPr>
          <p:spPr bwMode="auto">
            <a:xfrm>
              <a:off x="8867775" y="2430463"/>
              <a:ext cx="130175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200" name="Rectangle 6"/>
            <p:cNvSpPr>
              <a:spLocks noChangeArrowheads="1"/>
            </p:cNvSpPr>
            <p:nvPr/>
          </p:nvSpPr>
          <p:spPr bwMode="auto">
            <a:xfrm>
              <a:off x="9296400" y="2430463"/>
              <a:ext cx="130175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201" name="AutoShape 19"/>
            <p:cNvCxnSpPr>
              <a:cxnSpLocks noChangeShapeType="1"/>
              <a:stCxn id="4196" idx="2"/>
              <a:endCxn id="4198" idx="0"/>
            </p:cNvCxnSpPr>
            <p:nvPr/>
          </p:nvCxnSpPr>
          <p:spPr bwMode="auto">
            <a:xfrm>
              <a:off x="9139238" y="2382838"/>
              <a:ext cx="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02" name="AutoShape 19"/>
            <p:cNvCxnSpPr>
              <a:cxnSpLocks noChangeShapeType="1"/>
              <a:stCxn id="4196" idx="2"/>
              <a:endCxn id="4199" idx="0"/>
            </p:cNvCxnSpPr>
            <p:nvPr/>
          </p:nvCxnSpPr>
          <p:spPr bwMode="auto">
            <a:xfrm flipH="1">
              <a:off x="8932863" y="2382838"/>
              <a:ext cx="206375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03" name="Rectangle 6"/>
            <p:cNvSpPr>
              <a:spLocks noChangeArrowheads="1"/>
            </p:cNvSpPr>
            <p:nvPr/>
          </p:nvSpPr>
          <p:spPr bwMode="auto">
            <a:xfrm>
              <a:off x="9294813" y="2562225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204" name="AutoShape 19"/>
            <p:cNvCxnSpPr>
              <a:cxnSpLocks noChangeShapeType="1"/>
              <a:stCxn id="4200" idx="2"/>
              <a:endCxn id="4203" idx="0"/>
            </p:cNvCxnSpPr>
            <p:nvPr/>
          </p:nvCxnSpPr>
          <p:spPr bwMode="auto">
            <a:xfrm flipH="1">
              <a:off x="9361488" y="2473325"/>
              <a:ext cx="0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05" name="AutoShape 19"/>
            <p:cNvCxnSpPr>
              <a:cxnSpLocks noChangeShapeType="1"/>
              <a:stCxn id="4200" idx="2"/>
              <a:endCxn id="4213" idx="0"/>
            </p:cNvCxnSpPr>
            <p:nvPr/>
          </p:nvCxnSpPr>
          <p:spPr bwMode="auto">
            <a:xfrm>
              <a:off x="9361488" y="2473325"/>
              <a:ext cx="236537" cy="746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06" name="Rectangle 6"/>
            <p:cNvSpPr>
              <a:spLocks noChangeArrowheads="1"/>
            </p:cNvSpPr>
            <p:nvPr/>
          </p:nvSpPr>
          <p:spPr bwMode="auto">
            <a:xfrm>
              <a:off x="8978900" y="2565400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207" name="AutoShape 19"/>
            <p:cNvCxnSpPr>
              <a:cxnSpLocks noChangeShapeType="1"/>
              <a:stCxn id="4206" idx="0"/>
              <a:endCxn id="4199" idx="2"/>
            </p:cNvCxnSpPr>
            <p:nvPr/>
          </p:nvCxnSpPr>
          <p:spPr bwMode="auto">
            <a:xfrm flipH="1" flipV="1">
              <a:off x="8932863" y="2473325"/>
              <a:ext cx="111125" cy="920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08" name="Rectangle 6"/>
            <p:cNvSpPr>
              <a:spLocks noChangeArrowheads="1"/>
            </p:cNvSpPr>
            <p:nvPr/>
          </p:nvSpPr>
          <p:spPr bwMode="auto">
            <a:xfrm>
              <a:off x="9078913" y="2681288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209" name="AutoShape 19"/>
            <p:cNvCxnSpPr>
              <a:cxnSpLocks noChangeShapeType="1"/>
              <a:stCxn id="4208" idx="0"/>
              <a:endCxn id="4206" idx="2"/>
            </p:cNvCxnSpPr>
            <p:nvPr/>
          </p:nvCxnSpPr>
          <p:spPr bwMode="auto">
            <a:xfrm flipH="1" flipV="1">
              <a:off x="9043988" y="2609850"/>
              <a:ext cx="100012" cy="71438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10" name="Rectangle 6"/>
            <p:cNvSpPr>
              <a:spLocks noChangeArrowheads="1"/>
            </p:cNvSpPr>
            <p:nvPr/>
          </p:nvSpPr>
          <p:spPr bwMode="auto">
            <a:xfrm>
              <a:off x="8915400" y="2681288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211" name="AutoShape 19"/>
            <p:cNvCxnSpPr>
              <a:cxnSpLocks noChangeShapeType="1"/>
              <a:stCxn id="4206" idx="2"/>
              <a:endCxn id="4210" idx="0"/>
            </p:cNvCxnSpPr>
            <p:nvPr/>
          </p:nvCxnSpPr>
          <p:spPr bwMode="auto">
            <a:xfrm flipH="1">
              <a:off x="8982075" y="2609850"/>
              <a:ext cx="61913" cy="71438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12" name="Rectangle 6"/>
            <p:cNvSpPr>
              <a:spLocks noChangeArrowheads="1"/>
            </p:cNvSpPr>
            <p:nvPr/>
          </p:nvSpPr>
          <p:spPr bwMode="auto">
            <a:xfrm>
              <a:off x="8775700" y="2535238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sp>
          <p:nvSpPr>
            <p:cNvPr id="4213" name="Rectangle 6"/>
            <p:cNvSpPr>
              <a:spLocks noChangeArrowheads="1"/>
            </p:cNvSpPr>
            <p:nvPr/>
          </p:nvSpPr>
          <p:spPr bwMode="auto">
            <a:xfrm>
              <a:off x="9532938" y="2547938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J</a:t>
              </a:r>
            </a:p>
          </p:txBody>
        </p:sp>
        <p:cxnSp>
          <p:nvCxnSpPr>
            <p:cNvPr id="4214" name="AutoShape 19"/>
            <p:cNvCxnSpPr>
              <a:cxnSpLocks noChangeShapeType="1"/>
              <a:stCxn id="4199" idx="2"/>
              <a:endCxn id="4212" idx="0"/>
            </p:cNvCxnSpPr>
            <p:nvPr/>
          </p:nvCxnSpPr>
          <p:spPr bwMode="auto">
            <a:xfrm flipH="1">
              <a:off x="8840788" y="2473325"/>
              <a:ext cx="92075" cy="619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15" name="AutoShape 19"/>
            <p:cNvCxnSpPr>
              <a:cxnSpLocks noChangeShapeType="1"/>
              <a:stCxn id="4196" idx="0"/>
              <a:endCxn id="4176" idx="2"/>
            </p:cNvCxnSpPr>
            <p:nvPr/>
          </p:nvCxnSpPr>
          <p:spPr bwMode="auto">
            <a:xfrm flipV="1">
              <a:off x="9139238" y="2236788"/>
              <a:ext cx="88900" cy="1016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16" name="Rectangle 6"/>
            <p:cNvSpPr>
              <a:spLocks noChangeArrowheads="1"/>
            </p:cNvSpPr>
            <p:nvPr/>
          </p:nvSpPr>
          <p:spPr bwMode="auto">
            <a:xfrm>
              <a:off x="8250238" y="2182813"/>
              <a:ext cx="131762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217" name="AutoShape 19"/>
            <p:cNvCxnSpPr>
              <a:cxnSpLocks noChangeShapeType="1"/>
              <a:stCxn id="4216" idx="2"/>
              <a:endCxn id="4220" idx="0"/>
            </p:cNvCxnSpPr>
            <p:nvPr/>
          </p:nvCxnSpPr>
          <p:spPr bwMode="auto">
            <a:xfrm>
              <a:off x="8315325" y="2225675"/>
              <a:ext cx="223838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18" name="Rectangle 6"/>
            <p:cNvSpPr>
              <a:spLocks noChangeArrowheads="1"/>
            </p:cNvSpPr>
            <p:nvPr/>
          </p:nvSpPr>
          <p:spPr bwMode="auto">
            <a:xfrm>
              <a:off x="8250238" y="2273300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219" name="Rectangle 6"/>
            <p:cNvSpPr>
              <a:spLocks noChangeArrowheads="1"/>
            </p:cNvSpPr>
            <p:nvPr/>
          </p:nvSpPr>
          <p:spPr bwMode="auto">
            <a:xfrm>
              <a:off x="8043863" y="2273300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220" name="Rectangle 6"/>
            <p:cNvSpPr>
              <a:spLocks noChangeArrowheads="1"/>
            </p:cNvSpPr>
            <p:nvPr/>
          </p:nvSpPr>
          <p:spPr bwMode="auto">
            <a:xfrm>
              <a:off x="8474075" y="2273300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221" name="AutoShape 19"/>
            <p:cNvCxnSpPr>
              <a:cxnSpLocks noChangeShapeType="1"/>
              <a:stCxn id="4216" idx="2"/>
              <a:endCxn id="4218" idx="0"/>
            </p:cNvCxnSpPr>
            <p:nvPr/>
          </p:nvCxnSpPr>
          <p:spPr bwMode="auto">
            <a:xfrm>
              <a:off x="8315325" y="2225675"/>
              <a:ext cx="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22" name="AutoShape 19"/>
            <p:cNvCxnSpPr>
              <a:cxnSpLocks noChangeShapeType="1"/>
              <a:stCxn id="4216" idx="2"/>
              <a:endCxn id="4219" idx="0"/>
            </p:cNvCxnSpPr>
            <p:nvPr/>
          </p:nvCxnSpPr>
          <p:spPr bwMode="auto">
            <a:xfrm flipH="1">
              <a:off x="8110538" y="2225675"/>
              <a:ext cx="204787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23" name="AutoShape 19"/>
            <p:cNvCxnSpPr>
              <a:cxnSpLocks noChangeShapeType="1"/>
              <a:stCxn id="4220" idx="2"/>
              <a:endCxn id="4431" idx="0"/>
            </p:cNvCxnSpPr>
            <p:nvPr/>
          </p:nvCxnSpPr>
          <p:spPr bwMode="auto">
            <a:xfrm>
              <a:off x="8539163" y="2317750"/>
              <a:ext cx="20637" cy="274638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24" name="AutoShape 19"/>
            <p:cNvCxnSpPr>
              <a:cxnSpLocks noChangeShapeType="1"/>
              <a:stCxn id="4220" idx="2"/>
              <a:endCxn id="4232" idx="0"/>
            </p:cNvCxnSpPr>
            <p:nvPr/>
          </p:nvCxnSpPr>
          <p:spPr bwMode="auto">
            <a:xfrm>
              <a:off x="8539163" y="2317750"/>
              <a:ext cx="236537" cy="746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25" name="Rectangle 6"/>
            <p:cNvSpPr>
              <a:spLocks noChangeArrowheads="1"/>
            </p:cNvSpPr>
            <p:nvPr/>
          </p:nvSpPr>
          <p:spPr bwMode="auto">
            <a:xfrm>
              <a:off x="8154988" y="2409825"/>
              <a:ext cx="131762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226" name="AutoShape 19"/>
            <p:cNvCxnSpPr>
              <a:cxnSpLocks noChangeShapeType="1"/>
              <a:stCxn id="4225" idx="0"/>
              <a:endCxn id="4219" idx="2"/>
            </p:cNvCxnSpPr>
            <p:nvPr/>
          </p:nvCxnSpPr>
          <p:spPr bwMode="auto">
            <a:xfrm flipH="1" flipV="1">
              <a:off x="8110538" y="2317750"/>
              <a:ext cx="111125" cy="920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27" name="Rectangle 6"/>
            <p:cNvSpPr>
              <a:spLocks noChangeArrowheads="1"/>
            </p:cNvSpPr>
            <p:nvPr/>
          </p:nvSpPr>
          <p:spPr bwMode="auto">
            <a:xfrm>
              <a:off x="8255000" y="2525713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228" name="AutoShape 19"/>
            <p:cNvCxnSpPr>
              <a:cxnSpLocks noChangeShapeType="1"/>
              <a:stCxn id="4227" idx="0"/>
              <a:endCxn id="4225" idx="2"/>
            </p:cNvCxnSpPr>
            <p:nvPr/>
          </p:nvCxnSpPr>
          <p:spPr bwMode="auto">
            <a:xfrm flipH="1" flipV="1">
              <a:off x="8221663" y="2452688"/>
              <a:ext cx="100012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29" name="Rectangle 6"/>
            <p:cNvSpPr>
              <a:spLocks noChangeArrowheads="1"/>
            </p:cNvSpPr>
            <p:nvPr/>
          </p:nvSpPr>
          <p:spPr bwMode="auto">
            <a:xfrm>
              <a:off x="8093075" y="2525713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230" name="AutoShape 19"/>
            <p:cNvCxnSpPr>
              <a:cxnSpLocks noChangeShapeType="1"/>
              <a:stCxn id="4225" idx="2"/>
              <a:endCxn id="4229" idx="0"/>
            </p:cNvCxnSpPr>
            <p:nvPr/>
          </p:nvCxnSpPr>
          <p:spPr bwMode="auto">
            <a:xfrm flipH="1">
              <a:off x="8158163" y="2452688"/>
              <a:ext cx="63500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31" name="Rectangle 6"/>
            <p:cNvSpPr>
              <a:spLocks noChangeArrowheads="1"/>
            </p:cNvSpPr>
            <p:nvPr/>
          </p:nvSpPr>
          <p:spPr bwMode="auto">
            <a:xfrm>
              <a:off x="7953375" y="2379663"/>
              <a:ext cx="130175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sp>
          <p:nvSpPr>
            <p:cNvPr id="4232" name="Rectangle 6"/>
            <p:cNvSpPr>
              <a:spLocks noChangeArrowheads="1"/>
            </p:cNvSpPr>
            <p:nvPr/>
          </p:nvSpPr>
          <p:spPr bwMode="auto">
            <a:xfrm>
              <a:off x="8709025" y="2392363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J</a:t>
              </a:r>
            </a:p>
          </p:txBody>
        </p:sp>
        <p:cxnSp>
          <p:nvCxnSpPr>
            <p:cNvPr id="4233" name="AutoShape 19"/>
            <p:cNvCxnSpPr>
              <a:cxnSpLocks noChangeShapeType="1"/>
              <a:stCxn id="4219" idx="2"/>
              <a:endCxn id="4231" idx="0"/>
            </p:cNvCxnSpPr>
            <p:nvPr/>
          </p:nvCxnSpPr>
          <p:spPr bwMode="auto">
            <a:xfrm flipH="1">
              <a:off x="8018463" y="2317750"/>
              <a:ext cx="92075" cy="619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34" name="Rectangle 6"/>
            <p:cNvSpPr>
              <a:spLocks noChangeArrowheads="1"/>
            </p:cNvSpPr>
            <p:nvPr/>
          </p:nvSpPr>
          <p:spPr bwMode="auto">
            <a:xfrm>
              <a:off x="9901238" y="2566988"/>
              <a:ext cx="131762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235" name="AutoShape 19"/>
            <p:cNvCxnSpPr>
              <a:cxnSpLocks noChangeShapeType="1"/>
              <a:stCxn id="4234" idx="2"/>
              <a:endCxn id="4238" idx="0"/>
            </p:cNvCxnSpPr>
            <p:nvPr/>
          </p:nvCxnSpPr>
          <p:spPr bwMode="auto">
            <a:xfrm>
              <a:off x="9967913" y="2609850"/>
              <a:ext cx="222250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36" name="Rectangle 6"/>
            <p:cNvSpPr>
              <a:spLocks noChangeArrowheads="1"/>
            </p:cNvSpPr>
            <p:nvPr/>
          </p:nvSpPr>
          <p:spPr bwMode="auto">
            <a:xfrm>
              <a:off x="9901238" y="2659063"/>
              <a:ext cx="131762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237" name="Rectangle 6"/>
            <p:cNvSpPr>
              <a:spLocks noChangeArrowheads="1"/>
            </p:cNvSpPr>
            <p:nvPr/>
          </p:nvSpPr>
          <p:spPr bwMode="auto">
            <a:xfrm>
              <a:off x="9694863" y="2659063"/>
              <a:ext cx="131762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238" name="Rectangle 6"/>
            <p:cNvSpPr>
              <a:spLocks noChangeArrowheads="1"/>
            </p:cNvSpPr>
            <p:nvPr/>
          </p:nvSpPr>
          <p:spPr bwMode="auto">
            <a:xfrm>
              <a:off x="10125075" y="2659063"/>
              <a:ext cx="130175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239" name="AutoShape 19"/>
            <p:cNvCxnSpPr>
              <a:cxnSpLocks noChangeShapeType="1"/>
              <a:stCxn id="4234" idx="2"/>
              <a:endCxn id="4236" idx="0"/>
            </p:cNvCxnSpPr>
            <p:nvPr/>
          </p:nvCxnSpPr>
          <p:spPr bwMode="auto">
            <a:xfrm>
              <a:off x="9967913" y="2609850"/>
              <a:ext cx="0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40" name="AutoShape 19"/>
            <p:cNvCxnSpPr>
              <a:cxnSpLocks noChangeShapeType="1"/>
              <a:stCxn id="4234" idx="2"/>
              <a:endCxn id="4237" idx="0"/>
            </p:cNvCxnSpPr>
            <p:nvPr/>
          </p:nvCxnSpPr>
          <p:spPr bwMode="auto">
            <a:xfrm flipH="1">
              <a:off x="9761538" y="2609850"/>
              <a:ext cx="206375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41" name="Rectangle 6"/>
            <p:cNvSpPr>
              <a:spLocks noChangeArrowheads="1"/>
            </p:cNvSpPr>
            <p:nvPr/>
          </p:nvSpPr>
          <p:spPr bwMode="auto">
            <a:xfrm>
              <a:off x="10123488" y="2790825"/>
              <a:ext cx="131762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242" name="AutoShape 19"/>
            <p:cNvCxnSpPr>
              <a:cxnSpLocks noChangeShapeType="1"/>
              <a:stCxn id="4238" idx="2"/>
              <a:endCxn id="4241" idx="0"/>
            </p:cNvCxnSpPr>
            <p:nvPr/>
          </p:nvCxnSpPr>
          <p:spPr bwMode="auto">
            <a:xfrm flipH="1">
              <a:off x="10190163" y="2701925"/>
              <a:ext cx="0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43" name="AutoShape 19"/>
            <p:cNvCxnSpPr>
              <a:cxnSpLocks noChangeShapeType="1"/>
              <a:stCxn id="4238" idx="2"/>
              <a:endCxn id="4252" idx="0"/>
            </p:cNvCxnSpPr>
            <p:nvPr/>
          </p:nvCxnSpPr>
          <p:spPr bwMode="auto">
            <a:xfrm>
              <a:off x="10190163" y="2701925"/>
              <a:ext cx="188912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44" name="Rectangle 6"/>
            <p:cNvSpPr>
              <a:spLocks noChangeArrowheads="1"/>
            </p:cNvSpPr>
            <p:nvPr/>
          </p:nvSpPr>
          <p:spPr bwMode="auto">
            <a:xfrm>
              <a:off x="9807575" y="2794000"/>
              <a:ext cx="130175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245" name="AutoShape 19"/>
            <p:cNvCxnSpPr>
              <a:cxnSpLocks noChangeShapeType="1"/>
              <a:stCxn id="4244" idx="0"/>
              <a:endCxn id="4237" idx="2"/>
            </p:cNvCxnSpPr>
            <p:nvPr/>
          </p:nvCxnSpPr>
          <p:spPr bwMode="auto">
            <a:xfrm flipH="1" flipV="1">
              <a:off x="9761538" y="2701925"/>
              <a:ext cx="111125" cy="920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46" name="Rectangle 6"/>
            <p:cNvSpPr>
              <a:spLocks noChangeArrowheads="1"/>
            </p:cNvSpPr>
            <p:nvPr/>
          </p:nvSpPr>
          <p:spPr bwMode="auto">
            <a:xfrm>
              <a:off x="9906000" y="2909888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247" name="AutoShape 19"/>
            <p:cNvCxnSpPr>
              <a:cxnSpLocks noChangeShapeType="1"/>
              <a:stCxn id="4246" idx="0"/>
              <a:endCxn id="4244" idx="2"/>
            </p:cNvCxnSpPr>
            <p:nvPr/>
          </p:nvCxnSpPr>
          <p:spPr bwMode="auto">
            <a:xfrm flipH="1" flipV="1">
              <a:off x="9872663" y="2836863"/>
              <a:ext cx="100012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48" name="Rectangle 6"/>
            <p:cNvSpPr>
              <a:spLocks noChangeArrowheads="1"/>
            </p:cNvSpPr>
            <p:nvPr/>
          </p:nvSpPr>
          <p:spPr bwMode="auto">
            <a:xfrm>
              <a:off x="9744075" y="2909888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249" name="AutoShape 19"/>
            <p:cNvCxnSpPr>
              <a:cxnSpLocks noChangeShapeType="1"/>
              <a:stCxn id="4244" idx="2"/>
              <a:endCxn id="4248" idx="0"/>
            </p:cNvCxnSpPr>
            <p:nvPr/>
          </p:nvCxnSpPr>
          <p:spPr bwMode="auto">
            <a:xfrm flipH="1">
              <a:off x="9810750" y="2836863"/>
              <a:ext cx="61913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50" name="Rectangle 6"/>
            <p:cNvSpPr>
              <a:spLocks noChangeArrowheads="1"/>
            </p:cNvSpPr>
            <p:nvPr/>
          </p:nvSpPr>
          <p:spPr bwMode="auto">
            <a:xfrm>
              <a:off x="9604375" y="2763838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cxnSp>
          <p:nvCxnSpPr>
            <p:cNvPr id="4251" name="AutoShape 19"/>
            <p:cNvCxnSpPr>
              <a:cxnSpLocks noChangeShapeType="1"/>
              <a:stCxn id="4237" idx="2"/>
              <a:endCxn id="4250" idx="0"/>
            </p:cNvCxnSpPr>
            <p:nvPr/>
          </p:nvCxnSpPr>
          <p:spPr bwMode="auto">
            <a:xfrm flipH="1">
              <a:off x="9669463" y="2701925"/>
              <a:ext cx="92075" cy="619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52" name="Rectangle 6"/>
            <p:cNvSpPr>
              <a:spLocks noChangeArrowheads="1"/>
            </p:cNvSpPr>
            <p:nvPr/>
          </p:nvSpPr>
          <p:spPr bwMode="auto">
            <a:xfrm>
              <a:off x="10313988" y="2790825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253" name="AutoShape 19"/>
            <p:cNvCxnSpPr>
              <a:cxnSpLocks noChangeShapeType="1"/>
              <a:stCxn id="4252" idx="2"/>
              <a:endCxn id="4256" idx="0"/>
            </p:cNvCxnSpPr>
            <p:nvPr/>
          </p:nvCxnSpPr>
          <p:spPr bwMode="auto">
            <a:xfrm>
              <a:off x="10379075" y="2835275"/>
              <a:ext cx="223838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54" name="Rectangle 6"/>
            <p:cNvSpPr>
              <a:spLocks noChangeArrowheads="1"/>
            </p:cNvSpPr>
            <p:nvPr/>
          </p:nvSpPr>
          <p:spPr bwMode="auto">
            <a:xfrm>
              <a:off x="10313988" y="2882900"/>
              <a:ext cx="131762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255" name="Rectangle 6"/>
            <p:cNvSpPr>
              <a:spLocks noChangeArrowheads="1"/>
            </p:cNvSpPr>
            <p:nvPr/>
          </p:nvSpPr>
          <p:spPr bwMode="auto">
            <a:xfrm>
              <a:off x="10107613" y="2882900"/>
              <a:ext cx="131762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256" name="Rectangle 6"/>
            <p:cNvSpPr>
              <a:spLocks noChangeArrowheads="1"/>
            </p:cNvSpPr>
            <p:nvPr/>
          </p:nvSpPr>
          <p:spPr bwMode="auto">
            <a:xfrm>
              <a:off x="10536238" y="2882900"/>
              <a:ext cx="131762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257" name="AutoShape 19"/>
            <p:cNvCxnSpPr>
              <a:cxnSpLocks noChangeShapeType="1"/>
              <a:stCxn id="4252" idx="2"/>
              <a:endCxn id="4254" idx="0"/>
            </p:cNvCxnSpPr>
            <p:nvPr/>
          </p:nvCxnSpPr>
          <p:spPr bwMode="auto">
            <a:xfrm>
              <a:off x="10379075" y="2835275"/>
              <a:ext cx="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58" name="AutoShape 19"/>
            <p:cNvCxnSpPr>
              <a:cxnSpLocks noChangeShapeType="1"/>
              <a:stCxn id="4252" idx="2"/>
              <a:endCxn id="4255" idx="0"/>
            </p:cNvCxnSpPr>
            <p:nvPr/>
          </p:nvCxnSpPr>
          <p:spPr bwMode="auto">
            <a:xfrm flipH="1">
              <a:off x="10174288" y="2835275"/>
              <a:ext cx="204787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59" name="Rectangle 6"/>
            <p:cNvSpPr>
              <a:spLocks noChangeArrowheads="1"/>
            </p:cNvSpPr>
            <p:nvPr/>
          </p:nvSpPr>
          <p:spPr bwMode="auto">
            <a:xfrm>
              <a:off x="10536238" y="3014663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260" name="AutoShape 19"/>
            <p:cNvCxnSpPr>
              <a:cxnSpLocks noChangeShapeType="1"/>
              <a:stCxn id="4256" idx="2"/>
              <a:endCxn id="4259" idx="0"/>
            </p:cNvCxnSpPr>
            <p:nvPr/>
          </p:nvCxnSpPr>
          <p:spPr bwMode="auto">
            <a:xfrm flipH="1">
              <a:off x="10601325" y="2925763"/>
              <a:ext cx="1588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61" name="AutoShape 19"/>
            <p:cNvCxnSpPr>
              <a:cxnSpLocks noChangeShapeType="1"/>
              <a:stCxn id="4256" idx="2"/>
              <a:endCxn id="4289" idx="0"/>
            </p:cNvCxnSpPr>
            <p:nvPr/>
          </p:nvCxnSpPr>
          <p:spPr bwMode="auto">
            <a:xfrm>
              <a:off x="10602913" y="2925763"/>
              <a:ext cx="228600" cy="12858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62" name="Rectangle 6"/>
            <p:cNvSpPr>
              <a:spLocks noChangeArrowheads="1"/>
            </p:cNvSpPr>
            <p:nvPr/>
          </p:nvSpPr>
          <p:spPr bwMode="auto">
            <a:xfrm>
              <a:off x="10218738" y="3017838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263" name="AutoShape 19"/>
            <p:cNvCxnSpPr>
              <a:cxnSpLocks noChangeShapeType="1"/>
              <a:stCxn id="4262" idx="0"/>
              <a:endCxn id="4255" idx="2"/>
            </p:cNvCxnSpPr>
            <p:nvPr/>
          </p:nvCxnSpPr>
          <p:spPr bwMode="auto">
            <a:xfrm flipH="1" flipV="1">
              <a:off x="10174288" y="2925763"/>
              <a:ext cx="111125" cy="920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64" name="Rectangle 6"/>
            <p:cNvSpPr>
              <a:spLocks noChangeArrowheads="1"/>
            </p:cNvSpPr>
            <p:nvPr/>
          </p:nvSpPr>
          <p:spPr bwMode="auto">
            <a:xfrm>
              <a:off x="10318750" y="3133725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265" name="AutoShape 19"/>
            <p:cNvCxnSpPr>
              <a:cxnSpLocks noChangeShapeType="1"/>
              <a:stCxn id="4264" idx="0"/>
              <a:endCxn id="4262" idx="2"/>
            </p:cNvCxnSpPr>
            <p:nvPr/>
          </p:nvCxnSpPr>
          <p:spPr bwMode="auto">
            <a:xfrm flipH="1" flipV="1">
              <a:off x="10285413" y="3062288"/>
              <a:ext cx="100012" cy="7143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66" name="Rectangle 6"/>
            <p:cNvSpPr>
              <a:spLocks noChangeArrowheads="1"/>
            </p:cNvSpPr>
            <p:nvPr/>
          </p:nvSpPr>
          <p:spPr bwMode="auto">
            <a:xfrm>
              <a:off x="10156825" y="3133725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267" name="AutoShape 19"/>
            <p:cNvCxnSpPr>
              <a:cxnSpLocks noChangeShapeType="1"/>
              <a:stCxn id="4262" idx="2"/>
              <a:endCxn id="4266" idx="0"/>
            </p:cNvCxnSpPr>
            <p:nvPr/>
          </p:nvCxnSpPr>
          <p:spPr bwMode="auto">
            <a:xfrm flipH="1">
              <a:off x="10221913" y="3062288"/>
              <a:ext cx="63500" cy="7143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68" name="Rectangle 6"/>
            <p:cNvSpPr>
              <a:spLocks noChangeArrowheads="1"/>
            </p:cNvSpPr>
            <p:nvPr/>
          </p:nvSpPr>
          <p:spPr bwMode="auto">
            <a:xfrm>
              <a:off x="10017125" y="2987675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cxnSp>
          <p:nvCxnSpPr>
            <p:cNvPr id="4269" name="AutoShape 19"/>
            <p:cNvCxnSpPr>
              <a:cxnSpLocks noChangeShapeType="1"/>
              <a:stCxn id="4255" idx="2"/>
              <a:endCxn id="4268" idx="0"/>
            </p:cNvCxnSpPr>
            <p:nvPr/>
          </p:nvCxnSpPr>
          <p:spPr bwMode="auto">
            <a:xfrm flipH="1">
              <a:off x="10082213" y="2925763"/>
              <a:ext cx="92075" cy="619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70" name="Rectangle 6"/>
            <p:cNvSpPr>
              <a:spLocks noChangeArrowheads="1"/>
            </p:cNvSpPr>
            <p:nvPr/>
          </p:nvSpPr>
          <p:spPr bwMode="auto">
            <a:xfrm>
              <a:off x="9515475" y="2908300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271" name="AutoShape 19"/>
            <p:cNvCxnSpPr>
              <a:cxnSpLocks noChangeShapeType="1"/>
              <a:stCxn id="4270" idx="2"/>
              <a:endCxn id="4274" idx="0"/>
            </p:cNvCxnSpPr>
            <p:nvPr/>
          </p:nvCxnSpPr>
          <p:spPr bwMode="auto">
            <a:xfrm>
              <a:off x="9580563" y="2951163"/>
              <a:ext cx="223837" cy="492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72" name="Rectangle 6"/>
            <p:cNvSpPr>
              <a:spLocks noChangeArrowheads="1"/>
            </p:cNvSpPr>
            <p:nvPr/>
          </p:nvSpPr>
          <p:spPr bwMode="auto">
            <a:xfrm>
              <a:off x="9515475" y="3000375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273" name="Rectangle 6"/>
            <p:cNvSpPr>
              <a:spLocks noChangeArrowheads="1"/>
            </p:cNvSpPr>
            <p:nvPr/>
          </p:nvSpPr>
          <p:spPr bwMode="auto">
            <a:xfrm>
              <a:off x="9309100" y="3000375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274" name="Rectangle 6"/>
            <p:cNvSpPr>
              <a:spLocks noChangeArrowheads="1"/>
            </p:cNvSpPr>
            <p:nvPr/>
          </p:nvSpPr>
          <p:spPr bwMode="auto">
            <a:xfrm>
              <a:off x="9737725" y="3000375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275" name="AutoShape 19"/>
            <p:cNvCxnSpPr>
              <a:cxnSpLocks noChangeShapeType="1"/>
              <a:stCxn id="4270" idx="2"/>
              <a:endCxn id="4272" idx="0"/>
            </p:cNvCxnSpPr>
            <p:nvPr/>
          </p:nvCxnSpPr>
          <p:spPr bwMode="auto">
            <a:xfrm>
              <a:off x="9580563" y="2951163"/>
              <a:ext cx="0" cy="492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76" name="AutoShape 19"/>
            <p:cNvCxnSpPr>
              <a:cxnSpLocks noChangeShapeType="1"/>
              <a:stCxn id="4270" idx="2"/>
              <a:endCxn id="4273" idx="0"/>
            </p:cNvCxnSpPr>
            <p:nvPr/>
          </p:nvCxnSpPr>
          <p:spPr bwMode="auto">
            <a:xfrm flipH="1">
              <a:off x="9375775" y="2951163"/>
              <a:ext cx="204788" cy="492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77" name="Rectangle 6"/>
            <p:cNvSpPr>
              <a:spLocks noChangeArrowheads="1"/>
            </p:cNvSpPr>
            <p:nvPr/>
          </p:nvSpPr>
          <p:spPr bwMode="auto">
            <a:xfrm>
              <a:off x="9737725" y="3132138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278" name="AutoShape 19"/>
            <p:cNvCxnSpPr>
              <a:cxnSpLocks noChangeShapeType="1"/>
              <a:stCxn id="4274" idx="2"/>
              <a:endCxn id="4277" idx="0"/>
            </p:cNvCxnSpPr>
            <p:nvPr/>
          </p:nvCxnSpPr>
          <p:spPr bwMode="auto">
            <a:xfrm flipH="1">
              <a:off x="9802813" y="3043238"/>
              <a:ext cx="1587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79" name="AutoShape 19"/>
            <p:cNvCxnSpPr>
              <a:cxnSpLocks noChangeShapeType="1"/>
              <a:stCxn id="4274" idx="2"/>
              <a:endCxn id="4286" idx="0"/>
            </p:cNvCxnSpPr>
            <p:nvPr/>
          </p:nvCxnSpPr>
          <p:spPr bwMode="auto">
            <a:xfrm>
              <a:off x="9804400" y="3043238"/>
              <a:ext cx="236538" cy="746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80" name="Rectangle 6"/>
            <p:cNvSpPr>
              <a:spLocks noChangeArrowheads="1"/>
            </p:cNvSpPr>
            <p:nvPr/>
          </p:nvSpPr>
          <p:spPr bwMode="auto">
            <a:xfrm>
              <a:off x="9420225" y="3135313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281" name="AutoShape 19"/>
            <p:cNvCxnSpPr>
              <a:cxnSpLocks noChangeShapeType="1"/>
              <a:stCxn id="4280" idx="0"/>
              <a:endCxn id="4273" idx="2"/>
            </p:cNvCxnSpPr>
            <p:nvPr/>
          </p:nvCxnSpPr>
          <p:spPr bwMode="auto">
            <a:xfrm flipH="1" flipV="1">
              <a:off x="9375775" y="3043238"/>
              <a:ext cx="111125" cy="920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82" name="AutoShape 19"/>
            <p:cNvCxnSpPr>
              <a:cxnSpLocks noChangeShapeType="1"/>
              <a:stCxn id="4346" idx="0"/>
              <a:endCxn id="4280" idx="2"/>
            </p:cNvCxnSpPr>
            <p:nvPr/>
          </p:nvCxnSpPr>
          <p:spPr bwMode="auto">
            <a:xfrm flipH="1" flipV="1">
              <a:off x="9486900" y="3179763"/>
              <a:ext cx="136525" cy="5873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83" name="Rectangle 6"/>
            <p:cNvSpPr>
              <a:spLocks noChangeArrowheads="1"/>
            </p:cNvSpPr>
            <p:nvPr/>
          </p:nvSpPr>
          <p:spPr bwMode="auto">
            <a:xfrm>
              <a:off x="9358313" y="3251200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284" name="AutoShape 19"/>
            <p:cNvCxnSpPr>
              <a:cxnSpLocks noChangeShapeType="1"/>
              <a:stCxn id="4280" idx="2"/>
              <a:endCxn id="4283" idx="0"/>
            </p:cNvCxnSpPr>
            <p:nvPr/>
          </p:nvCxnSpPr>
          <p:spPr bwMode="auto">
            <a:xfrm flipH="1">
              <a:off x="9423400" y="3179763"/>
              <a:ext cx="63500" cy="7143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85" name="Rectangle 6"/>
            <p:cNvSpPr>
              <a:spLocks noChangeArrowheads="1"/>
            </p:cNvSpPr>
            <p:nvPr/>
          </p:nvSpPr>
          <p:spPr bwMode="auto">
            <a:xfrm>
              <a:off x="9218613" y="3105150"/>
              <a:ext cx="130175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sp>
          <p:nvSpPr>
            <p:cNvPr id="4286" name="Rectangle 6"/>
            <p:cNvSpPr>
              <a:spLocks noChangeArrowheads="1"/>
            </p:cNvSpPr>
            <p:nvPr/>
          </p:nvSpPr>
          <p:spPr bwMode="auto">
            <a:xfrm>
              <a:off x="9974263" y="3117850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J</a:t>
              </a:r>
            </a:p>
          </p:txBody>
        </p:sp>
        <p:cxnSp>
          <p:nvCxnSpPr>
            <p:cNvPr id="4287" name="AutoShape 19"/>
            <p:cNvCxnSpPr>
              <a:cxnSpLocks noChangeShapeType="1"/>
              <a:stCxn id="4273" idx="2"/>
              <a:endCxn id="4285" idx="0"/>
            </p:cNvCxnSpPr>
            <p:nvPr/>
          </p:nvCxnSpPr>
          <p:spPr bwMode="auto">
            <a:xfrm flipH="1">
              <a:off x="9283700" y="3043238"/>
              <a:ext cx="92075" cy="619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88" name="AutoShape 19"/>
            <p:cNvCxnSpPr>
              <a:cxnSpLocks noChangeShapeType="1"/>
              <a:stCxn id="4270" idx="0"/>
              <a:endCxn id="4250" idx="2"/>
            </p:cNvCxnSpPr>
            <p:nvPr/>
          </p:nvCxnSpPr>
          <p:spPr bwMode="auto">
            <a:xfrm flipV="1">
              <a:off x="9580563" y="2806700"/>
              <a:ext cx="88900" cy="1016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89" name="Rectangle 6"/>
            <p:cNvSpPr>
              <a:spLocks noChangeArrowheads="1"/>
            </p:cNvSpPr>
            <p:nvPr/>
          </p:nvSpPr>
          <p:spPr bwMode="auto">
            <a:xfrm>
              <a:off x="10766425" y="3054350"/>
              <a:ext cx="130175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290" name="AutoShape 19"/>
            <p:cNvCxnSpPr>
              <a:cxnSpLocks noChangeShapeType="1"/>
              <a:stCxn id="4289" idx="2"/>
              <a:endCxn id="4293" idx="0"/>
            </p:cNvCxnSpPr>
            <p:nvPr/>
          </p:nvCxnSpPr>
          <p:spPr bwMode="auto">
            <a:xfrm>
              <a:off x="10831513" y="3097213"/>
              <a:ext cx="22225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91" name="Rectangle 6"/>
            <p:cNvSpPr>
              <a:spLocks noChangeArrowheads="1"/>
            </p:cNvSpPr>
            <p:nvPr/>
          </p:nvSpPr>
          <p:spPr bwMode="auto">
            <a:xfrm>
              <a:off x="10766425" y="3144838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292" name="Rectangle 6"/>
            <p:cNvSpPr>
              <a:spLocks noChangeArrowheads="1"/>
            </p:cNvSpPr>
            <p:nvPr/>
          </p:nvSpPr>
          <p:spPr bwMode="auto">
            <a:xfrm>
              <a:off x="10560050" y="3144838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293" name="Rectangle 6"/>
            <p:cNvSpPr>
              <a:spLocks noChangeArrowheads="1"/>
            </p:cNvSpPr>
            <p:nvPr/>
          </p:nvSpPr>
          <p:spPr bwMode="auto">
            <a:xfrm>
              <a:off x="10988675" y="3144838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294" name="AutoShape 19"/>
            <p:cNvCxnSpPr>
              <a:cxnSpLocks noChangeShapeType="1"/>
              <a:stCxn id="4289" idx="2"/>
              <a:endCxn id="4291" idx="0"/>
            </p:cNvCxnSpPr>
            <p:nvPr/>
          </p:nvCxnSpPr>
          <p:spPr bwMode="auto">
            <a:xfrm>
              <a:off x="10831513" y="3097213"/>
              <a:ext cx="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95" name="AutoShape 19"/>
            <p:cNvCxnSpPr>
              <a:cxnSpLocks noChangeShapeType="1"/>
              <a:stCxn id="4289" idx="2"/>
              <a:endCxn id="4292" idx="0"/>
            </p:cNvCxnSpPr>
            <p:nvPr/>
          </p:nvCxnSpPr>
          <p:spPr bwMode="auto">
            <a:xfrm flipH="1">
              <a:off x="10625138" y="3097213"/>
              <a:ext cx="206375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96" name="Rectangle 6"/>
            <p:cNvSpPr>
              <a:spLocks noChangeArrowheads="1"/>
            </p:cNvSpPr>
            <p:nvPr/>
          </p:nvSpPr>
          <p:spPr bwMode="auto">
            <a:xfrm>
              <a:off x="10988675" y="3278188"/>
              <a:ext cx="130175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297" name="AutoShape 19"/>
            <p:cNvCxnSpPr>
              <a:cxnSpLocks noChangeShapeType="1"/>
              <a:stCxn id="4293" idx="2"/>
              <a:endCxn id="4296" idx="0"/>
            </p:cNvCxnSpPr>
            <p:nvPr/>
          </p:nvCxnSpPr>
          <p:spPr bwMode="auto">
            <a:xfrm flipH="1">
              <a:off x="11053763" y="3189288"/>
              <a:ext cx="0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98" name="AutoShape 19"/>
            <p:cNvCxnSpPr>
              <a:cxnSpLocks noChangeShapeType="1"/>
              <a:stCxn id="4293" idx="2"/>
              <a:endCxn id="4307" idx="0"/>
            </p:cNvCxnSpPr>
            <p:nvPr/>
          </p:nvCxnSpPr>
          <p:spPr bwMode="auto">
            <a:xfrm>
              <a:off x="11053763" y="3189288"/>
              <a:ext cx="190500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99" name="Rectangle 6"/>
            <p:cNvSpPr>
              <a:spLocks noChangeArrowheads="1"/>
            </p:cNvSpPr>
            <p:nvPr/>
          </p:nvSpPr>
          <p:spPr bwMode="auto">
            <a:xfrm>
              <a:off x="10671175" y="3281363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300" name="AutoShape 19"/>
            <p:cNvCxnSpPr>
              <a:cxnSpLocks noChangeShapeType="1"/>
              <a:stCxn id="4299" idx="0"/>
              <a:endCxn id="4292" idx="2"/>
            </p:cNvCxnSpPr>
            <p:nvPr/>
          </p:nvCxnSpPr>
          <p:spPr bwMode="auto">
            <a:xfrm flipH="1" flipV="1">
              <a:off x="10625138" y="3189288"/>
              <a:ext cx="111125" cy="920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01" name="Rectangle 6"/>
            <p:cNvSpPr>
              <a:spLocks noChangeArrowheads="1"/>
            </p:cNvSpPr>
            <p:nvPr/>
          </p:nvSpPr>
          <p:spPr bwMode="auto">
            <a:xfrm>
              <a:off x="10771188" y="3397250"/>
              <a:ext cx="131762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302" name="AutoShape 19"/>
            <p:cNvCxnSpPr>
              <a:cxnSpLocks noChangeShapeType="1"/>
              <a:stCxn id="4301" idx="0"/>
              <a:endCxn id="4299" idx="2"/>
            </p:cNvCxnSpPr>
            <p:nvPr/>
          </p:nvCxnSpPr>
          <p:spPr bwMode="auto">
            <a:xfrm flipH="1" flipV="1">
              <a:off x="10736263" y="3324225"/>
              <a:ext cx="100012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03" name="Rectangle 6"/>
            <p:cNvSpPr>
              <a:spLocks noChangeArrowheads="1"/>
            </p:cNvSpPr>
            <p:nvPr/>
          </p:nvSpPr>
          <p:spPr bwMode="auto">
            <a:xfrm>
              <a:off x="10609263" y="3397250"/>
              <a:ext cx="130175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304" name="AutoShape 19"/>
            <p:cNvCxnSpPr>
              <a:cxnSpLocks noChangeShapeType="1"/>
              <a:stCxn id="4299" idx="2"/>
              <a:endCxn id="4303" idx="0"/>
            </p:cNvCxnSpPr>
            <p:nvPr/>
          </p:nvCxnSpPr>
          <p:spPr bwMode="auto">
            <a:xfrm flipH="1">
              <a:off x="10674350" y="3324225"/>
              <a:ext cx="61913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05" name="Rectangle 6"/>
            <p:cNvSpPr>
              <a:spLocks noChangeArrowheads="1"/>
            </p:cNvSpPr>
            <p:nvPr/>
          </p:nvSpPr>
          <p:spPr bwMode="auto">
            <a:xfrm>
              <a:off x="10467975" y="3251200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cxnSp>
          <p:nvCxnSpPr>
            <p:cNvPr id="4306" name="AutoShape 19"/>
            <p:cNvCxnSpPr>
              <a:cxnSpLocks noChangeShapeType="1"/>
              <a:stCxn id="4292" idx="2"/>
              <a:endCxn id="4305" idx="0"/>
            </p:cNvCxnSpPr>
            <p:nvPr/>
          </p:nvCxnSpPr>
          <p:spPr bwMode="auto">
            <a:xfrm flipH="1">
              <a:off x="10534650" y="3189288"/>
              <a:ext cx="90488" cy="619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07" name="Rectangle 6"/>
            <p:cNvSpPr>
              <a:spLocks noChangeArrowheads="1"/>
            </p:cNvSpPr>
            <p:nvPr/>
          </p:nvSpPr>
          <p:spPr bwMode="auto">
            <a:xfrm>
              <a:off x="11179175" y="3278188"/>
              <a:ext cx="130175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308" name="AutoShape 19"/>
            <p:cNvCxnSpPr>
              <a:cxnSpLocks noChangeShapeType="1"/>
              <a:stCxn id="4307" idx="2"/>
              <a:endCxn id="4311" idx="0"/>
            </p:cNvCxnSpPr>
            <p:nvPr/>
          </p:nvCxnSpPr>
          <p:spPr bwMode="auto">
            <a:xfrm>
              <a:off x="11244263" y="3321050"/>
              <a:ext cx="222250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09" name="Rectangle 6"/>
            <p:cNvSpPr>
              <a:spLocks noChangeArrowheads="1"/>
            </p:cNvSpPr>
            <p:nvPr/>
          </p:nvSpPr>
          <p:spPr bwMode="auto">
            <a:xfrm>
              <a:off x="11179175" y="3370263"/>
              <a:ext cx="130175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310" name="Rectangle 6"/>
            <p:cNvSpPr>
              <a:spLocks noChangeArrowheads="1"/>
            </p:cNvSpPr>
            <p:nvPr/>
          </p:nvSpPr>
          <p:spPr bwMode="auto">
            <a:xfrm>
              <a:off x="10972800" y="3370263"/>
              <a:ext cx="130175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311" name="Rectangle 6"/>
            <p:cNvSpPr>
              <a:spLocks noChangeArrowheads="1"/>
            </p:cNvSpPr>
            <p:nvPr/>
          </p:nvSpPr>
          <p:spPr bwMode="auto">
            <a:xfrm>
              <a:off x="11401425" y="3370263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312" name="AutoShape 19"/>
            <p:cNvCxnSpPr>
              <a:cxnSpLocks noChangeShapeType="1"/>
              <a:stCxn id="4307" idx="2"/>
              <a:endCxn id="4309" idx="0"/>
            </p:cNvCxnSpPr>
            <p:nvPr/>
          </p:nvCxnSpPr>
          <p:spPr bwMode="auto">
            <a:xfrm>
              <a:off x="11244263" y="3321050"/>
              <a:ext cx="0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13" name="AutoShape 19"/>
            <p:cNvCxnSpPr>
              <a:cxnSpLocks noChangeShapeType="1"/>
              <a:stCxn id="4307" idx="2"/>
              <a:endCxn id="4310" idx="0"/>
            </p:cNvCxnSpPr>
            <p:nvPr/>
          </p:nvCxnSpPr>
          <p:spPr bwMode="auto">
            <a:xfrm flipH="1">
              <a:off x="11037888" y="3321050"/>
              <a:ext cx="206375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14" name="Rectangle 6"/>
            <p:cNvSpPr>
              <a:spLocks noChangeArrowheads="1"/>
            </p:cNvSpPr>
            <p:nvPr/>
          </p:nvSpPr>
          <p:spPr bwMode="auto">
            <a:xfrm>
              <a:off x="11401425" y="3502025"/>
              <a:ext cx="130175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315" name="AutoShape 19"/>
            <p:cNvCxnSpPr>
              <a:cxnSpLocks noChangeShapeType="1"/>
              <a:stCxn id="4311" idx="2"/>
              <a:endCxn id="4314" idx="0"/>
            </p:cNvCxnSpPr>
            <p:nvPr/>
          </p:nvCxnSpPr>
          <p:spPr bwMode="auto">
            <a:xfrm flipH="1">
              <a:off x="11466513" y="3413125"/>
              <a:ext cx="0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16" name="AutoShape 19"/>
            <p:cNvCxnSpPr>
              <a:cxnSpLocks noChangeShapeType="1"/>
              <a:stCxn id="4311" idx="2"/>
              <a:endCxn id="4324" idx="0"/>
            </p:cNvCxnSpPr>
            <p:nvPr/>
          </p:nvCxnSpPr>
          <p:spPr bwMode="auto">
            <a:xfrm>
              <a:off x="11466513" y="3413125"/>
              <a:ext cx="236537" cy="746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17" name="Rectangle 6"/>
            <p:cNvSpPr>
              <a:spLocks noChangeArrowheads="1"/>
            </p:cNvSpPr>
            <p:nvPr/>
          </p:nvSpPr>
          <p:spPr bwMode="auto">
            <a:xfrm>
              <a:off x="11083925" y="3505200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318" name="AutoShape 19"/>
            <p:cNvCxnSpPr>
              <a:cxnSpLocks noChangeShapeType="1"/>
              <a:stCxn id="4317" idx="0"/>
              <a:endCxn id="4310" idx="2"/>
            </p:cNvCxnSpPr>
            <p:nvPr/>
          </p:nvCxnSpPr>
          <p:spPr bwMode="auto">
            <a:xfrm flipH="1" flipV="1">
              <a:off x="11037888" y="3413125"/>
              <a:ext cx="111125" cy="920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19" name="Rectangle 6"/>
            <p:cNvSpPr>
              <a:spLocks noChangeArrowheads="1"/>
            </p:cNvSpPr>
            <p:nvPr/>
          </p:nvSpPr>
          <p:spPr bwMode="auto">
            <a:xfrm>
              <a:off x="11183938" y="3621088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320" name="AutoShape 19"/>
            <p:cNvCxnSpPr>
              <a:cxnSpLocks noChangeShapeType="1"/>
              <a:stCxn id="4319" idx="0"/>
              <a:endCxn id="4317" idx="2"/>
            </p:cNvCxnSpPr>
            <p:nvPr/>
          </p:nvCxnSpPr>
          <p:spPr bwMode="auto">
            <a:xfrm flipH="1" flipV="1">
              <a:off x="11149013" y="3549650"/>
              <a:ext cx="100012" cy="71438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21" name="Rectangle 6"/>
            <p:cNvSpPr>
              <a:spLocks noChangeArrowheads="1"/>
            </p:cNvSpPr>
            <p:nvPr/>
          </p:nvSpPr>
          <p:spPr bwMode="auto">
            <a:xfrm>
              <a:off x="11022013" y="3621088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322" name="AutoShape 19"/>
            <p:cNvCxnSpPr>
              <a:cxnSpLocks noChangeShapeType="1"/>
              <a:stCxn id="4317" idx="2"/>
              <a:endCxn id="4321" idx="0"/>
            </p:cNvCxnSpPr>
            <p:nvPr/>
          </p:nvCxnSpPr>
          <p:spPr bwMode="auto">
            <a:xfrm flipH="1">
              <a:off x="11087100" y="3549650"/>
              <a:ext cx="61913" cy="71438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23" name="Rectangle 6"/>
            <p:cNvSpPr>
              <a:spLocks noChangeArrowheads="1"/>
            </p:cNvSpPr>
            <p:nvPr/>
          </p:nvSpPr>
          <p:spPr bwMode="auto">
            <a:xfrm>
              <a:off x="10880725" y="3475038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sp>
          <p:nvSpPr>
            <p:cNvPr id="4324" name="Rectangle 6"/>
            <p:cNvSpPr>
              <a:spLocks noChangeArrowheads="1"/>
            </p:cNvSpPr>
            <p:nvPr/>
          </p:nvSpPr>
          <p:spPr bwMode="auto">
            <a:xfrm>
              <a:off x="11637963" y="3487738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J</a:t>
              </a:r>
            </a:p>
          </p:txBody>
        </p:sp>
        <p:cxnSp>
          <p:nvCxnSpPr>
            <p:cNvPr id="4325" name="AutoShape 19"/>
            <p:cNvCxnSpPr>
              <a:cxnSpLocks noChangeShapeType="1"/>
              <a:stCxn id="4310" idx="2"/>
              <a:endCxn id="4323" idx="0"/>
            </p:cNvCxnSpPr>
            <p:nvPr/>
          </p:nvCxnSpPr>
          <p:spPr bwMode="auto">
            <a:xfrm flipH="1">
              <a:off x="10947400" y="3413125"/>
              <a:ext cx="90488" cy="619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26" name="Rectangle 6"/>
            <p:cNvSpPr>
              <a:spLocks noChangeArrowheads="1"/>
            </p:cNvSpPr>
            <p:nvPr/>
          </p:nvSpPr>
          <p:spPr bwMode="auto">
            <a:xfrm>
              <a:off x="10379075" y="3395663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327" name="AutoShape 19"/>
            <p:cNvCxnSpPr>
              <a:cxnSpLocks noChangeShapeType="1"/>
              <a:stCxn id="4326" idx="2"/>
              <a:endCxn id="4330" idx="0"/>
            </p:cNvCxnSpPr>
            <p:nvPr/>
          </p:nvCxnSpPr>
          <p:spPr bwMode="auto">
            <a:xfrm>
              <a:off x="10445750" y="3438525"/>
              <a:ext cx="222250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28" name="Rectangle 6"/>
            <p:cNvSpPr>
              <a:spLocks noChangeArrowheads="1"/>
            </p:cNvSpPr>
            <p:nvPr/>
          </p:nvSpPr>
          <p:spPr bwMode="auto">
            <a:xfrm>
              <a:off x="10379075" y="3487738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329" name="Rectangle 6"/>
            <p:cNvSpPr>
              <a:spLocks noChangeArrowheads="1"/>
            </p:cNvSpPr>
            <p:nvPr/>
          </p:nvSpPr>
          <p:spPr bwMode="auto">
            <a:xfrm>
              <a:off x="10174288" y="3487738"/>
              <a:ext cx="130175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330" name="Rectangle 6"/>
            <p:cNvSpPr>
              <a:spLocks noChangeArrowheads="1"/>
            </p:cNvSpPr>
            <p:nvPr/>
          </p:nvSpPr>
          <p:spPr bwMode="auto">
            <a:xfrm>
              <a:off x="10602913" y="3487738"/>
              <a:ext cx="131762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331" name="AutoShape 19"/>
            <p:cNvCxnSpPr>
              <a:cxnSpLocks noChangeShapeType="1"/>
              <a:stCxn id="4326" idx="2"/>
              <a:endCxn id="4328" idx="0"/>
            </p:cNvCxnSpPr>
            <p:nvPr/>
          </p:nvCxnSpPr>
          <p:spPr bwMode="auto">
            <a:xfrm>
              <a:off x="10445750" y="3438525"/>
              <a:ext cx="0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32" name="AutoShape 19"/>
            <p:cNvCxnSpPr>
              <a:cxnSpLocks noChangeShapeType="1"/>
              <a:stCxn id="4326" idx="2"/>
              <a:endCxn id="4329" idx="0"/>
            </p:cNvCxnSpPr>
            <p:nvPr/>
          </p:nvCxnSpPr>
          <p:spPr bwMode="auto">
            <a:xfrm flipH="1">
              <a:off x="10239375" y="3438525"/>
              <a:ext cx="206375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33" name="Rectangle 6"/>
            <p:cNvSpPr>
              <a:spLocks noChangeArrowheads="1"/>
            </p:cNvSpPr>
            <p:nvPr/>
          </p:nvSpPr>
          <p:spPr bwMode="auto">
            <a:xfrm>
              <a:off x="10601325" y="3619500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334" name="AutoShape 19"/>
            <p:cNvCxnSpPr>
              <a:cxnSpLocks noChangeShapeType="1"/>
              <a:stCxn id="4330" idx="2"/>
              <a:endCxn id="4333" idx="0"/>
            </p:cNvCxnSpPr>
            <p:nvPr/>
          </p:nvCxnSpPr>
          <p:spPr bwMode="auto">
            <a:xfrm flipH="1">
              <a:off x="10668000" y="3530600"/>
              <a:ext cx="0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35" name="AutoShape 19"/>
            <p:cNvCxnSpPr>
              <a:cxnSpLocks noChangeShapeType="1"/>
              <a:stCxn id="4330" idx="2"/>
              <a:endCxn id="4343" idx="0"/>
            </p:cNvCxnSpPr>
            <p:nvPr/>
          </p:nvCxnSpPr>
          <p:spPr bwMode="auto">
            <a:xfrm>
              <a:off x="10668000" y="3530600"/>
              <a:ext cx="236538" cy="746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36" name="Rectangle 6"/>
            <p:cNvSpPr>
              <a:spLocks noChangeArrowheads="1"/>
            </p:cNvSpPr>
            <p:nvPr/>
          </p:nvSpPr>
          <p:spPr bwMode="auto">
            <a:xfrm>
              <a:off x="10285413" y="3622675"/>
              <a:ext cx="131762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337" name="AutoShape 19"/>
            <p:cNvCxnSpPr>
              <a:cxnSpLocks noChangeShapeType="1"/>
              <a:stCxn id="4336" idx="0"/>
              <a:endCxn id="4329" idx="2"/>
            </p:cNvCxnSpPr>
            <p:nvPr/>
          </p:nvCxnSpPr>
          <p:spPr bwMode="auto">
            <a:xfrm flipH="1" flipV="1">
              <a:off x="10239375" y="3530600"/>
              <a:ext cx="111125" cy="920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38" name="Rectangle 6"/>
            <p:cNvSpPr>
              <a:spLocks noChangeArrowheads="1"/>
            </p:cNvSpPr>
            <p:nvPr/>
          </p:nvSpPr>
          <p:spPr bwMode="auto">
            <a:xfrm>
              <a:off x="10385425" y="3738563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339" name="AutoShape 19"/>
            <p:cNvCxnSpPr>
              <a:cxnSpLocks noChangeShapeType="1"/>
              <a:stCxn id="4338" idx="0"/>
              <a:endCxn id="4336" idx="2"/>
            </p:cNvCxnSpPr>
            <p:nvPr/>
          </p:nvCxnSpPr>
          <p:spPr bwMode="auto">
            <a:xfrm flipH="1" flipV="1">
              <a:off x="10350500" y="3665538"/>
              <a:ext cx="100013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40" name="Rectangle 6"/>
            <p:cNvSpPr>
              <a:spLocks noChangeArrowheads="1"/>
            </p:cNvSpPr>
            <p:nvPr/>
          </p:nvSpPr>
          <p:spPr bwMode="auto">
            <a:xfrm>
              <a:off x="10221913" y="3738563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341" name="AutoShape 19"/>
            <p:cNvCxnSpPr>
              <a:cxnSpLocks noChangeShapeType="1"/>
              <a:stCxn id="4336" idx="2"/>
              <a:endCxn id="4340" idx="0"/>
            </p:cNvCxnSpPr>
            <p:nvPr/>
          </p:nvCxnSpPr>
          <p:spPr bwMode="auto">
            <a:xfrm flipH="1">
              <a:off x="10288588" y="3665538"/>
              <a:ext cx="61912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42" name="Rectangle 6"/>
            <p:cNvSpPr>
              <a:spLocks noChangeArrowheads="1"/>
            </p:cNvSpPr>
            <p:nvPr/>
          </p:nvSpPr>
          <p:spPr bwMode="auto">
            <a:xfrm>
              <a:off x="10082213" y="3592513"/>
              <a:ext cx="131762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sp>
          <p:nvSpPr>
            <p:cNvPr id="4343" name="Rectangle 6"/>
            <p:cNvSpPr>
              <a:spLocks noChangeArrowheads="1"/>
            </p:cNvSpPr>
            <p:nvPr/>
          </p:nvSpPr>
          <p:spPr bwMode="auto">
            <a:xfrm>
              <a:off x="10839450" y="3605213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J</a:t>
              </a:r>
            </a:p>
          </p:txBody>
        </p:sp>
        <p:cxnSp>
          <p:nvCxnSpPr>
            <p:cNvPr id="4344" name="AutoShape 19"/>
            <p:cNvCxnSpPr>
              <a:cxnSpLocks noChangeShapeType="1"/>
              <a:stCxn id="4329" idx="2"/>
              <a:endCxn id="4342" idx="0"/>
            </p:cNvCxnSpPr>
            <p:nvPr/>
          </p:nvCxnSpPr>
          <p:spPr bwMode="auto">
            <a:xfrm flipH="1">
              <a:off x="10147300" y="3530600"/>
              <a:ext cx="92075" cy="619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45" name="AutoShape 19"/>
            <p:cNvCxnSpPr>
              <a:cxnSpLocks noChangeShapeType="1"/>
              <a:stCxn id="4326" idx="0"/>
              <a:endCxn id="4305" idx="2"/>
            </p:cNvCxnSpPr>
            <p:nvPr/>
          </p:nvCxnSpPr>
          <p:spPr bwMode="auto">
            <a:xfrm flipV="1">
              <a:off x="10445750" y="3294063"/>
              <a:ext cx="88900" cy="1016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46" name="Rectangle 6"/>
            <p:cNvSpPr>
              <a:spLocks noChangeArrowheads="1"/>
            </p:cNvSpPr>
            <p:nvPr/>
          </p:nvSpPr>
          <p:spPr bwMode="auto">
            <a:xfrm>
              <a:off x="9556750" y="3238500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347" name="AutoShape 19"/>
            <p:cNvCxnSpPr>
              <a:cxnSpLocks noChangeShapeType="1"/>
              <a:stCxn id="4346" idx="2"/>
              <a:endCxn id="4350" idx="0"/>
            </p:cNvCxnSpPr>
            <p:nvPr/>
          </p:nvCxnSpPr>
          <p:spPr bwMode="auto">
            <a:xfrm>
              <a:off x="9623425" y="3282950"/>
              <a:ext cx="22225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48" name="Rectangle 6"/>
            <p:cNvSpPr>
              <a:spLocks noChangeArrowheads="1"/>
            </p:cNvSpPr>
            <p:nvPr/>
          </p:nvSpPr>
          <p:spPr bwMode="auto">
            <a:xfrm>
              <a:off x="9556750" y="3330575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349" name="Rectangle 6"/>
            <p:cNvSpPr>
              <a:spLocks noChangeArrowheads="1"/>
            </p:cNvSpPr>
            <p:nvPr/>
          </p:nvSpPr>
          <p:spPr bwMode="auto">
            <a:xfrm>
              <a:off x="9350375" y="3330575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350" name="Rectangle 6"/>
            <p:cNvSpPr>
              <a:spLocks noChangeArrowheads="1"/>
            </p:cNvSpPr>
            <p:nvPr/>
          </p:nvSpPr>
          <p:spPr bwMode="auto">
            <a:xfrm>
              <a:off x="9780588" y="3330575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351" name="AutoShape 19"/>
            <p:cNvCxnSpPr>
              <a:cxnSpLocks noChangeShapeType="1"/>
              <a:stCxn id="4346" idx="2"/>
              <a:endCxn id="4348" idx="0"/>
            </p:cNvCxnSpPr>
            <p:nvPr/>
          </p:nvCxnSpPr>
          <p:spPr bwMode="auto">
            <a:xfrm>
              <a:off x="9623425" y="3282950"/>
              <a:ext cx="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52" name="AutoShape 19"/>
            <p:cNvCxnSpPr>
              <a:cxnSpLocks noChangeShapeType="1"/>
              <a:stCxn id="4346" idx="2"/>
              <a:endCxn id="4349" idx="0"/>
            </p:cNvCxnSpPr>
            <p:nvPr/>
          </p:nvCxnSpPr>
          <p:spPr bwMode="auto">
            <a:xfrm flipH="1">
              <a:off x="9417050" y="3282950"/>
              <a:ext cx="206375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53" name="Rectangle 6"/>
            <p:cNvSpPr>
              <a:spLocks noChangeArrowheads="1"/>
            </p:cNvSpPr>
            <p:nvPr/>
          </p:nvSpPr>
          <p:spPr bwMode="auto">
            <a:xfrm>
              <a:off x="9779000" y="3462338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354" name="AutoShape 19"/>
            <p:cNvCxnSpPr>
              <a:cxnSpLocks noChangeShapeType="1"/>
              <a:stCxn id="4350" idx="2"/>
              <a:endCxn id="4353" idx="0"/>
            </p:cNvCxnSpPr>
            <p:nvPr/>
          </p:nvCxnSpPr>
          <p:spPr bwMode="auto">
            <a:xfrm flipH="1">
              <a:off x="9845675" y="3375025"/>
              <a:ext cx="0" cy="873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55" name="AutoShape 19"/>
            <p:cNvCxnSpPr>
              <a:cxnSpLocks noChangeShapeType="1"/>
              <a:stCxn id="4350" idx="2"/>
              <a:endCxn id="4363" idx="0"/>
            </p:cNvCxnSpPr>
            <p:nvPr/>
          </p:nvCxnSpPr>
          <p:spPr bwMode="auto">
            <a:xfrm>
              <a:off x="9845675" y="3375025"/>
              <a:ext cx="236538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56" name="Rectangle 6"/>
            <p:cNvSpPr>
              <a:spLocks noChangeArrowheads="1"/>
            </p:cNvSpPr>
            <p:nvPr/>
          </p:nvSpPr>
          <p:spPr bwMode="auto">
            <a:xfrm>
              <a:off x="9463088" y="3465513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357" name="AutoShape 19"/>
            <p:cNvCxnSpPr>
              <a:cxnSpLocks noChangeShapeType="1"/>
              <a:stCxn id="4356" idx="0"/>
              <a:endCxn id="4349" idx="2"/>
            </p:cNvCxnSpPr>
            <p:nvPr/>
          </p:nvCxnSpPr>
          <p:spPr bwMode="auto">
            <a:xfrm flipH="1" flipV="1">
              <a:off x="9417050" y="3375025"/>
              <a:ext cx="111125" cy="90488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58" name="Rectangle 6"/>
            <p:cNvSpPr>
              <a:spLocks noChangeArrowheads="1"/>
            </p:cNvSpPr>
            <p:nvPr/>
          </p:nvSpPr>
          <p:spPr bwMode="auto">
            <a:xfrm>
              <a:off x="9561513" y="3581400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359" name="AutoShape 19"/>
            <p:cNvCxnSpPr>
              <a:cxnSpLocks noChangeShapeType="1"/>
              <a:stCxn id="4358" idx="0"/>
              <a:endCxn id="4356" idx="2"/>
            </p:cNvCxnSpPr>
            <p:nvPr/>
          </p:nvCxnSpPr>
          <p:spPr bwMode="auto">
            <a:xfrm flipH="1" flipV="1">
              <a:off x="9528175" y="3509963"/>
              <a:ext cx="100013" cy="7143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60" name="Rectangle 6"/>
            <p:cNvSpPr>
              <a:spLocks noChangeArrowheads="1"/>
            </p:cNvSpPr>
            <p:nvPr/>
          </p:nvSpPr>
          <p:spPr bwMode="auto">
            <a:xfrm>
              <a:off x="9399588" y="3581400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361" name="AutoShape 19"/>
            <p:cNvCxnSpPr>
              <a:cxnSpLocks noChangeShapeType="1"/>
              <a:stCxn id="4356" idx="2"/>
              <a:endCxn id="4360" idx="0"/>
            </p:cNvCxnSpPr>
            <p:nvPr/>
          </p:nvCxnSpPr>
          <p:spPr bwMode="auto">
            <a:xfrm flipH="1">
              <a:off x="9466263" y="3509963"/>
              <a:ext cx="61912" cy="7143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62" name="Rectangle 6"/>
            <p:cNvSpPr>
              <a:spLocks noChangeArrowheads="1"/>
            </p:cNvSpPr>
            <p:nvPr/>
          </p:nvSpPr>
          <p:spPr bwMode="auto">
            <a:xfrm>
              <a:off x="9259888" y="3435350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sp>
          <p:nvSpPr>
            <p:cNvPr id="4363" name="Rectangle 6"/>
            <p:cNvSpPr>
              <a:spLocks noChangeArrowheads="1"/>
            </p:cNvSpPr>
            <p:nvPr/>
          </p:nvSpPr>
          <p:spPr bwMode="auto">
            <a:xfrm>
              <a:off x="10017125" y="3448050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J</a:t>
              </a:r>
            </a:p>
          </p:txBody>
        </p:sp>
        <p:cxnSp>
          <p:nvCxnSpPr>
            <p:cNvPr id="4364" name="AutoShape 19"/>
            <p:cNvCxnSpPr>
              <a:cxnSpLocks noChangeShapeType="1"/>
              <a:stCxn id="4349" idx="2"/>
              <a:endCxn id="4362" idx="0"/>
            </p:cNvCxnSpPr>
            <p:nvPr/>
          </p:nvCxnSpPr>
          <p:spPr bwMode="auto">
            <a:xfrm flipH="1">
              <a:off x="9324975" y="3375025"/>
              <a:ext cx="92075" cy="603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65" name="AutoShape 19"/>
            <p:cNvCxnSpPr>
              <a:cxnSpLocks noChangeShapeType="1"/>
              <a:stCxn id="4105" idx="2"/>
              <a:endCxn id="4366" idx="0"/>
            </p:cNvCxnSpPr>
            <p:nvPr/>
          </p:nvCxnSpPr>
          <p:spPr bwMode="auto">
            <a:xfrm>
              <a:off x="8659813" y="1554163"/>
              <a:ext cx="1663700" cy="619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66" name="Rectangle 6"/>
            <p:cNvSpPr>
              <a:spLocks noChangeArrowheads="1"/>
            </p:cNvSpPr>
            <p:nvPr/>
          </p:nvSpPr>
          <p:spPr bwMode="auto">
            <a:xfrm>
              <a:off x="10256838" y="1616075"/>
              <a:ext cx="131762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sp>
          <p:nvSpPr>
            <p:cNvPr id="4367" name="Rectangle 6"/>
            <p:cNvSpPr>
              <a:spLocks noChangeArrowheads="1"/>
            </p:cNvSpPr>
            <p:nvPr/>
          </p:nvSpPr>
          <p:spPr bwMode="auto">
            <a:xfrm>
              <a:off x="10256838" y="1747838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368" name="AutoShape 19"/>
            <p:cNvCxnSpPr>
              <a:cxnSpLocks noChangeShapeType="1"/>
              <a:stCxn id="4366" idx="2"/>
              <a:endCxn id="4367" idx="0"/>
            </p:cNvCxnSpPr>
            <p:nvPr/>
          </p:nvCxnSpPr>
          <p:spPr bwMode="auto">
            <a:xfrm flipH="1">
              <a:off x="10321925" y="1658938"/>
              <a:ext cx="1588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69" name="AutoShape 19"/>
            <p:cNvCxnSpPr>
              <a:cxnSpLocks noChangeShapeType="1"/>
              <a:stCxn id="4366" idx="2"/>
              <a:endCxn id="4370" idx="0"/>
            </p:cNvCxnSpPr>
            <p:nvPr/>
          </p:nvCxnSpPr>
          <p:spPr bwMode="auto">
            <a:xfrm>
              <a:off x="10323513" y="1658938"/>
              <a:ext cx="228600" cy="12858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70" name="Rectangle 6"/>
            <p:cNvSpPr>
              <a:spLocks noChangeArrowheads="1"/>
            </p:cNvSpPr>
            <p:nvPr/>
          </p:nvSpPr>
          <p:spPr bwMode="auto">
            <a:xfrm>
              <a:off x="10487025" y="1787525"/>
              <a:ext cx="130175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371" name="AutoShape 19"/>
            <p:cNvCxnSpPr>
              <a:cxnSpLocks noChangeShapeType="1"/>
              <a:stCxn id="4370" idx="2"/>
              <a:endCxn id="4374" idx="0"/>
            </p:cNvCxnSpPr>
            <p:nvPr/>
          </p:nvCxnSpPr>
          <p:spPr bwMode="auto">
            <a:xfrm>
              <a:off x="10552113" y="1830388"/>
              <a:ext cx="22225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72" name="Rectangle 6"/>
            <p:cNvSpPr>
              <a:spLocks noChangeArrowheads="1"/>
            </p:cNvSpPr>
            <p:nvPr/>
          </p:nvSpPr>
          <p:spPr bwMode="auto">
            <a:xfrm>
              <a:off x="10487025" y="1878013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373" name="Rectangle 6"/>
            <p:cNvSpPr>
              <a:spLocks noChangeArrowheads="1"/>
            </p:cNvSpPr>
            <p:nvPr/>
          </p:nvSpPr>
          <p:spPr bwMode="auto">
            <a:xfrm>
              <a:off x="10280650" y="1878013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374" name="Rectangle 6"/>
            <p:cNvSpPr>
              <a:spLocks noChangeArrowheads="1"/>
            </p:cNvSpPr>
            <p:nvPr/>
          </p:nvSpPr>
          <p:spPr bwMode="auto">
            <a:xfrm>
              <a:off x="10709275" y="1878013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375" name="AutoShape 19"/>
            <p:cNvCxnSpPr>
              <a:cxnSpLocks noChangeShapeType="1"/>
              <a:stCxn id="4370" idx="2"/>
              <a:endCxn id="4372" idx="0"/>
            </p:cNvCxnSpPr>
            <p:nvPr/>
          </p:nvCxnSpPr>
          <p:spPr bwMode="auto">
            <a:xfrm>
              <a:off x="10552113" y="1830388"/>
              <a:ext cx="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76" name="AutoShape 19"/>
            <p:cNvCxnSpPr>
              <a:cxnSpLocks noChangeShapeType="1"/>
              <a:stCxn id="4370" idx="2"/>
              <a:endCxn id="4373" idx="0"/>
            </p:cNvCxnSpPr>
            <p:nvPr/>
          </p:nvCxnSpPr>
          <p:spPr bwMode="auto">
            <a:xfrm flipH="1">
              <a:off x="10345738" y="1830388"/>
              <a:ext cx="206375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77" name="Rectangle 6"/>
            <p:cNvSpPr>
              <a:spLocks noChangeArrowheads="1"/>
            </p:cNvSpPr>
            <p:nvPr/>
          </p:nvSpPr>
          <p:spPr bwMode="auto">
            <a:xfrm>
              <a:off x="10709275" y="2011363"/>
              <a:ext cx="130175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378" name="AutoShape 19"/>
            <p:cNvCxnSpPr>
              <a:cxnSpLocks noChangeShapeType="1"/>
              <a:stCxn id="4374" idx="2"/>
              <a:endCxn id="4377" idx="0"/>
            </p:cNvCxnSpPr>
            <p:nvPr/>
          </p:nvCxnSpPr>
          <p:spPr bwMode="auto">
            <a:xfrm flipH="1">
              <a:off x="10774363" y="1922463"/>
              <a:ext cx="0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79" name="AutoShape 19"/>
            <p:cNvCxnSpPr>
              <a:cxnSpLocks noChangeShapeType="1"/>
              <a:stCxn id="4374" idx="2"/>
              <a:endCxn id="4388" idx="0"/>
            </p:cNvCxnSpPr>
            <p:nvPr/>
          </p:nvCxnSpPr>
          <p:spPr bwMode="auto">
            <a:xfrm>
              <a:off x="10774363" y="1922463"/>
              <a:ext cx="190500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80" name="Rectangle 6"/>
            <p:cNvSpPr>
              <a:spLocks noChangeArrowheads="1"/>
            </p:cNvSpPr>
            <p:nvPr/>
          </p:nvSpPr>
          <p:spPr bwMode="auto">
            <a:xfrm>
              <a:off x="10391775" y="2014538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381" name="AutoShape 19"/>
            <p:cNvCxnSpPr>
              <a:cxnSpLocks noChangeShapeType="1"/>
              <a:stCxn id="4380" idx="0"/>
              <a:endCxn id="4373" idx="2"/>
            </p:cNvCxnSpPr>
            <p:nvPr/>
          </p:nvCxnSpPr>
          <p:spPr bwMode="auto">
            <a:xfrm flipH="1" flipV="1">
              <a:off x="10345738" y="1922463"/>
              <a:ext cx="111125" cy="920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82" name="Rectangle 6"/>
            <p:cNvSpPr>
              <a:spLocks noChangeArrowheads="1"/>
            </p:cNvSpPr>
            <p:nvPr/>
          </p:nvSpPr>
          <p:spPr bwMode="auto">
            <a:xfrm>
              <a:off x="10491788" y="2130425"/>
              <a:ext cx="131762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383" name="AutoShape 19"/>
            <p:cNvCxnSpPr>
              <a:cxnSpLocks noChangeShapeType="1"/>
              <a:stCxn id="4382" idx="0"/>
              <a:endCxn id="4380" idx="2"/>
            </p:cNvCxnSpPr>
            <p:nvPr/>
          </p:nvCxnSpPr>
          <p:spPr bwMode="auto">
            <a:xfrm flipH="1" flipV="1">
              <a:off x="10456863" y="2057400"/>
              <a:ext cx="100012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84" name="Rectangle 6"/>
            <p:cNvSpPr>
              <a:spLocks noChangeArrowheads="1"/>
            </p:cNvSpPr>
            <p:nvPr/>
          </p:nvSpPr>
          <p:spPr bwMode="auto">
            <a:xfrm>
              <a:off x="10329863" y="2130425"/>
              <a:ext cx="130175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385" name="AutoShape 19"/>
            <p:cNvCxnSpPr>
              <a:cxnSpLocks noChangeShapeType="1"/>
              <a:stCxn id="4380" idx="2"/>
              <a:endCxn id="4384" idx="0"/>
            </p:cNvCxnSpPr>
            <p:nvPr/>
          </p:nvCxnSpPr>
          <p:spPr bwMode="auto">
            <a:xfrm flipH="1">
              <a:off x="10394950" y="2057400"/>
              <a:ext cx="61913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86" name="Rectangle 6"/>
            <p:cNvSpPr>
              <a:spLocks noChangeArrowheads="1"/>
            </p:cNvSpPr>
            <p:nvPr/>
          </p:nvSpPr>
          <p:spPr bwMode="auto">
            <a:xfrm>
              <a:off x="10188575" y="1984375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cxnSp>
          <p:nvCxnSpPr>
            <p:cNvPr id="4387" name="AutoShape 19"/>
            <p:cNvCxnSpPr>
              <a:cxnSpLocks noChangeShapeType="1"/>
              <a:stCxn id="4373" idx="2"/>
              <a:endCxn id="4386" idx="0"/>
            </p:cNvCxnSpPr>
            <p:nvPr/>
          </p:nvCxnSpPr>
          <p:spPr bwMode="auto">
            <a:xfrm flipH="1">
              <a:off x="10255250" y="1922463"/>
              <a:ext cx="90488" cy="619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88" name="Rectangle 6"/>
            <p:cNvSpPr>
              <a:spLocks noChangeArrowheads="1"/>
            </p:cNvSpPr>
            <p:nvPr/>
          </p:nvSpPr>
          <p:spPr bwMode="auto">
            <a:xfrm>
              <a:off x="10898188" y="2011363"/>
              <a:ext cx="131762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389" name="AutoShape 19"/>
            <p:cNvCxnSpPr>
              <a:cxnSpLocks noChangeShapeType="1"/>
              <a:stCxn id="4388" idx="2"/>
              <a:endCxn id="4392" idx="0"/>
            </p:cNvCxnSpPr>
            <p:nvPr/>
          </p:nvCxnSpPr>
          <p:spPr bwMode="auto">
            <a:xfrm>
              <a:off x="10964863" y="2054225"/>
              <a:ext cx="222250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90" name="Rectangle 6"/>
            <p:cNvSpPr>
              <a:spLocks noChangeArrowheads="1"/>
            </p:cNvSpPr>
            <p:nvPr/>
          </p:nvSpPr>
          <p:spPr bwMode="auto">
            <a:xfrm>
              <a:off x="10898188" y="2103438"/>
              <a:ext cx="131762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391" name="Rectangle 6"/>
            <p:cNvSpPr>
              <a:spLocks noChangeArrowheads="1"/>
            </p:cNvSpPr>
            <p:nvPr/>
          </p:nvSpPr>
          <p:spPr bwMode="auto">
            <a:xfrm>
              <a:off x="10693400" y="2103438"/>
              <a:ext cx="130175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392" name="Rectangle 6"/>
            <p:cNvSpPr>
              <a:spLocks noChangeArrowheads="1"/>
            </p:cNvSpPr>
            <p:nvPr/>
          </p:nvSpPr>
          <p:spPr bwMode="auto">
            <a:xfrm>
              <a:off x="11122025" y="2103438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393" name="AutoShape 19"/>
            <p:cNvCxnSpPr>
              <a:cxnSpLocks noChangeShapeType="1"/>
              <a:stCxn id="4388" idx="2"/>
              <a:endCxn id="4390" idx="0"/>
            </p:cNvCxnSpPr>
            <p:nvPr/>
          </p:nvCxnSpPr>
          <p:spPr bwMode="auto">
            <a:xfrm>
              <a:off x="10964863" y="2054225"/>
              <a:ext cx="0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94" name="AutoShape 19"/>
            <p:cNvCxnSpPr>
              <a:cxnSpLocks noChangeShapeType="1"/>
              <a:stCxn id="4388" idx="2"/>
              <a:endCxn id="4391" idx="0"/>
            </p:cNvCxnSpPr>
            <p:nvPr/>
          </p:nvCxnSpPr>
          <p:spPr bwMode="auto">
            <a:xfrm flipH="1">
              <a:off x="10758488" y="2054225"/>
              <a:ext cx="206375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95" name="Rectangle 6"/>
            <p:cNvSpPr>
              <a:spLocks noChangeArrowheads="1"/>
            </p:cNvSpPr>
            <p:nvPr/>
          </p:nvSpPr>
          <p:spPr bwMode="auto">
            <a:xfrm>
              <a:off x="11122025" y="2235200"/>
              <a:ext cx="130175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396" name="AutoShape 19"/>
            <p:cNvCxnSpPr>
              <a:cxnSpLocks noChangeShapeType="1"/>
              <a:stCxn id="4392" idx="2"/>
              <a:endCxn id="4395" idx="0"/>
            </p:cNvCxnSpPr>
            <p:nvPr/>
          </p:nvCxnSpPr>
          <p:spPr bwMode="auto">
            <a:xfrm flipH="1">
              <a:off x="11187113" y="2146300"/>
              <a:ext cx="0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97" name="AutoShape 19"/>
            <p:cNvCxnSpPr>
              <a:cxnSpLocks noChangeShapeType="1"/>
              <a:stCxn id="4392" idx="2"/>
              <a:endCxn id="4405" idx="0"/>
            </p:cNvCxnSpPr>
            <p:nvPr/>
          </p:nvCxnSpPr>
          <p:spPr bwMode="auto">
            <a:xfrm>
              <a:off x="11187113" y="2146300"/>
              <a:ext cx="236537" cy="746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98" name="Rectangle 6"/>
            <p:cNvSpPr>
              <a:spLocks noChangeArrowheads="1"/>
            </p:cNvSpPr>
            <p:nvPr/>
          </p:nvSpPr>
          <p:spPr bwMode="auto">
            <a:xfrm>
              <a:off x="10804525" y="2238375"/>
              <a:ext cx="131763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399" name="AutoShape 19"/>
            <p:cNvCxnSpPr>
              <a:cxnSpLocks noChangeShapeType="1"/>
              <a:stCxn id="4398" idx="0"/>
              <a:endCxn id="4391" idx="2"/>
            </p:cNvCxnSpPr>
            <p:nvPr/>
          </p:nvCxnSpPr>
          <p:spPr bwMode="auto">
            <a:xfrm flipH="1" flipV="1">
              <a:off x="10758488" y="2146300"/>
              <a:ext cx="111125" cy="920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00" name="Rectangle 6"/>
            <p:cNvSpPr>
              <a:spLocks noChangeArrowheads="1"/>
            </p:cNvSpPr>
            <p:nvPr/>
          </p:nvSpPr>
          <p:spPr bwMode="auto">
            <a:xfrm>
              <a:off x="10904538" y="2354263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401" name="AutoShape 19"/>
            <p:cNvCxnSpPr>
              <a:cxnSpLocks noChangeShapeType="1"/>
              <a:stCxn id="4400" idx="0"/>
              <a:endCxn id="4398" idx="2"/>
            </p:cNvCxnSpPr>
            <p:nvPr/>
          </p:nvCxnSpPr>
          <p:spPr bwMode="auto">
            <a:xfrm flipH="1" flipV="1">
              <a:off x="10869613" y="2282825"/>
              <a:ext cx="100012" cy="71438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02" name="Rectangle 6"/>
            <p:cNvSpPr>
              <a:spLocks noChangeArrowheads="1"/>
            </p:cNvSpPr>
            <p:nvPr/>
          </p:nvSpPr>
          <p:spPr bwMode="auto">
            <a:xfrm>
              <a:off x="10742613" y="2354263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403" name="AutoShape 19"/>
            <p:cNvCxnSpPr>
              <a:cxnSpLocks noChangeShapeType="1"/>
              <a:stCxn id="4398" idx="2"/>
              <a:endCxn id="4402" idx="0"/>
            </p:cNvCxnSpPr>
            <p:nvPr/>
          </p:nvCxnSpPr>
          <p:spPr bwMode="auto">
            <a:xfrm flipH="1">
              <a:off x="10807700" y="2282825"/>
              <a:ext cx="61913" cy="71438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04" name="Rectangle 6"/>
            <p:cNvSpPr>
              <a:spLocks noChangeArrowheads="1"/>
            </p:cNvSpPr>
            <p:nvPr/>
          </p:nvSpPr>
          <p:spPr bwMode="auto">
            <a:xfrm>
              <a:off x="10601325" y="2208213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sp>
          <p:nvSpPr>
            <p:cNvPr id="4405" name="Rectangle 6"/>
            <p:cNvSpPr>
              <a:spLocks noChangeArrowheads="1"/>
            </p:cNvSpPr>
            <p:nvPr/>
          </p:nvSpPr>
          <p:spPr bwMode="auto">
            <a:xfrm>
              <a:off x="11358563" y="2220913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J</a:t>
              </a:r>
            </a:p>
          </p:txBody>
        </p:sp>
        <p:cxnSp>
          <p:nvCxnSpPr>
            <p:cNvPr id="4406" name="AutoShape 19"/>
            <p:cNvCxnSpPr>
              <a:cxnSpLocks noChangeShapeType="1"/>
              <a:stCxn id="4391" idx="2"/>
              <a:endCxn id="4404" idx="0"/>
            </p:cNvCxnSpPr>
            <p:nvPr/>
          </p:nvCxnSpPr>
          <p:spPr bwMode="auto">
            <a:xfrm flipH="1">
              <a:off x="10668000" y="2146300"/>
              <a:ext cx="90488" cy="619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07" name="Rectangle 6"/>
            <p:cNvSpPr>
              <a:spLocks noChangeArrowheads="1"/>
            </p:cNvSpPr>
            <p:nvPr/>
          </p:nvSpPr>
          <p:spPr bwMode="auto">
            <a:xfrm>
              <a:off x="10099675" y="2128838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408" name="AutoShape 19"/>
            <p:cNvCxnSpPr>
              <a:cxnSpLocks noChangeShapeType="1"/>
              <a:stCxn id="4407" idx="2"/>
              <a:endCxn id="4410" idx="0"/>
            </p:cNvCxnSpPr>
            <p:nvPr/>
          </p:nvCxnSpPr>
          <p:spPr bwMode="auto">
            <a:xfrm>
              <a:off x="10166350" y="2171700"/>
              <a:ext cx="222250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09" name="Rectangle 6"/>
            <p:cNvSpPr>
              <a:spLocks noChangeArrowheads="1"/>
            </p:cNvSpPr>
            <p:nvPr/>
          </p:nvSpPr>
          <p:spPr bwMode="auto">
            <a:xfrm>
              <a:off x="10099675" y="2220913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410" name="Rectangle 6"/>
            <p:cNvSpPr>
              <a:spLocks noChangeArrowheads="1"/>
            </p:cNvSpPr>
            <p:nvPr/>
          </p:nvSpPr>
          <p:spPr bwMode="auto">
            <a:xfrm>
              <a:off x="10323513" y="2220913"/>
              <a:ext cx="131762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411" name="AutoShape 19"/>
            <p:cNvCxnSpPr>
              <a:cxnSpLocks noChangeShapeType="1"/>
              <a:stCxn id="4407" idx="2"/>
              <a:endCxn id="4409" idx="0"/>
            </p:cNvCxnSpPr>
            <p:nvPr/>
          </p:nvCxnSpPr>
          <p:spPr bwMode="auto">
            <a:xfrm>
              <a:off x="10166350" y="2171700"/>
              <a:ext cx="0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12" name="Rectangle 6"/>
            <p:cNvSpPr>
              <a:spLocks noChangeArrowheads="1"/>
            </p:cNvSpPr>
            <p:nvPr/>
          </p:nvSpPr>
          <p:spPr bwMode="auto">
            <a:xfrm>
              <a:off x="10321925" y="2352675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413" name="AutoShape 19"/>
            <p:cNvCxnSpPr>
              <a:cxnSpLocks noChangeShapeType="1"/>
              <a:stCxn id="4410" idx="2"/>
              <a:endCxn id="4412" idx="0"/>
            </p:cNvCxnSpPr>
            <p:nvPr/>
          </p:nvCxnSpPr>
          <p:spPr bwMode="auto">
            <a:xfrm flipH="1">
              <a:off x="10388600" y="2263775"/>
              <a:ext cx="0" cy="889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14" name="AutoShape 19"/>
            <p:cNvCxnSpPr>
              <a:cxnSpLocks noChangeShapeType="1"/>
              <a:stCxn id="4410" idx="2"/>
              <a:endCxn id="4415" idx="0"/>
            </p:cNvCxnSpPr>
            <p:nvPr/>
          </p:nvCxnSpPr>
          <p:spPr bwMode="auto">
            <a:xfrm>
              <a:off x="10388600" y="2263775"/>
              <a:ext cx="236538" cy="746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15" name="Rectangle 6"/>
            <p:cNvSpPr>
              <a:spLocks noChangeArrowheads="1"/>
            </p:cNvSpPr>
            <p:nvPr/>
          </p:nvSpPr>
          <p:spPr bwMode="auto">
            <a:xfrm>
              <a:off x="10560050" y="2338388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J</a:t>
              </a:r>
            </a:p>
          </p:txBody>
        </p:sp>
        <p:cxnSp>
          <p:nvCxnSpPr>
            <p:cNvPr id="4416" name="AutoShape 19"/>
            <p:cNvCxnSpPr>
              <a:cxnSpLocks noChangeShapeType="1"/>
              <a:stCxn id="4407" idx="0"/>
              <a:endCxn id="4386" idx="2"/>
            </p:cNvCxnSpPr>
            <p:nvPr/>
          </p:nvCxnSpPr>
          <p:spPr bwMode="auto">
            <a:xfrm flipV="1">
              <a:off x="10166350" y="2027238"/>
              <a:ext cx="88900" cy="1016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17" name="Rectangle 6"/>
            <p:cNvSpPr>
              <a:spLocks noChangeArrowheads="1"/>
            </p:cNvSpPr>
            <p:nvPr/>
          </p:nvSpPr>
          <p:spPr bwMode="auto">
            <a:xfrm>
              <a:off x="9197975" y="1606550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sp>
          <p:nvSpPr>
            <p:cNvPr id="4418" name="Rectangle 6"/>
            <p:cNvSpPr>
              <a:spLocks noChangeArrowheads="1"/>
            </p:cNvSpPr>
            <p:nvPr/>
          </p:nvSpPr>
          <p:spPr bwMode="auto">
            <a:xfrm>
              <a:off x="9636125" y="1731963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419" name="AutoShape 19"/>
            <p:cNvCxnSpPr>
              <a:cxnSpLocks noChangeShapeType="1"/>
              <a:stCxn id="4418" idx="2"/>
              <a:endCxn id="4422" idx="0"/>
            </p:cNvCxnSpPr>
            <p:nvPr/>
          </p:nvCxnSpPr>
          <p:spPr bwMode="auto">
            <a:xfrm>
              <a:off x="9702800" y="1774825"/>
              <a:ext cx="222250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20" name="Rectangle 6"/>
            <p:cNvSpPr>
              <a:spLocks noChangeArrowheads="1"/>
            </p:cNvSpPr>
            <p:nvPr/>
          </p:nvSpPr>
          <p:spPr bwMode="auto">
            <a:xfrm>
              <a:off x="9636125" y="1824038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421" name="Rectangle 6"/>
            <p:cNvSpPr>
              <a:spLocks noChangeArrowheads="1"/>
            </p:cNvSpPr>
            <p:nvPr/>
          </p:nvSpPr>
          <p:spPr bwMode="auto">
            <a:xfrm>
              <a:off x="9429750" y="1824038"/>
              <a:ext cx="131763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422" name="Rectangle 6"/>
            <p:cNvSpPr>
              <a:spLocks noChangeArrowheads="1"/>
            </p:cNvSpPr>
            <p:nvPr/>
          </p:nvSpPr>
          <p:spPr bwMode="auto">
            <a:xfrm>
              <a:off x="9859963" y="1824038"/>
              <a:ext cx="130175" cy="4286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423" name="AutoShape 19"/>
            <p:cNvCxnSpPr>
              <a:cxnSpLocks noChangeShapeType="1"/>
              <a:stCxn id="4418" idx="2"/>
              <a:endCxn id="4420" idx="0"/>
            </p:cNvCxnSpPr>
            <p:nvPr/>
          </p:nvCxnSpPr>
          <p:spPr bwMode="auto">
            <a:xfrm>
              <a:off x="9702800" y="1774825"/>
              <a:ext cx="0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24" name="AutoShape 19"/>
            <p:cNvCxnSpPr>
              <a:cxnSpLocks noChangeShapeType="1"/>
              <a:stCxn id="4418" idx="2"/>
              <a:endCxn id="4421" idx="0"/>
            </p:cNvCxnSpPr>
            <p:nvPr/>
          </p:nvCxnSpPr>
          <p:spPr bwMode="auto">
            <a:xfrm flipH="1">
              <a:off x="9496425" y="1774825"/>
              <a:ext cx="206375" cy="49213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25" name="AutoShape 19"/>
            <p:cNvCxnSpPr>
              <a:cxnSpLocks noChangeShapeType="1"/>
              <a:stCxn id="4105" idx="2"/>
              <a:endCxn id="4417" idx="0"/>
            </p:cNvCxnSpPr>
            <p:nvPr/>
          </p:nvCxnSpPr>
          <p:spPr bwMode="auto">
            <a:xfrm>
              <a:off x="8659813" y="1554163"/>
              <a:ext cx="604837" cy="5238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26" name="AutoShape 19"/>
            <p:cNvCxnSpPr>
              <a:cxnSpLocks noChangeShapeType="1"/>
              <a:stCxn id="4417" idx="2"/>
              <a:endCxn id="4418" idx="0"/>
            </p:cNvCxnSpPr>
            <p:nvPr/>
          </p:nvCxnSpPr>
          <p:spPr bwMode="auto">
            <a:xfrm>
              <a:off x="9264650" y="1649413"/>
              <a:ext cx="438150" cy="8255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27" name="Rectangle 6"/>
            <p:cNvSpPr>
              <a:spLocks noChangeArrowheads="1"/>
            </p:cNvSpPr>
            <p:nvPr/>
          </p:nvSpPr>
          <p:spPr bwMode="auto">
            <a:xfrm>
              <a:off x="9736138" y="1968500"/>
              <a:ext cx="130175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428" name="AutoShape 19"/>
            <p:cNvCxnSpPr>
              <a:cxnSpLocks noChangeShapeType="1"/>
              <a:stCxn id="4422" idx="2"/>
              <a:endCxn id="4427" idx="0"/>
            </p:cNvCxnSpPr>
            <p:nvPr/>
          </p:nvCxnSpPr>
          <p:spPr bwMode="auto">
            <a:xfrm flipH="1">
              <a:off x="9801225" y="1866900"/>
              <a:ext cx="123825" cy="10160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29" name="AutoShape 19"/>
            <p:cNvCxnSpPr>
              <a:cxnSpLocks noChangeShapeType="1"/>
              <a:stCxn id="4422" idx="2"/>
              <a:endCxn id="4430" idx="0"/>
            </p:cNvCxnSpPr>
            <p:nvPr/>
          </p:nvCxnSpPr>
          <p:spPr bwMode="auto">
            <a:xfrm>
              <a:off x="9925050" y="1866900"/>
              <a:ext cx="106363" cy="1301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30" name="Rectangle 6"/>
            <p:cNvSpPr>
              <a:spLocks noChangeArrowheads="1"/>
            </p:cNvSpPr>
            <p:nvPr/>
          </p:nvSpPr>
          <p:spPr bwMode="auto">
            <a:xfrm>
              <a:off x="9966325" y="1997075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J</a:t>
              </a:r>
            </a:p>
          </p:txBody>
        </p:sp>
        <p:sp>
          <p:nvSpPr>
            <p:cNvPr id="4431" name="Rectangle 6"/>
            <p:cNvSpPr>
              <a:spLocks noChangeArrowheads="1"/>
            </p:cNvSpPr>
            <p:nvPr/>
          </p:nvSpPr>
          <p:spPr bwMode="auto">
            <a:xfrm>
              <a:off x="8494713" y="2592388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A</a:t>
              </a:r>
            </a:p>
          </p:txBody>
        </p:sp>
        <p:cxnSp>
          <p:nvCxnSpPr>
            <p:cNvPr id="4432" name="AutoShape 19"/>
            <p:cNvCxnSpPr>
              <a:cxnSpLocks noChangeShapeType="1"/>
              <a:stCxn id="4431" idx="2"/>
              <a:endCxn id="4435" idx="0"/>
            </p:cNvCxnSpPr>
            <p:nvPr/>
          </p:nvCxnSpPr>
          <p:spPr bwMode="auto">
            <a:xfrm>
              <a:off x="8559800" y="2636838"/>
              <a:ext cx="223838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33" name="Rectangle 6"/>
            <p:cNvSpPr>
              <a:spLocks noChangeArrowheads="1"/>
            </p:cNvSpPr>
            <p:nvPr/>
          </p:nvSpPr>
          <p:spPr bwMode="auto">
            <a:xfrm>
              <a:off x="8494713" y="2684463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C</a:t>
              </a:r>
            </a:p>
          </p:txBody>
        </p:sp>
        <p:sp>
          <p:nvSpPr>
            <p:cNvPr id="4434" name="Rectangle 6"/>
            <p:cNvSpPr>
              <a:spLocks noChangeArrowheads="1"/>
            </p:cNvSpPr>
            <p:nvPr/>
          </p:nvSpPr>
          <p:spPr bwMode="auto">
            <a:xfrm>
              <a:off x="8288338" y="2684463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B</a:t>
              </a:r>
            </a:p>
          </p:txBody>
        </p:sp>
        <p:sp>
          <p:nvSpPr>
            <p:cNvPr id="4435" name="Rectangle 6"/>
            <p:cNvSpPr>
              <a:spLocks noChangeArrowheads="1"/>
            </p:cNvSpPr>
            <p:nvPr/>
          </p:nvSpPr>
          <p:spPr bwMode="auto">
            <a:xfrm>
              <a:off x="8716963" y="2684463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D</a:t>
              </a:r>
            </a:p>
          </p:txBody>
        </p:sp>
        <p:cxnSp>
          <p:nvCxnSpPr>
            <p:cNvPr id="4436" name="AutoShape 19"/>
            <p:cNvCxnSpPr>
              <a:cxnSpLocks noChangeShapeType="1"/>
              <a:stCxn id="4431" idx="2"/>
              <a:endCxn id="4433" idx="0"/>
            </p:cNvCxnSpPr>
            <p:nvPr/>
          </p:nvCxnSpPr>
          <p:spPr bwMode="auto">
            <a:xfrm>
              <a:off x="8559800" y="2636838"/>
              <a:ext cx="0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37" name="AutoShape 19"/>
            <p:cNvCxnSpPr>
              <a:cxnSpLocks noChangeShapeType="1"/>
              <a:stCxn id="4431" idx="2"/>
              <a:endCxn id="4434" idx="0"/>
            </p:cNvCxnSpPr>
            <p:nvPr/>
          </p:nvCxnSpPr>
          <p:spPr bwMode="auto">
            <a:xfrm flipH="1">
              <a:off x="8353425" y="2636838"/>
              <a:ext cx="206375" cy="476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38" name="Rectangle 6"/>
            <p:cNvSpPr>
              <a:spLocks noChangeArrowheads="1"/>
            </p:cNvSpPr>
            <p:nvPr/>
          </p:nvSpPr>
          <p:spPr bwMode="auto">
            <a:xfrm>
              <a:off x="8716963" y="2816225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H</a:t>
              </a:r>
            </a:p>
          </p:txBody>
        </p:sp>
        <p:cxnSp>
          <p:nvCxnSpPr>
            <p:cNvPr id="4439" name="AutoShape 19"/>
            <p:cNvCxnSpPr>
              <a:cxnSpLocks noChangeShapeType="1"/>
              <a:stCxn id="4435" idx="2"/>
              <a:endCxn id="4438" idx="0"/>
            </p:cNvCxnSpPr>
            <p:nvPr/>
          </p:nvCxnSpPr>
          <p:spPr bwMode="auto">
            <a:xfrm flipH="1">
              <a:off x="8782050" y="2728913"/>
              <a:ext cx="1588" cy="873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40" name="AutoShape 19"/>
            <p:cNvCxnSpPr>
              <a:cxnSpLocks noChangeShapeType="1"/>
              <a:stCxn id="4435" idx="2"/>
              <a:endCxn id="4448" idx="0"/>
            </p:cNvCxnSpPr>
            <p:nvPr/>
          </p:nvCxnSpPr>
          <p:spPr bwMode="auto">
            <a:xfrm>
              <a:off x="8783638" y="2728913"/>
              <a:ext cx="234950" cy="746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41" name="Rectangle 6"/>
            <p:cNvSpPr>
              <a:spLocks noChangeArrowheads="1"/>
            </p:cNvSpPr>
            <p:nvPr/>
          </p:nvSpPr>
          <p:spPr bwMode="auto">
            <a:xfrm>
              <a:off x="8399463" y="2819400"/>
              <a:ext cx="131762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Z</a:t>
              </a:r>
            </a:p>
          </p:txBody>
        </p:sp>
        <p:cxnSp>
          <p:nvCxnSpPr>
            <p:cNvPr id="4442" name="AutoShape 19"/>
            <p:cNvCxnSpPr>
              <a:cxnSpLocks noChangeShapeType="1"/>
              <a:stCxn id="4441" idx="0"/>
              <a:endCxn id="4434" idx="2"/>
            </p:cNvCxnSpPr>
            <p:nvPr/>
          </p:nvCxnSpPr>
          <p:spPr bwMode="auto">
            <a:xfrm flipH="1" flipV="1">
              <a:off x="8353425" y="2728913"/>
              <a:ext cx="112713" cy="9048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43" name="Rectangle 6"/>
            <p:cNvSpPr>
              <a:spLocks noChangeArrowheads="1"/>
            </p:cNvSpPr>
            <p:nvPr/>
          </p:nvSpPr>
          <p:spPr bwMode="auto">
            <a:xfrm>
              <a:off x="8499475" y="2936875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G</a:t>
              </a:r>
            </a:p>
          </p:txBody>
        </p:sp>
        <p:cxnSp>
          <p:nvCxnSpPr>
            <p:cNvPr id="4444" name="AutoShape 19"/>
            <p:cNvCxnSpPr>
              <a:cxnSpLocks noChangeShapeType="1"/>
              <a:stCxn id="4443" idx="0"/>
              <a:endCxn id="4441" idx="2"/>
            </p:cNvCxnSpPr>
            <p:nvPr/>
          </p:nvCxnSpPr>
          <p:spPr bwMode="auto">
            <a:xfrm flipH="1" flipV="1">
              <a:off x="8466138" y="2863850"/>
              <a:ext cx="98425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45" name="Rectangle 6"/>
            <p:cNvSpPr>
              <a:spLocks noChangeArrowheads="1"/>
            </p:cNvSpPr>
            <p:nvPr/>
          </p:nvSpPr>
          <p:spPr bwMode="auto">
            <a:xfrm>
              <a:off x="8337550" y="2936875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L</a:t>
              </a:r>
            </a:p>
          </p:txBody>
        </p:sp>
        <p:cxnSp>
          <p:nvCxnSpPr>
            <p:cNvPr id="4446" name="AutoShape 19"/>
            <p:cNvCxnSpPr>
              <a:cxnSpLocks noChangeShapeType="1"/>
              <a:stCxn id="4441" idx="2"/>
              <a:endCxn id="4445" idx="0"/>
            </p:cNvCxnSpPr>
            <p:nvPr/>
          </p:nvCxnSpPr>
          <p:spPr bwMode="auto">
            <a:xfrm flipH="1">
              <a:off x="8402638" y="2863850"/>
              <a:ext cx="63500" cy="730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47" name="Rectangle 6"/>
            <p:cNvSpPr>
              <a:spLocks noChangeArrowheads="1"/>
            </p:cNvSpPr>
            <p:nvPr/>
          </p:nvSpPr>
          <p:spPr bwMode="auto">
            <a:xfrm>
              <a:off x="8197850" y="2789238"/>
              <a:ext cx="130175" cy="4445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M</a:t>
              </a:r>
            </a:p>
          </p:txBody>
        </p:sp>
        <p:sp>
          <p:nvSpPr>
            <p:cNvPr id="4448" name="Rectangle 6"/>
            <p:cNvSpPr>
              <a:spLocks noChangeArrowheads="1"/>
            </p:cNvSpPr>
            <p:nvPr/>
          </p:nvSpPr>
          <p:spPr bwMode="auto">
            <a:xfrm>
              <a:off x="8953500" y="2803525"/>
              <a:ext cx="131763" cy="4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/>
              <a:r>
                <a:rPr lang="en-US" altLang="en-US" sz="750" b="1">
                  <a:solidFill>
                    <a:srgbClr val="000000"/>
                  </a:solidFill>
                  <a:latin typeface="HelvNeue for IBM Medium"/>
                </a:rPr>
                <a:t>J</a:t>
              </a:r>
            </a:p>
          </p:txBody>
        </p:sp>
        <p:cxnSp>
          <p:nvCxnSpPr>
            <p:cNvPr id="4449" name="AutoShape 19"/>
            <p:cNvCxnSpPr>
              <a:cxnSpLocks noChangeShapeType="1"/>
              <a:stCxn id="4434" idx="2"/>
              <a:endCxn id="4447" idx="0"/>
            </p:cNvCxnSpPr>
            <p:nvPr/>
          </p:nvCxnSpPr>
          <p:spPr bwMode="auto">
            <a:xfrm flipH="1">
              <a:off x="8262938" y="2728913"/>
              <a:ext cx="90487" cy="6032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5" name="Straight Arrow Connector 4"/>
          <p:cNvCxnSpPr/>
          <p:nvPr/>
        </p:nvCxnSpPr>
        <p:spPr>
          <a:xfrm flipH="1">
            <a:off x="3830242" y="1101329"/>
            <a:ext cx="2487215" cy="184785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4" name="Straight Arrow Connector 703"/>
          <p:cNvCxnSpPr>
            <a:stCxn id="4107" idx="0"/>
          </p:cNvCxnSpPr>
          <p:nvPr/>
        </p:nvCxnSpPr>
        <p:spPr>
          <a:xfrm flipH="1">
            <a:off x="2203847" y="2630091"/>
            <a:ext cx="4929188" cy="33099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3355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Picture 2" descr="http://image.superstreetonline.com/f/9051926+w+h+q80+re0+cr1/0208_02zoom%2Bmini_cooper_s%2Bfront_side_tech_drawing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878083" y="3486198"/>
            <a:ext cx="1245561" cy="934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89131" y="1145163"/>
            <a:ext cx="3849921" cy="38845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200" b="1" kern="0" dirty="0" smtClean="0">
                <a:solidFill>
                  <a:srgbClr val="2C9DCA"/>
                </a:solidFill>
                <a:latin typeface="HelvNeue for IBM Medium"/>
                <a:cs typeface="Arial"/>
              </a:rPr>
              <a:t>IBM Rational DOORS Next Generation</a:t>
            </a:r>
          </a:p>
          <a:p>
            <a:r>
              <a:rPr lang="en-US" sz="900" kern="0" dirty="0" smtClean="0">
                <a:solidFill>
                  <a:prstClr val="black"/>
                </a:solidFill>
                <a:latin typeface="HelvNeue for IBM Medium"/>
                <a:cs typeface="Arial"/>
              </a:rPr>
              <a:t>Collect, Organize and Collaborate to define Requirements</a:t>
            </a:r>
          </a:p>
          <a:p>
            <a:endParaRPr lang="en-US" sz="1200" kern="0" dirty="0">
              <a:solidFill>
                <a:srgbClr val="12A7F5"/>
              </a:solidFill>
              <a:latin typeface="HelvNeue for IBM Medium"/>
              <a:cs typeface="Arial"/>
            </a:endParaRPr>
          </a:p>
          <a:p>
            <a:r>
              <a:rPr lang="en-US" sz="1200" b="1" kern="0" dirty="0" smtClean="0">
                <a:solidFill>
                  <a:srgbClr val="2C9DCA"/>
                </a:solidFill>
                <a:latin typeface="HelvNeue for IBM Medium"/>
                <a:cs typeface="Arial"/>
              </a:rPr>
              <a:t>IBM Rational Team Concert</a:t>
            </a:r>
          </a:p>
          <a:p>
            <a:r>
              <a:rPr lang="en-US" sz="900" kern="0" dirty="0" smtClean="0">
                <a:solidFill>
                  <a:prstClr val="black"/>
                </a:solidFill>
                <a:latin typeface="HelvNeue for IBM Medium"/>
                <a:cs typeface="Arial"/>
              </a:rPr>
              <a:t>Plan, manage and develop products and software</a:t>
            </a:r>
          </a:p>
          <a:p>
            <a:endParaRPr lang="en-US" sz="1200" kern="0" dirty="0" smtClean="0">
              <a:solidFill>
                <a:srgbClr val="2C9DCA"/>
              </a:solidFill>
              <a:latin typeface="HelvNeue for IBM Medium"/>
              <a:cs typeface="Arial"/>
            </a:endParaRPr>
          </a:p>
          <a:p>
            <a:r>
              <a:rPr lang="en-US" sz="1200" b="1" kern="0" dirty="0" smtClean="0">
                <a:solidFill>
                  <a:srgbClr val="2C9DCA"/>
                </a:solidFill>
                <a:latin typeface="HelvNeue for IBM Medium"/>
                <a:cs typeface="Arial"/>
              </a:rPr>
              <a:t>IBM Rational Rhapsody and Design Manager</a:t>
            </a:r>
          </a:p>
          <a:p>
            <a:r>
              <a:rPr lang="en-US" sz="900" kern="0" dirty="0" smtClean="0">
                <a:latin typeface="HelvNeue for IBM Medium"/>
                <a:cs typeface="Arial"/>
              </a:rPr>
              <a:t>Design, prototype, execute system and software models and code</a:t>
            </a:r>
          </a:p>
          <a:p>
            <a:endParaRPr lang="en-US" sz="1200" kern="0" dirty="0" smtClean="0">
              <a:solidFill>
                <a:srgbClr val="2C9DCA"/>
              </a:solidFill>
              <a:latin typeface="HelvNeue for IBM Medium"/>
              <a:cs typeface="Arial"/>
            </a:endParaRPr>
          </a:p>
          <a:p>
            <a:r>
              <a:rPr lang="en-US" sz="1200" b="1" kern="0" dirty="0" smtClean="0">
                <a:solidFill>
                  <a:srgbClr val="2C9DCA"/>
                </a:solidFill>
                <a:latin typeface="HelvNeue for IBM Medium"/>
                <a:cs typeface="Arial"/>
              </a:rPr>
              <a:t>IBM Rational Quality Manager</a:t>
            </a:r>
          </a:p>
          <a:p>
            <a:r>
              <a:rPr lang="en-US" sz="900" kern="0" dirty="0" smtClean="0">
                <a:solidFill>
                  <a:prstClr val="black"/>
                </a:solidFill>
                <a:latin typeface="HelvNeue for IBM Medium"/>
                <a:cs typeface="Arial"/>
              </a:rPr>
              <a:t>Define, manage and execute tests</a:t>
            </a:r>
          </a:p>
          <a:p>
            <a:endParaRPr lang="en-US" sz="1200" b="1" kern="0" dirty="0" smtClean="0">
              <a:solidFill>
                <a:srgbClr val="2C9DCA"/>
              </a:solidFill>
              <a:latin typeface="HelvNeue for IBM Medium"/>
              <a:cs typeface="Arial"/>
            </a:endParaRPr>
          </a:p>
          <a:p>
            <a:r>
              <a:rPr lang="en-US" sz="1200" b="1" kern="0" dirty="0" smtClean="0">
                <a:solidFill>
                  <a:srgbClr val="2C9DCA"/>
                </a:solidFill>
                <a:latin typeface="HelvNeue for IBM Medium"/>
                <a:cs typeface="Arial"/>
              </a:rPr>
              <a:t>IBM </a:t>
            </a:r>
            <a:r>
              <a:rPr lang="en-US" sz="1200" b="1" kern="0" dirty="0">
                <a:solidFill>
                  <a:srgbClr val="2C9DCA"/>
                </a:solidFill>
                <a:latin typeface="HelvNeue for IBM Medium"/>
                <a:cs typeface="Arial"/>
              </a:rPr>
              <a:t>Rational </a:t>
            </a:r>
            <a:r>
              <a:rPr lang="en-US" sz="1200" b="1" kern="0" dirty="0" smtClean="0">
                <a:solidFill>
                  <a:srgbClr val="2C9DCA"/>
                </a:solidFill>
                <a:latin typeface="HelvNeue for IBM Medium"/>
                <a:cs typeface="Arial"/>
              </a:rPr>
              <a:t>Engineering Analytics</a:t>
            </a:r>
            <a:endParaRPr lang="en-US" sz="1200" b="1" kern="0" dirty="0">
              <a:solidFill>
                <a:srgbClr val="2C9DCA"/>
              </a:solidFill>
              <a:latin typeface="HelvNeue for IBM Medium"/>
              <a:cs typeface="Arial"/>
            </a:endParaRPr>
          </a:p>
          <a:p>
            <a:r>
              <a:rPr lang="en-US" sz="900" kern="0" dirty="0" smtClean="0">
                <a:solidFill>
                  <a:prstClr val="black"/>
                </a:solidFill>
                <a:latin typeface="HelvNeue for IBM Medium"/>
                <a:cs typeface="Arial"/>
              </a:rPr>
              <a:t>Understand complex interactions between Requirements, Plans, Designs and Tests to prove Compliance and Completeness</a:t>
            </a:r>
          </a:p>
          <a:p>
            <a:endParaRPr lang="en-US" sz="1200" b="1" kern="0" dirty="0" smtClean="0">
              <a:solidFill>
                <a:srgbClr val="2C9DCA"/>
              </a:solidFill>
              <a:latin typeface="HelvNeue for IBM Medium"/>
              <a:cs typeface="Arial"/>
            </a:endParaRPr>
          </a:p>
          <a:p>
            <a:r>
              <a:rPr lang="en-US" sz="1200" b="1" kern="0" dirty="0" smtClean="0">
                <a:solidFill>
                  <a:srgbClr val="2C9DCA"/>
                </a:solidFill>
                <a:latin typeface="HelvNeue for IBM Medium"/>
                <a:cs typeface="Arial"/>
              </a:rPr>
              <a:t>IBM </a:t>
            </a:r>
            <a:r>
              <a:rPr lang="en-US" sz="1200" b="1" kern="0" dirty="0">
                <a:solidFill>
                  <a:srgbClr val="2C9DCA"/>
                </a:solidFill>
                <a:latin typeface="HelvNeue for IBM Medium"/>
                <a:cs typeface="Arial"/>
              </a:rPr>
              <a:t>Rational </a:t>
            </a:r>
            <a:r>
              <a:rPr lang="en-US" sz="1200" b="1" kern="0" dirty="0" smtClean="0">
                <a:solidFill>
                  <a:srgbClr val="2C9DCA"/>
                </a:solidFill>
                <a:latin typeface="HelvNeue for IBM Medium"/>
                <a:cs typeface="Arial"/>
              </a:rPr>
              <a:t>Method Composer</a:t>
            </a:r>
            <a:endParaRPr lang="en-US" sz="1200" b="1" kern="0" dirty="0">
              <a:solidFill>
                <a:srgbClr val="2C9DCA"/>
              </a:solidFill>
              <a:latin typeface="HelvNeue for IBM Medium"/>
              <a:cs typeface="Arial"/>
            </a:endParaRPr>
          </a:p>
          <a:p>
            <a:r>
              <a:rPr lang="en-US" sz="900" kern="0" dirty="0" smtClean="0">
                <a:solidFill>
                  <a:prstClr val="black"/>
                </a:solidFill>
                <a:latin typeface="HelvNeue for IBM Medium"/>
                <a:cs typeface="Arial"/>
              </a:rPr>
              <a:t>Extend, Capture, Enforce and leverage Industry and Company best practices</a:t>
            </a:r>
            <a:endParaRPr lang="en-US" sz="900" kern="0" dirty="0">
              <a:solidFill>
                <a:prstClr val="black"/>
              </a:solidFill>
              <a:latin typeface="HelvNeue for IBM Medium"/>
              <a:cs typeface="Arial"/>
            </a:endParaRPr>
          </a:p>
          <a:p>
            <a:endParaRPr lang="en-US" sz="900" kern="0" dirty="0">
              <a:solidFill>
                <a:prstClr val="black"/>
              </a:solidFill>
              <a:latin typeface="HelvNeue for IBM Medium"/>
              <a:cs typeface="Arial"/>
            </a:endParaRPr>
          </a:p>
          <a:p>
            <a:endParaRPr lang="en-US" sz="900" kern="0" dirty="0">
              <a:solidFill>
                <a:prstClr val="black"/>
              </a:solidFill>
              <a:latin typeface="HelvNeue for IBM Medium"/>
              <a:cs typeface="Arial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99481" y="134109"/>
            <a:ext cx="7645025" cy="646609"/>
          </a:xfrm>
          <a:noFill/>
          <a:ln>
            <a:noFill/>
          </a:ln>
        </p:spPr>
        <p:txBody>
          <a:bodyPr vert="horz" wrap="square" lIns="64283" tIns="32142" rIns="64283" bIns="32142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2400" dirty="0" smtClean="0">
                <a:latin typeface="HelvNeue for IBM Medium"/>
              </a:rPr>
              <a:t>IBM </a:t>
            </a:r>
            <a:r>
              <a:rPr lang="en-GB" sz="2400" dirty="0">
                <a:latin typeface="HelvNeue for IBM Medium"/>
              </a:rPr>
              <a:t>IoT Continuous Engineering </a:t>
            </a:r>
            <a:r>
              <a:rPr lang="en-GB" sz="2400" dirty="0" smtClean="0">
                <a:latin typeface="HelvNeue for IBM Medium"/>
              </a:rPr>
              <a:t/>
            </a:r>
            <a:br>
              <a:rPr lang="en-GB" sz="2400" dirty="0" smtClean="0">
                <a:latin typeface="HelvNeue for IBM Medium"/>
              </a:rPr>
            </a:br>
            <a:r>
              <a:rPr lang="en-GB" sz="1800" i="1" dirty="0" smtClean="0">
                <a:latin typeface="HelvNeue for IBM Medium"/>
              </a:rPr>
              <a:t>Everything </a:t>
            </a:r>
            <a:r>
              <a:rPr lang="en-GB" sz="1800" i="1" dirty="0">
                <a:latin typeface="HelvNeue for IBM Medium"/>
              </a:rPr>
              <a:t>you need to </a:t>
            </a:r>
            <a:r>
              <a:rPr lang="en-GB" sz="1800" i="1" dirty="0" smtClean="0">
                <a:latin typeface="HelvNeue for IBM Medium"/>
              </a:rPr>
              <a:t>Create Disruptive Devices with </a:t>
            </a:r>
            <a:r>
              <a:rPr lang="en-GB" sz="1800" i="1" dirty="0">
                <a:latin typeface="HelvNeue for IBM Medium"/>
              </a:rPr>
              <a:t>IoT  </a:t>
            </a:r>
            <a:endParaRPr lang="en-US" sz="2400" i="1" dirty="0">
              <a:latin typeface="HelvNeue for IBM Medium"/>
            </a:endParaRPr>
          </a:p>
        </p:txBody>
      </p:sp>
      <p:grpSp>
        <p:nvGrpSpPr>
          <p:cNvPr id="28" name="Group 27"/>
          <p:cNvGrpSpPr/>
          <p:nvPr/>
        </p:nvGrpSpPr>
        <p:grpSpPr>
          <a:xfrm>
            <a:off x="4025636" y="1236936"/>
            <a:ext cx="5123898" cy="3101590"/>
            <a:chOff x="244696" y="-49796"/>
            <a:chExt cx="8462662" cy="5161418"/>
          </a:xfrm>
        </p:grpSpPr>
        <p:sp>
          <p:nvSpPr>
            <p:cNvPr id="29" name="Right Arrow 28"/>
            <p:cNvSpPr/>
            <p:nvPr/>
          </p:nvSpPr>
          <p:spPr>
            <a:xfrm>
              <a:off x="6302375" y="1295272"/>
              <a:ext cx="2404983" cy="2627547"/>
            </a:xfrm>
            <a:prstGeom prst="rightArrow">
              <a:avLst>
                <a:gd name="adj1" fmla="val 50000"/>
                <a:gd name="adj2" fmla="val 50361"/>
              </a:avLst>
            </a:prstGeom>
            <a:gradFill flip="none" rotWithShape="1">
              <a:gsLst>
                <a:gs pos="0">
                  <a:schemeClr val="accent3">
                    <a:lumMod val="60000"/>
                    <a:lumOff val="40000"/>
                    <a:shade val="30000"/>
                    <a:satMod val="115000"/>
                  </a:schemeClr>
                </a:gs>
                <a:gs pos="50000">
                  <a:schemeClr val="accent3">
                    <a:lumMod val="60000"/>
                    <a:lumOff val="40000"/>
                    <a:shade val="67500"/>
                    <a:satMod val="115000"/>
                  </a:schemeClr>
                </a:gs>
                <a:gs pos="100000">
                  <a:schemeClr val="accent3">
                    <a:lumMod val="60000"/>
                    <a:lumOff val="40000"/>
                    <a:shade val="100000"/>
                    <a:satMod val="115000"/>
                  </a:schemeClr>
                </a:gs>
              </a:gsLst>
              <a:lin ang="10800000" scaled="1"/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latin typeface="HelvNeue for IBM Medium"/>
              </a:endParaRPr>
            </a:p>
          </p:txBody>
        </p:sp>
        <p:pic>
          <p:nvPicPr>
            <p:cNvPr id="30" name="Picture 3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079" r="-1662" b="8095"/>
            <a:stretch/>
          </p:blipFill>
          <p:spPr bwMode="auto">
            <a:xfrm>
              <a:off x="396336" y="2525065"/>
              <a:ext cx="6084167" cy="25546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" name="Line 82"/>
            <p:cNvSpPr>
              <a:spLocks noChangeShapeType="1"/>
            </p:cNvSpPr>
            <p:nvPr/>
          </p:nvSpPr>
          <p:spPr bwMode="auto">
            <a:xfrm>
              <a:off x="1923607" y="2656827"/>
              <a:ext cx="1080135" cy="1779588"/>
            </a:xfrm>
            <a:prstGeom prst="line">
              <a:avLst/>
            </a:prstGeom>
            <a:noFill/>
            <a:ln w="25400">
              <a:solidFill>
                <a:srgbClr val="00B2EF"/>
              </a:solidFill>
              <a:prstDash val="sysDot"/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eaLnBrk="0" hangingPunct="0"/>
              <a:endParaRPr lang="en-US" sz="1100" b="1">
                <a:solidFill>
                  <a:srgbClr val="00649D"/>
                </a:solidFill>
                <a:latin typeface="HelvNeue for IBM Medium"/>
              </a:endParaRPr>
            </a:p>
          </p:txBody>
        </p:sp>
        <p:sp>
          <p:nvSpPr>
            <p:cNvPr id="32" name="Line 83"/>
            <p:cNvSpPr>
              <a:spLocks noChangeShapeType="1"/>
            </p:cNvSpPr>
            <p:nvPr/>
          </p:nvSpPr>
          <p:spPr bwMode="auto">
            <a:xfrm flipV="1">
              <a:off x="3548096" y="2656827"/>
              <a:ext cx="1057275" cy="1784350"/>
            </a:xfrm>
            <a:prstGeom prst="line">
              <a:avLst/>
            </a:prstGeom>
            <a:noFill/>
            <a:ln w="25400">
              <a:solidFill>
                <a:srgbClr val="00B2EF"/>
              </a:solidFill>
              <a:prstDash val="sysDot"/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eaLnBrk="0" hangingPunct="0"/>
              <a:endParaRPr lang="en-US" sz="1100" b="1">
                <a:solidFill>
                  <a:srgbClr val="00649D"/>
                </a:solidFill>
                <a:latin typeface="HelvNeue for IBM Medium"/>
              </a:endParaRPr>
            </a:p>
          </p:txBody>
        </p:sp>
        <p:sp>
          <p:nvSpPr>
            <p:cNvPr id="33" name="Rectangle 36"/>
            <p:cNvSpPr>
              <a:spLocks noChangeArrowheads="1"/>
            </p:cNvSpPr>
            <p:nvPr/>
          </p:nvSpPr>
          <p:spPr bwMode="auto">
            <a:xfrm>
              <a:off x="2754900" y="4702328"/>
              <a:ext cx="1149684" cy="315859"/>
            </a:xfrm>
            <a:prstGeom prst="roundRect">
              <a:avLst/>
            </a:prstGeom>
            <a:noFill/>
            <a:ln>
              <a:noFill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  <a:extLst/>
          </p:spPr>
          <p:txBody>
            <a:bodyPr wrap="none"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Helvetica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Helvetica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Helvetica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Helvetica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Helvetica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Helvetica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Helvetica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Helvetica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Helvetica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>
                <a:defRPr/>
              </a:pPr>
              <a:r>
                <a:rPr lang="en-US" sz="500" b="1" dirty="0">
                  <a:solidFill>
                    <a:srgbClr val="000000"/>
                  </a:solidFill>
                  <a:latin typeface="HelvNeue for IBM Medium"/>
                </a:rPr>
                <a:t>Implementation</a:t>
              </a:r>
            </a:p>
          </p:txBody>
        </p:sp>
        <p:sp>
          <p:nvSpPr>
            <p:cNvPr id="34" name="Text Box 107"/>
            <p:cNvSpPr txBox="1">
              <a:spLocks noChangeArrowheads="1"/>
            </p:cNvSpPr>
            <p:nvPr/>
          </p:nvSpPr>
          <p:spPr bwMode="auto">
            <a:xfrm>
              <a:off x="4641775" y="1174938"/>
              <a:ext cx="1972782" cy="24915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0" r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257175" indent="-257175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  <a:defRPr/>
              </a:pPr>
              <a:r>
                <a:rPr lang="en-US" sz="1000" b="1" dirty="0">
                  <a:solidFill>
                    <a:srgbClr val="FFFFFF"/>
                  </a:solidFill>
                  <a:latin typeface="HelvNeue for IBM Medium"/>
                  <a:ea typeface="+mn-ea"/>
                  <a:cs typeface="+mn-cs"/>
                </a:rPr>
                <a:t>New Deployments</a:t>
              </a:r>
            </a:p>
            <a:p>
              <a:pPr marL="257175" indent="-257175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  <a:defRPr/>
              </a:pPr>
              <a:r>
                <a:rPr lang="en-US" sz="1000" b="1" dirty="0">
                  <a:solidFill>
                    <a:srgbClr val="FFFFFF"/>
                  </a:solidFill>
                  <a:latin typeface="HelvNeue for IBM Medium"/>
                  <a:ea typeface="+mn-ea"/>
                  <a:cs typeface="+mn-cs"/>
                </a:rPr>
                <a:t>Product updates and </a:t>
              </a:r>
            </a:p>
            <a:p>
              <a:pPr marL="257175" indent="-257175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  <a:defRPr/>
              </a:pPr>
              <a:r>
                <a:rPr lang="en-US" sz="1000" b="1" dirty="0">
                  <a:solidFill>
                    <a:srgbClr val="FFFFFF"/>
                  </a:solidFill>
                  <a:latin typeface="HelvNeue for IBM Medium"/>
                  <a:ea typeface="+mn-ea"/>
                  <a:cs typeface="+mn-cs"/>
                </a:rPr>
                <a:t>OTA</a:t>
              </a:r>
            </a:p>
            <a:p>
              <a:pPr marL="257175" indent="-257175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  <a:defRPr/>
              </a:pPr>
              <a:r>
                <a:rPr lang="en-US" sz="1000" b="1" dirty="0">
                  <a:solidFill>
                    <a:srgbClr val="FFFFFF"/>
                  </a:solidFill>
                  <a:latin typeface="HelvNeue for IBM Medium"/>
                  <a:ea typeface="+mn-ea"/>
                  <a:cs typeface="+mn-cs"/>
                </a:rPr>
                <a:t>Device Configuration Management</a:t>
              </a:r>
            </a:p>
            <a:p>
              <a:pPr marL="257175" indent="-257175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  <a:defRPr/>
              </a:pPr>
              <a:endParaRPr lang="en-US" sz="1000" b="1" dirty="0">
                <a:solidFill>
                  <a:srgbClr val="FFFFFF"/>
                </a:solidFill>
                <a:latin typeface="HelvNeue for IBM Medium"/>
                <a:ea typeface="+mn-ea"/>
                <a:cs typeface="+mn-cs"/>
              </a:endParaRPr>
            </a:p>
          </p:txBody>
        </p:sp>
        <p:pic>
          <p:nvPicPr>
            <p:cNvPr id="35" name="Picture 3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079" r="-1662" b="8095"/>
            <a:stretch/>
          </p:blipFill>
          <p:spPr bwMode="auto">
            <a:xfrm flipV="1">
              <a:off x="378857" y="126507"/>
              <a:ext cx="6084167" cy="25623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6" name="Text Box 40"/>
            <p:cNvSpPr txBox="1">
              <a:spLocks noChangeArrowheads="1"/>
            </p:cNvSpPr>
            <p:nvPr/>
          </p:nvSpPr>
          <p:spPr bwMode="auto">
            <a:xfrm>
              <a:off x="2888969" y="187317"/>
              <a:ext cx="975838" cy="589440"/>
            </a:xfrm>
            <a:prstGeom prst="round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000" tIns="42120" rIns="81000" bIns="42120">
              <a:spAutoFit/>
            </a:bodyPr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500" b="1" dirty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  <a:t>Secure Cloud Distribution</a:t>
              </a:r>
            </a:p>
          </p:txBody>
        </p:sp>
        <p:sp>
          <p:nvSpPr>
            <p:cNvPr id="37" name="Line 82"/>
            <p:cNvSpPr>
              <a:spLocks noChangeShapeType="1"/>
            </p:cNvSpPr>
            <p:nvPr/>
          </p:nvSpPr>
          <p:spPr bwMode="auto">
            <a:xfrm flipH="1">
              <a:off x="1972770" y="745477"/>
              <a:ext cx="1096501" cy="1675955"/>
            </a:xfrm>
            <a:prstGeom prst="line">
              <a:avLst/>
            </a:prstGeom>
            <a:noFill/>
            <a:ln w="25400">
              <a:solidFill>
                <a:srgbClr val="00B2EF"/>
              </a:solidFill>
              <a:prstDash val="sysDot"/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eaLnBrk="0" hangingPunct="0"/>
              <a:endParaRPr lang="en-US" sz="1100" b="1">
                <a:solidFill>
                  <a:srgbClr val="00649D"/>
                </a:solidFill>
                <a:latin typeface="HelvNeue for IBM Medium"/>
              </a:endParaRPr>
            </a:p>
          </p:txBody>
        </p:sp>
        <p:sp>
          <p:nvSpPr>
            <p:cNvPr id="38" name="Left Arrow 37"/>
            <p:cNvSpPr/>
            <p:nvPr/>
          </p:nvSpPr>
          <p:spPr>
            <a:xfrm>
              <a:off x="5628164" y="2104682"/>
              <a:ext cx="2436844" cy="588109"/>
            </a:xfrm>
            <a:prstGeom prst="leftArrow">
              <a:avLst/>
            </a:prstGeom>
            <a:solidFill>
              <a:schemeClr val="accent3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0" dirty="0">
                <a:latin typeface="HelvNeue for IBM Medium"/>
              </a:endParaRPr>
            </a:p>
          </p:txBody>
        </p:sp>
        <p:sp>
          <p:nvSpPr>
            <p:cNvPr id="39" name="Line 83"/>
            <p:cNvSpPr>
              <a:spLocks noChangeShapeType="1"/>
            </p:cNvSpPr>
            <p:nvPr/>
          </p:nvSpPr>
          <p:spPr bwMode="auto">
            <a:xfrm flipH="1" flipV="1">
              <a:off x="3667488" y="730550"/>
              <a:ext cx="1101429" cy="1748044"/>
            </a:xfrm>
            <a:prstGeom prst="line">
              <a:avLst/>
            </a:prstGeom>
            <a:noFill/>
            <a:ln w="25400">
              <a:solidFill>
                <a:srgbClr val="00B2EF"/>
              </a:solidFill>
              <a:prstDash val="sysDot"/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eaLnBrk="0" hangingPunct="0"/>
              <a:endParaRPr lang="en-US" sz="1100" b="1">
                <a:solidFill>
                  <a:srgbClr val="00649D"/>
                </a:solidFill>
                <a:latin typeface="HelvNeue for IBM Medium"/>
              </a:endParaRPr>
            </a:p>
          </p:txBody>
        </p:sp>
        <p:sp>
          <p:nvSpPr>
            <p:cNvPr id="40" name="Left Arrow 39"/>
            <p:cNvSpPr/>
            <p:nvPr/>
          </p:nvSpPr>
          <p:spPr>
            <a:xfrm rot="3274148">
              <a:off x="3341392" y="1001937"/>
              <a:ext cx="2691576" cy="588109"/>
            </a:xfrm>
            <a:prstGeom prst="leftArrow">
              <a:avLst/>
            </a:prstGeom>
            <a:solidFill>
              <a:schemeClr val="accent3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0" b="1" dirty="0">
                <a:latin typeface="HelvNeue for IBM Medium"/>
              </a:endParaRPr>
            </a:p>
          </p:txBody>
        </p:sp>
        <p:sp>
          <p:nvSpPr>
            <p:cNvPr id="41" name="Text Box 40"/>
            <p:cNvSpPr txBox="1">
              <a:spLocks noChangeArrowheads="1"/>
            </p:cNvSpPr>
            <p:nvPr/>
          </p:nvSpPr>
          <p:spPr bwMode="auto">
            <a:xfrm>
              <a:off x="4696108" y="1686820"/>
              <a:ext cx="975838" cy="723278"/>
            </a:xfrm>
            <a:prstGeom prst="round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000" tIns="42120" rIns="81000" bIns="42120">
              <a:spAutoFit/>
            </a:bodyPr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500" b="1" dirty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  <a:t>Condition and Performance Monitoring</a:t>
              </a:r>
            </a:p>
          </p:txBody>
        </p:sp>
        <p:sp>
          <p:nvSpPr>
            <p:cNvPr id="42" name="Text Box 40"/>
            <p:cNvSpPr txBox="1">
              <a:spLocks noChangeArrowheads="1"/>
            </p:cNvSpPr>
            <p:nvPr/>
          </p:nvSpPr>
          <p:spPr bwMode="auto">
            <a:xfrm>
              <a:off x="3815819" y="538569"/>
              <a:ext cx="975838" cy="589440"/>
            </a:xfrm>
            <a:prstGeom prst="round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000" tIns="42120" rIns="81000" bIns="42120">
              <a:spAutoFit/>
            </a:bodyPr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500" b="1" dirty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  <a:t>Data </a:t>
              </a:r>
            </a:p>
            <a:p>
              <a:pPr algn="ctr"/>
              <a:r>
                <a:rPr lang="en-US" altLang="en-US" sz="500" b="1" dirty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  <a:t>Enhancement</a:t>
              </a:r>
            </a:p>
          </p:txBody>
        </p:sp>
        <p:sp>
          <p:nvSpPr>
            <p:cNvPr id="43" name="Left Arrow 42"/>
            <p:cNvSpPr/>
            <p:nvPr/>
          </p:nvSpPr>
          <p:spPr>
            <a:xfrm rot="18152327">
              <a:off x="556184" y="1079431"/>
              <a:ext cx="2691576" cy="588109"/>
            </a:xfrm>
            <a:prstGeom prst="leftArrow">
              <a:avLst/>
            </a:prstGeom>
            <a:solidFill>
              <a:schemeClr val="accent3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0" b="1" dirty="0">
                <a:latin typeface="HelvNeue for IBM Medium"/>
              </a:endParaRPr>
            </a:p>
          </p:txBody>
        </p:sp>
        <p:sp>
          <p:nvSpPr>
            <p:cNvPr id="44" name="Text Box 40"/>
            <p:cNvSpPr txBox="1">
              <a:spLocks noChangeArrowheads="1"/>
            </p:cNvSpPr>
            <p:nvPr/>
          </p:nvSpPr>
          <p:spPr bwMode="auto">
            <a:xfrm>
              <a:off x="1423481" y="1181063"/>
              <a:ext cx="975838" cy="445866"/>
            </a:xfrm>
            <a:prstGeom prst="round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000" tIns="42120" rIns="81000" bIns="42120">
              <a:spAutoFit/>
            </a:bodyPr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500" b="1" dirty="0" smtClean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  <a:t>Cognitive</a:t>
              </a:r>
            </a:p>
            <a:p>
              <a:pPr algn="ctr"/>
              <a:r>
                <a:rPr lang="en-US" altLang="en-US" sz="500" b="1" dirty="0" smtClean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  <a:t>Analysis</a:t>
              </a:r>
              <a:endParaRPr lang="en-US" altLang="en-US" sz="500" b="1" dirty="0">
                <a:solidFill>
                  <a:srgbClr val="000000"/>
                </a:solidFill>
                <a:latin typeface="HelvNeue for IBM Medium"/>
                <a:ea typeface="MS PGothic" panose="020B0600070205080204" pitchFamily="34" charset="-128"/>
              </a:endParaRPr>
            </a:p>
          </p:txBody>
        </p:sp>
        <p:sp>
          <p:nvSpPr>
            <p:cNvPr id="45" name="Text Box 40"/>
            <p:cNvSpPr txBox="1">
              <a:spLocks noChangeArrowheads="1"/>
            </p:cNvSpPr>
            <p:nvPr/>
          </p:nvSpPr>
          <p:spPr bwMode="auto">
            <a:xfrm>
              <a:off x="4190321" y="1066116"/>
              <a:ext cx="975838" cy="581612"/>
            </a:xfrm>
            <a:prstGeom prst="round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000" tIns="42120" rIns="81000" bIns="42120">
              <a:spAutoFit/>
            </a:bodyPr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500" b="1" dirty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  <a:t>Condition Based Maintenance</a:t>
              </a:r>
            </a:p>
          </p:txBody>
        </p:sp>
        <p:sp>
          <p:nvSpPr>
            <p:cNvPr id="46" name="Text Box 40"/>
            <p:cNvSpPr txBox="1">
              <a:spLocks noChangeArrowheads="1"/>
            </p:cNvSpPr>
            <p:nvPr/>
          </p:nvSpPr>
          <p:spPr bwMode="auto">
            <a:xfrm>
              <a:off x="1828778" y="507822"/>
              <a:ext cx="975838" cy="589440"/>
            </a:xfrm>
            <a:prstGeom prst="round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000" tIns="42120" rIns="81000" bIns="42120">
              <a:spAutoFit/>
            </a:bodyPr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500" b="1" dirty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  <a:t>Real-time Performance Insight</a:t>
              </a:r>
            </a:p>
          </p:txBody>
        </p:sp>
        <p:sp>
          <p:nvSpPr>
            <p:cNvPr id="47" name="Text Box 10"/>
            <p:cNvSpPr txBox="1">
              <a:spLocks noChangeArrowheads="1"/>
            </p:cNvSpPr>
            <p:nvPr/>
          </p:nvSpPr>
          <p:spPr bwMode="auto">
            <a:xfrm>
              <a:off x="1029585" y="1758694"/>
              <a:ext cx="934403" cy="589440"/>
            </a:xfrm>
            <a:prstGeom prst="round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000" tIns="42120" rIns="81000" bIns="42120">
              <a:spAutoFit/>
            </a:bodyPr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500" b="1" dirty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  <a:t>Engineering Data</a:t>
              </a:r>
            </a:p>
            <a:p>
              <a:pPr algn="ctr"/>
              <a:r>
                <a:rPr lang="en-US" altLang="en-US" sz="500" b="1" dirty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  <a:t>Analytics</a:t>
              </a:r>
            </a:p>
          </p:txBody>
        </p:sp>
        <p:sp>
          <p:nvSpPr>
            <p:cNvPr id="48" name="Left Arrow 47"/>
            <p:cNvSpPr/>
            <p:nvPr/>
          </p:nvSpPr>
          <p:spPr>
            <a:xfrm rot="14206925">
              <a:off x="626982" y="3443903"/>
              <a:ext cx="2691576" cy="588109"/>
            </a:xfrm>
            <a:prstGeom prst="leftArrow">
              <a:avLst/>
            </a:prstGeom>
            <a:solidFill>
              <a:schemeClr val="accent3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0" b="1" dirty="0">
                <a:latin typeface="HelvNeue for IBM Medium"/>
              </a:endParaRPr>
            </a:p>
          </p:txBody>
        </p:sp>
        <p:sp>
          <p:nvSpPr>
            <p:cNvPr id="49" name="Text Box 41"/>
            <p:cNvSpPr txBox="1">
              <a:spLocks noChangeArrowheads="1"/>
            </p:cNvSpPr>
            <p:nvPr/>
          </p:nvSpPr>
          <p:spPr bwMode="auto">
            <a:xfrm>
              <a:off x="940065" y="2807606"/>
              <a:ext cx="1032986" cy="439945"/>
            </a:xfrm>
            <a:prstGeom prst="round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000" tIns="42120" rIns="81000" bIns="42120">
              <a:spAutoFit/>
            </a:bodyPr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500" b="1" dirty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  <a:t>Requirements Engineering</a:t>
              </a:r>
            </a:p>
          </p:txBody>
        </p:sp>
        <p:sp>
          <p:nvSpPr>
            <p:cNvPr id="50" name="Text Box 10"/>
            <p:cNvSpPr txBox="1">
              <a:spLocks noChangeArrowheads="1"/>
            </p:cNvSpPr>
            <p:nvPr/>
          </p:nvSpPr>
          <p:spPr bwMode="auto">
            <a:xfrm>
              <a:off x="244696" y="2410416"/>
              <a:ext cx="934403" cy="445866"/>
            </a:xfrm>
            <a:prstGeom prst="round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000" tIns="42120" rIns="81000" bIns="42120">
              <a:spAutoFit/>
            </a:bodyPr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500" b="1" dirty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  <a:t>Customer</a:t>
              </a:r>
            </a:p>
            <a:p>
              <a:pPr algn="ctr"/>
              <a:r>
                <a:rPr lang="en-US" altLang="en-US" sz="500" b="1" dirty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  <a:t>Needs</a:t>
              </a:r>
            </a:p>
          </p:txBody>
        </p:sp>
        <p:sp>
          <p:nvSpPr>
            <p:cNvPr id="51" name="Text Box 17"/>
            <p:cNvSpPr txBox="1">
              <a:spLocks noChangeArrowheads="1"/>
            </p:cNvSpPr>
            <p:nvPr/>
          </p:nvSpPr>
          <p:spPr bwMode="auto">
            <a:xfrm>
              <a:off x="1321243" y="3362955"/>
              <a:ext cx="1025064" cy="439945"/>
            </a:xfrm>
            <a:prstGeom prst="round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81000" tIns="42120" rIns="81000" bIns="42120">
              <a:spAutoFit/>
            </a:bodyPr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500" b="1" dirty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  <a:t>System</a:t>
              </a:r>
              <a:br>
                <a:rPr lang="en-US" altLang="en-US" sz="500" b="1" dirty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</a:br>
              <a:r>
                <a:rPr lang="en-US" altLang="en-US" sz="500" b="1" dirty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  <a:t>Requirements</a:t>
              </a:r>
            </a:p>
          </p:txBody>
        </p:sp>
        <p:sp>
          <p:nvSpPr>
            <p:cNvPr id="52" name="Text Box 20"/>
            <p:cNvSpPr txBox="1">
              <a:spLocks noChangeArrowheads="1"/>
            </p:cNvSpPr>
            <p:nvPr/>
          </p:nvSpPr>
          <p:spPr bwMode="auto">
            <a:xfrm>
              <a:off x="1675803" y="3842649"/>
              <a:ext cx="945832" cy="445866"/>
            </a:xfrm>
            <a:prstGeom prst="round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000" tIns="42120" rIns="81000" bIns="42120">
              <a:spAutoFit/>
            </a:bodyPr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500" b="1" dirty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  <a:t>System</a:t>
              </a:r>
              <a:br>
                <a:rPr lang="en-US" altLang="en-US" sz="500" b="1" dirty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</a:br>
              <a:r>
                <a:rPr lang="en-US" altLang="en-US" sz="500" b="1" dirty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  <a:t>Design</a:t>
              </a:r>
            </a:p>
          </p:txBody>
        </p:sp>
        <p:sp>
          <p:nvSpPr>
            <p:cNvPr id="53" name="Text Box 20"/>
            <p:cNvSpPr txBox="1">
              <a:spLocks noChangeArrowheads="1"/>
            </p:cNvSpPr>
            <p:nvPr/>
          </p:nvSpPr>
          <p:spPr bwMode="auto">
            <a:xfrm>
              <a:off x="1927895" y="4294550"/>
              <a:ext cx="945832" cy="445866"/>
            </a:xfrm>
            <a:prstGeom prst="round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000" tIns="42120" rIns="81000" bIns="42120">
              <a:spAutoFit/>
            </a:bodyPr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500" b="1" dirty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  <a:t>Virtual Verification</a:t>
              </a:r>
            </a:p>
          </p:txBody>
        </p:sp>
        <p:sp>
          <p:nvSpPr>
            <p:cNvPr id="54" name="Left Arrow 53"/>
            <p:cNvSpPr/>
            <p:nvPr/>
          </p:nvSpPr>
          <p:spPr>
            <a:xfrm rot="7315986">
              <a:off x="3358272" y="3471779"/>
              <a:ext cx="2691576" cy="588109"/>
            </a:xfrm>
            <a:prstGeom prst="leftArrow">
              <a:avLst/>
            </a:prstGeom>
            <a:solidFill>
              <a:schemeClr val="accent3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0" b="1" dirty="0">
                <a:latin typeface="HelvNeue for IBM Medium"/>
              </a:endParaRPr>
            </a:p>
          </p:txBody>
        </p:sp>
        <p:sp>
          <p:nvSpPr>
            <p:cNvPr id="55" name="Text Box 16"/>
            <p:cNvSpPr txBox="1">
              <a:spLocks noChangeArrowheads="1"/>
            </p:cNvSpPr>
            <p:nvPr/>
          </p:nvSpPr>
          <p:spPr bwMode="auto">
            <a:xfrm>
              <a:off x="3673940" y="4294550"/>
              <a:ext cx="1259596" cy="445866"/>
            </a:xfrm>
            <a:prstGeom prst="round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81000" tIns="42120" rIns="81000" bIns="42120">
              <a:spAutoFit/>
            </a:bodyPr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500" b="1" dirty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  <a:t>Integration &amp; </a:t>
              </a:r>
              <a:r>
                <a:rPr lang="en-US" altLang="en-US" sz="500" b="1" dirty="0" smtClean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  <a:t>System Test</a:t>
              </a:r>
              <a:endParaRPr lang="en-US" altLang="en-US" sz="500" b="1" dirty="0">
                <a:solidFill>
                  <a:srgbClr val="000000"/>
                </a:solidFill>
                <a:latin typeface="HelvNeue for IBM Medium"/>
                <a:ea typeface="MS PGothic" panose="020B0600070205080204" pitchFamily="34" charset="-128"/>
              </a:endParaRPr>
            </a:p>
          </p:txBody>
        </p:sp>
        <p:sp>
          <p:nvSpPr>
            <p:cNvPr id="56" name="Text Box 13"/>
            <p:cNvSpPr txBox="1">
              <a:spLocks noChangeArrowheads="1"/>
            </p:cNvSpPr>
            <p:nvPr/>
          </p:nvSpPr>
          <p:spPr bwMode="auto">
            <a:xfrm>
              <a:off x="4206141" y="3561247"/>
              <a:ext cx="995839" cy="876584"/>
            </a:xfrm>
            <a:prstGeom prst="round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000" tIns="42120" rIns="81000" bIns="42120">
              <a:spAutoFit/>
            </a:bodyPr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500" b="1" dirty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  <a:t>     System</a:t>
              </a:r>
              <a:br>
                <a:rPr lang="en-US" altLang="en-US" sz="500" b="1" dirty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</a:br>
              <a:r>
                <a:rPr lang="en-US" altLang="en-US" sz="500" b="1" dirty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  <a:t>    Verification</a:t>
              </a:r>
              <a:br>
                <a:rPr lang="en-US" altLang="en-US" sz="500" b="1" dirty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</a:br>
              <a:r>
                <a:rPr lang="en-US" altLang="en-US" sz="500" b="1" dirty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  <a:t>and Validation</a:t>
              </a:r>
            </a:p>
          </p:txBody>
        </p:sp>
        <p:sp>
          <p:nvSpPr>
            <p:cNvPr id="57" name="Text Box 40"/>
            <p:cNvSpPr txBox="1">
              <a:spLocks noChangeArrowheads="1"/>
            </p:cNvSpPr>
            <p:nvPr/>
          </p:nvSpPr>
          <p:spPr bwMode="auto">
            <a:xfrm>
              <a:off x="4580476" y="3029891"/>
              <a:ext cx="975838" cy="589440"/>
            </a:xfrm>
            <a:prstGeom prst="round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000" tIns="42120" rIns="81000" bIns="42120">
              <a:spAutoFit/>
            </a:bodyPr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500" b="1" dirty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  <a:t>Deployment/</a:t>
              </a:r>
            </a:p>
            <a:p>
              <a:pPr algn="ctr"/>
              <a:r>
                <a:rPr lang="en-US" altLang="en-US" sz="500" b="1" dirty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  <a:t>Release to Mfg.</a:t>
              </a:r>
            </a:p>
          </p:txBody>
        </p:sp>
        <p:sp>
          <p:nvSpPr>
            <p:cNvPr id="58" name="Left Arrow 57"/>
            <p:cNvSpPr/>
            <p:nvPr/>
          </p:nvSpPr>
          <p:spPr>
            <a:xfrm flipH="1">
              <a:off x="5556312" y="2572968"/>
              <a:ext cx="2707081" cy="679666"/>
            </a:xfrm>
            <a:prstGeom prst="leftArrow">
              <a:avLst/>
            </a:prstGeom>
            <a:solidFill>
              <a:schemeClr val="accent3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0" dirty="0">
                <a:latin typeface="HelvNeue for IBM Medium"/>
              </a:endParaRPr>
            </a:p>
          </p:txBody>
        </p:sp>
        <p:sp>
          <p:nvSpPr>
            <p:cNvPr id="59" name="Text Box 40"/>
            <p:cNvSpPr txBox="1">
              <a:spLocks noChangeArrowheads="1"/>
            </p:cNvSpPr>
            <p:nvPr/>
          </p:nvSpPr>
          <p:spPr bwMode="auto">
            <a:xfrm>
              <a:off x="5867177" y="2792499"/>
              <a:ext cx="975838" cy="4029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000" tIns="42120" rIns="81000" bIns="42120">
              <a:spAutoFit/>
            </a:bodyPr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500" b="1" dirty="0">
                  <a:solidFill>
                    <a:srgbClr val="000000"/>
                  </a:solidFill>
                  <a:latin typeface="HelvNeue for IBM Medium"/>
                  <a:ea typeface="MS PGothic" panose="020B0600070205080204" pitchFamily="34" charset="-128"/>
                </a:rPr>
                <a:t>Manufacturing</a:t>
              </a:r>
            </a:p>
          </p:txBody>
        </p:sp>
        <p:sp>
          <p:nvSpPr>
            <p:cNvPr id="60" name="Text Box 40"/>
            <p:cNvSpPr txBox="1">
              <a:spLocks noChangeArrowheads="1"/>
            </p:cNvSpPr>
            <p:nvPr/>
          </p:nvSpPr>
          <p:spPr bwMode="auto">
            <a:xfrm>
              <a:off x="7024232" y="2736053"/>
              <a:ext cx="975838" cy="4029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000" tIns="42120" rIns="81000" bIns="42120">
              <a:spAutoFit/>
            </a:bodyPr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500" b="1" dirty="0">
                  <a:solidFill>
                    <a:schemeClr val="tx1"/>
                  </a:solidFill>
                  <a:latin typeface="HelvNeue for IBM Medium"/>
                  <a:ea typeface="MS PGothic" panose="020B0600070205080204" pitchFamily="34" charset="-128"/>
                </a:rPr>
                <a:t>Deployment / Sale</a:t>
              </a:r>
            </a:p>
          </p:txBody>
        </p:sp>
        <p:sp>
          <p:nvSpPr>
            <p:cNvPr id="61" name="Text Box 40"/>
            <p:cNvSpPr txBox="1">
              <a:spLocks noChangeArrowheads="1"/>
            </p:cNvSpPr>
            <p:nvPr/>
          </p:nvSpPr>
          <p:spPr bwMode="auto">
            <a:xfrm>
              <a:off x="6970471" y="2263114"/>
              <a:ext cx="975838" cy="2732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000" tIns="42120" rIns="81000" bIns="42120">
              <a:spAutoFit/>
            </a:bodyPr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500" b="1" dirty="0">
                  <a:solidFill>
                    <a:schemeClr val="tx1"/>
                  </a:solidFill>
                  <a:latin typeface="HelvNeue for IBM Medium"/>
                  <a:ea typeface="MS PGothic" panose="020B0600070205080204" pitchFamily="34" charset="-128"/>
                </a:rPr>
                <a:t>Sensors</a:t>
              </a:r>
            </a:p>
          </p:txBody>
        </p:sp>
        <p:sp>
          <p:nvSpPr>
            <p:cNvPr id="62" name="Text Box 40"/>
            <p:cNvSpPr txBox="1">
              <a:spLocks noChangeArrowheads="1"/>
            </p:cNvSpPr>
            <p:nvPr/>
          </p:nvSpPr>
          <p:spPr bwMode="auto">
            <a:xfrm>
              <a:off x="6039015" y="2238640"/>
              <a:ext cx="975838" cy="4029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000" tIns="42120" rIns="81000" bIns="42120">
              <a:spAutoFit/>
            </a:bodyPr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20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500" b="1" dirty="0">
                  <a:solidFill>
                    <a:schemeClr val="tx1"/>
                  </a:solidFill>
                  <a:latin typeface="HelvNeue for IBM Medium"/>
                  <a:ea typeface="MS PGothic" panose="020B0600070205080204" pitchFamily="34" charset="-128"/>
                </a:rPr>
                <a:t>Data Aggregation</a:t>
              </a:r>
            </a:p>
          </p:txBody>
        </p:sp>
        <p:pic>
          <p:nvPicPr>
            <p:cNvPr id="63" name="Picture 94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2185947" y="1446947"/>
              <a:ext cx="2229953" cy="22411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64" name="Group 63"/>
            <p:cNvGrpSpPr/>
            <p:nvPr/>
          </p:nvGrpSpPr>
          <p:grpSpPr>
            <a:xfrm>
              <a:off x="2517126" y="1480104"/>
              <a:ext cx="1657190" cy="2313132"/>
              <a:chOff x="3578836" y="1682333"/>
              <a:chExt cx="1657190" cy="2313132"/>
            </a:xfrm>
          </p:grpSpPr>
          <p:sp>
            <p:nvSpPr>
              <p:cNvPr id="82" name="TextBox 81"/>
              <p:cNvSpPr txBox="1"/>
              <p:nvPr/>
            </p:nvSpPr>
            <p:spPr>
              <a:xfrm>
                <a:off x="3584927" y="3483287"/>
                <a:ext cx="1651099" cy="512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700" b="1" i="1" dirty="0" smtClean="0">
                    <a:latin typeface="HelvNeue for IBM Medium"/>
                  </a:rPr>
                  <a:t>Design for Analytics</a:t>
                </a:r>
                <a:endParaRPr lang="en-US" sz="700" b="1" i="1" dirty="0">
                  <a:latin typeface="HelvNeue for IBM Medium"/>
                </a:endParaRPr>
              </a:p>
            </p:txBody>
          </p:sp>
          <p:sp>
            <p:nvSpPr>
              <p:cNvPr id="83" name="TextBox 82"/>
              <p:cNvSpPr txBox="1"/>
              <p:nvPr/>
            </p:nvSpPr>
            <p:spPr>
              <a:xfrm>
                <a:off x="3578836" y="1682333"/>
                <a:ext cx="1651099" cy="512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700" b="1" i="1" dirty="0" smtClean="0">
                    <a:latin typeface="HelvNeue for IBM Medium"/>
                  </a:rPr>
                  <a:t>Analytics for Design</a:t>
                </a:r>
                <a:endParaRPr lang="en-US" sz="700" b="1" i="1" dirty="0">
                  <a:latin typeface="HelvNeue for IBM Medium"/>
                </a:endParaRPr>
              </a:p>
            </p:txBody>
          </p:sp>
        </p:grpSp>
        <p:grpSp>
          <p:nvGrpSpPr>
            <p:cNvPr id="65" name="Group 64"/>
            <p:cNvGrpSpPr/>
            <p:nvPr/>
          </p:nvGrpSpPr>
          <p:grpSpPr>
            <a:xfrm>
              <a:off x="2487025" y="1764520"/>
              <a:ext cx="1602925" cy="1577348"/>
              <a:chOff x="3546323" y="1960683"/>
              <a:chExt cx="1602925" cy="1577348"/>
            </a:xfrm>
          </p:grpSpPr>
          <p:sp>
            <p:nvSpPr>
              <p:cNvPr id="66" name="Oval 65"/>
              <p:cNvSpPr/>
              <p:nvPr/>
            </p:nvSpPr>
            <p:spPr>
              <a:xfrm>
                <a:off x="3546323" y="1960683"/>
                <a:ext cx="1602925" cy="1577348"/>
              </a:xfrm>
              <a:prstGeom prst="ellipse">
                <a:avLst/>
              </a:prstGeom>
              <a:solidFill>
                <a:schemeClr val="accent1"/>
              </a:solidFill>
              <a:ln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00" b="1">
                  <a:latin typeface="HelvNeue for IBM Medium"/>
                </a:endParaRPr>
              </a:p>
            </p:txBody>
          </p:sp>
          <p:grpSp>
            <p:nvGrpSpPr>
              <p:cNvPr id="67" name="Group 66"/>
              <p:cNvGrpSpPr/>
              <p:nvPr/>
            </p:nvGrpSpPr>
            <p:grpSpPr>
              <a:xfrm>
                <a:off x="3575114" y="2080017"/>
                <a:ext cx="1549730" cy="1353368"/>
                <a:chOff x="512273" y="2029864"/>
                <a:chExt cx="2334725" cy="2038897"/>
              </a:xfrm>
            </p:grpSpPr>
            <p:pic>
              <p:nvPicPr>
                <p:cNvPr id="68" name="Picture 66" descr="2-blue2.ai-01.eps"/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71600" y="2523332"/>
                  <a:ext cx="625475" cy="5540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69" name="Picture 67" descr="3-blue2.ai-01.eps"/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792411" y="2773974"/>
                  <a:ext cx="623887" cy="5540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0" name="Picture 68" descr="4-blue2.ai-01.eps"/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789724" y="2283316"/>
                  <a:ext cx="625475" cy="5540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1" name="Picture 69" descr="5-blue2.ai-01.eps"/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801203" y="3274400"/>
                  <a:ext cx="623888" cy="5540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" name="Picture 70" descr="6-blue2.ai-01.eps"/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50181" y="2773973"/>
                  <a:ext cx="625475" cy="5540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3" name="Picture 71" descr="7-blue2.ai-01.eps"/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51342" y="3274399"/>
                  <a:ext cx="623887" cy="5540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" name="Picture 73" descr="9-blue2.ai-01.eps"/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41877" y="2274524"/>
                  <a:ext cx="625475" cy="5540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5" name="Picture 75" descr="11-blue2.ai-01.eps"/>
                <p:cNvPicPr>
                  <a:picLocks noChangeAspect="1"/>
                </p:cNvPicPr>
                <p:nvPr/>
              </p:nvPicPr>
              <p:blipFill>
                <a:blip r:embed="rId1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71600" y="3013136"/>
                  <a:ext cx="623888" cy="5540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6" name="Picture 79" descr="15-blue2.ai-01.eps"/>
                <p:cNvPicPr>
                  <a:picLocks noChangeAspect="1"/>
                </p:cNvPicPr>
                <p:nvPr/>
              </p:nvPicPr>
              <p:blipFill>
                <a:blip r:embed="rId1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221523" y="2535054"/>
                  <a:ext cx="625475" cy="5540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7" name="Picture 80" descr="16-blue2.ai-01.eps"/>
                <p:cNvPicPr>
                  <a:picLocks noChangeAspect="1"/>
                </p:cNvPicPr>
                <p:nvPr/>
              </p:nvPicPr>
              <p:blipFill>
                <a:blip r:embed="rId1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221523" y="3019973"/>
                  <a:ext cx="623888" cy="5540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8" name="Picture 81" descr="17-blue2.ai-01.eps"/>
                <p:cNvPicPr>
                  <a:picLocks noChangeAspect="1"/>
                </p:cNvPicPr>
                <p:nvPr/>
              </p:nvPicPr>
              <p:blipFill>
                <a:blip r:embed="rId1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71600" y="2029864"/>
                  <a:ext cx="623887" cy="5540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" name="Picture 89" descr="25-blue2.ai-01.eps"/>
                <p:cNvPicPr>
                  <a:picLocks noChangeAspect="1"/>
                </p:cNvPicPr>
                <p:nvPr/>
              </p:nvPicPr>
              <p:blipFill>
                <a:blip r:embed="rId1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392" y="3514724"/>
                  <a:ext cx="625475" cy="5540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0" name="Picture 78" descr="14-blue2.ai-01.eps"/>
                <p:cNvPicPr>
                  <a:picLocks noChangeAspect="1"/>
                </p:cNvPicPr>
                <p:nvPr/>
              </p:nvPicPr>
              <p:blipFill>
                <a:blip r:embed="rId1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6667" y="2525400"/>
                  <a:ext cx="625475" cy="5540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1" name="Picture 86" descr="22-blue2.ai-01.eps"/>
                <p:cNvPicPr>
                  <a:picLocks noChangeAspect="1"/>
                </p:cNvPicPr>
                <p:nvPr/>
              </p:nvPicPr>
              <p:blipFill>
                <a:blip r:embed="rId1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2273" y="3012770"/>
                  <a:ext cx="623888" cy="5540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</p:grpSp>
      <p:pic>
        <p:nvPicPr>
          <p:cNvPr id="85" name="Picture 6" descr="http://static.guim.co.uk/sys-images/Guardian/Pix/pictures/2012/4/2/1333396042360/Factory-orders-rise-helps-008.jpg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4297" y="3593654"/>
            <a:ext cx="1070992" cy="64346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2" descr="http://dru-cdn.zipcar.com/sites/default/files/images/photo_zipcar_mini_3.jpg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4368" y="1128165"/>
            <a:ext cx="1090849" cy="62427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4" descr="http://i429.photobucket.com/albums/qq19/ronald-fong/minicoopers2007/ronald-fong-mini-cooper-hdri-crop-w.jpg"/>
          <p:cNvPicPr>
            <a:picLocks noChangeAspect="1" noChangeArrowheads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5" b="10321"/>
          <a:stretch/>
        </p:blipFill>
        <p:spPr bwMode="auto">
          <a:xfrm>
            <a:off x="3728716" y="1164888"/>
            <a:ext cx="1113140" cy="73870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9598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85800" y="1657350"/>
            <a:ext cx="7772400" cy="557354"/>
          </a:xfrm>
        </p:spPr>
        <p:txBody>
          <a:bodyPr/>
          <a:lstStyle/>
          <a:p>
            <a:pPr algn="ctr">
              <a:defRPr/>
            </a:pPr>
            <a:r>
              <a:rPr lang="en-US" sz="3200" dirty="0" smtClean="0">
                <a:latin typeface="HelvNeue for IBM Medium"/>
              </a:rPr>
              <a:t>IBM IoT Industry Transformation Solutions </a:t>
            </a:r>
            <a:endParaRPr sz="3200" dirty="0">
              <a:latin typeface="HelvNeue for IBM Medium"/>
            </a:endParaRPr>
          </a:p>
        </p:txBody>
      </p:sp>
    </p:spTree>
    <p:extLst>
      <p:ext uri="{BB962C8B-B14F-4D97-AF65-F5344CB8AC3E}">
        <p14:creationId xmlns:p14="http://schemas.microsoft.com/office/powerpoint/2010/main" val="21940820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134105"/>
            <a:ext cx="7315200" cy="618910"/>
          </a:xfrm>
        </p:spPr>
        <p:txBody>
          <a:bodyPr/>
          <a:lstStyle/>
          <a:p>
            <a:r>
              <a:rPr lang="en-US" sz="2400" dirty="0" smtClean="0">
                <a:latin typeface="HelvNeue for IBM Medium"/>
              </a:rPr>
              <a:t>IBM </a:t>
            </a:r>
            <a:r>
              <a:rPr lang="en-US" sz="2400" dirty="0" err="1" smtClean="0">
                <a:latin typeface="HelvNeue for IBM Medium"/>
              </a:rPr>
              <a:t>IoT</a:t>
            </a:r>
            <a:r>
              <a:rPr lang="en-US" sz="2400" dirty="0" smtClean="0">
                <a:latin typeface="HelvNeue for IBM Medium"/>
              </a:rPr>
              <a:t> Transformational Offerings</a:t>
            </a:r>
            <a:r>
              <a:rPr lang="en-US" sz="2000" dirty="0" smtClean="0">
                <a:latin typeface="HelvNeue for IBM Medium"/>
              </a:rPr>
              <a:t/>
            </a:r>
            <a:br>
              <a:rPr lang="en-US" sz="2000" dirty="0" smtClean="0">
                <a:latin typeface="HelvNeue for IBM Medium"/>
              </a:rPr>
            </a:br>
            <a:r>
              <a:rPr lang="en-GB" sz="1600" dirty="0" smtClean="0">
                <a:solidFill>
                  <a:schemeClr val="bg1">
                    <a:lumMod val="50000"/>
                  </a:schemeClr>
                </a:solidFill>
                <a:latin typeface="HelvNeue for IBM Medium"/>
              </a:rPr>
              <a:t>Enabling new business models with integrated solutions</a:t>
            </a:r>
            <a:endParaRPr lang="en-US" sz="1600" dirty="0">
              <a:latin typeface="HelvNeue for IBM Medium"/>
            </a:endParaRPr>
          </a:p>
        </p:txBody>
      </p:sp>
      <p:graphicFrame>
        <p:nvGraphicFramePr>
          <p:cNvPr id="13" name="Diagram 12"/>
          <p:cNvGraphicFramePr/>
          <p:nvPr>
            <p:extLst>
              <p:ext uri="{D42A27DB-BD31-4B8C-83A1-F6EECF244321}">
                <p14:modId xmlns:p14="http://schemas.microsoft.com/office/powerpoint/2010/main" val="4160148402"/>
              </p:ext>
            </p:extLst>
          </p:nvPr>
        </p:nvGraphicFramePr>
        <p:xfrm>
          <a:off x="2813854" y="81915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1" name="Content Placeholder 2"/>
          <p:cNvSpPr txBox="1">
            <a:spLocks/>
          </p:cNvSpPr>
          <p:nvPr/>
        </p:nvSpPr>
        <p:spPr bwMode="auto">
          <a:xfrm>
            <a:off x="304800" y="1047750"/>
            <a:ext cx="2509054" cy="350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4283" tIns="32142" rIns="64283" bIns="32142"/>
          <a:lstStyle>
            <a:lvl1pPr marL="342900" indent="-342900" algn="l" defTabSz="319088" rtl="0" eaLnBrk="0" fontAlgn="base" hangingPunct="0">
              <a:lnSpc>
                <a:spcPct val="150000"/>
              </a:lnSpc>
              <a:spcBef>
                <a:spcPts val="538"/>
              </a:spcBef>
              <a:spcAft>
                <a:spcPct val="0"/>
              </a:spcAft>
              <a:buFont typeface="Arial" panose="020B0604020202020204" pitchFamily="34" charset="0"/>
              <a:defRPr sz="1200" kern="1200">
                <a:solidFill>
                  <a:srgbClr val="6D6F71"/>
                </a:solidFill>
                <a:latin typeface="HelvNeue for IBM Light"/>
                <a:ea typeface="MS PGothic" pitchFamily="34" charset="-128"/>
                <a:cs typeface="HelvNeue for IBM Light"/>
              </a:defRPr>
            </a:lvl1pPr>
            <a:lvl2pPr marL="285750" indent="-285750" algn="l" defTabSz="319088" rtl="0" eaLnBrk="0" fontAlgn="base" hangingPunct="0">
              <a:lnSpc>
                <a:spcPct val="150000"/>
              </a:lnSpc>
              <a:spcBef>
                <a:spcPts val="1075"/>
              </a:spcBef>
              <a:spcAft>
                <a:spcPct val="0"/>
              </a:spcAft>
              <a:buClr>
                <a:srgbClr val="4FFAFF"/>
              </a:buClr>
              <a:buFont typeface="Arial" panose="020B0604020202020204" pitchFamily="34" charset="0"/>
              <a:buChar char="•"/>
              <a:defRPr sz="1200" kern="1200">
                <a:solidFill>
                  <a:srgbClr val="6D6F71"/>
                </a:solidFill>
                <a:latin typeface="HelvNeue for IBM Light"/>
                <a:ea typeface="MS PGothic" pitchFamily="34" charset="-128"/>
                <a:cs typeface="HelvNeue for IBM Light"/>
              </a:defRPr>
            </a:lvl2pPr>
            <a:lvl3pPr marL="1143000" indent="-228600" algn="l" defTabSz="319088" rtl="0" eaLnBrk="0" fontAlgn="base" hangingPunct="0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rgbClr val="4FFAFF"/>
              </a:buClr>
              <a:defRPr lang="en-US" sz="1200" kern="1200" dirty="0">
                <a:solidFill>
                  <a:srgbClr val="6D6F71"/>
                </a:solidFill>
                <a:latin typeface="HelvNeue for IBM Light"/>
                <a:ea typeface="MS PGothic" pitchFamily="34" charset="-128"/>
                <a:cs typeface="HelvNeue for IBM Light"/>
              </a:defRPr>
            </a:lvl3pPr>
            <a:lvl4pPr marL="74613" indent="-74613" algn="l" defTabSz="319088" rtl="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39B2E7"/>
              </a:buClr>
              <a:buSzPct val="125000"/>
              <a:buFont typeface="Arial" pitchFamily="34" charset="0"/>
              <a:buChar char="•"/>
              <a:defRPr sz="1200" kern="1200">
                <a:solidFill>
                  <a:srgbClr val="6D6F71"/>
                </a:solidFill>
                <a:latin typeface="HelvNeue for IBM Light"/>
                <a:ea typeface="HelvNeue for IBM" charset="0"/>
                <a:cs typeface="HelvNeue for IBM Light"/>
              </a:defRPr>
            </a:lvl4pPr>
            <a:lvl5pPr marL="307975" indent="-144463" algn="l" defTabSz="319088" rtl="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39B2E7"/>
              </a:buClr>
              <a:buFont typeface="Arial" panose="020B0604020202020204" pitchFamily="34" charset="0"/>
              <a:buChar char="–"/>
              <a:defRPr sz="1200" kern="1200">
                <a:solidFill>
                  <a:srgbClr val="6D6F71"/>
                </a:solidFill>
                <a:latin typeface="HelvNeue for IBM Light"/>
                <a:ea typeface="MS PGothic" pitchFamily="34" charset="-128"/>
                <a:cs typeface="HelvNeue for IBM Light"/>
              </a:defRPr>
            </a:lvl5pPr>
            <a:lvl6pPr marL="1767808" indent="-160710" algn="l" defTabSz="321419" rtl="0" eaLnBrk="1" latinLnBrk="0" hangingPunct="1">
              <a:spcBef>
                <a:spcPct val="200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89229" indent="-160710" algn="l" defTabSz="321419" rtl="0" eaLnBrk="1" latinLnBrk="0" hangingPunct="1">
              <a:spcBef>
                <a:spcPct val="200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10648" indent="-160710" algn="l" defTabSz="321419" rtl="0" eaLnBrk="1" latinLnBrk="0" hangingPunct="1">
              <a:spcBef>
                <a:spcPct val="200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32068" indent="-160710" algn="l" defTabSz="321419" rtl="0" eaLnBrk="1" latinLnBrk="0" hangingPunct="1">
              <a:spcBef>
                <a:spcPct val="200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</a:pPr>
            <a:r>
              <a:rPr lang="en-US" sz="1400" dirty="0" smtClean="0">
                <a:solidFill>
                  <a:schemeClr val="tx1"/>
                </a:solidFill>
                <a:latin typeface="HelvNeue for IBM Medium"/>
                <a:cs typeface="Helvetica Neue Medium"/>
              </a:rPr>
              <a:t>Transform traditional business with the capabilities of </a:t>
            </a:r>
            <a:r>
              <a:rPr lang="en-US" sz="1400" dirty="0" err="1" smtClean="0">
                <a:solidFill>
                  <a:schemeClr val="tx1"/>
                </a:solidFill>
                <a:latin typeface="HelvNeue for IBM Medium"/>
                <a:cs typeface="Helvetica Neue Medium"/>
              </a:rPr>
              <a:t>IoT</a:t>
            </a:r>
            <a:endParaRPr lang="en-US" sz="1400" dirty="0" smtClean="0">
              <a:solidFill>
                <a:schemeClr val="tx1"/>
              </a:solidFill>
              <a:latin typeface="HelvNeue for IBM Medium"/>
              <a:cs typeface="Helvetica Neue Medium"/>
            </a:endParaRPr>
          </a:p>
          <a:p>
            <a:pPr marL="0" indent="0">
              <a:lnSpc>
                <a:spcPct val="80000"/>
              </a:lnSpc>
            </a:pPr>
            <a:endParaRPr lang="en-US" sz="1400" dirty="0" smtClean="0">
              <a:solidFill>
                <a:schemeClr val="tx1"/>
              </a:solidFill>
              <a:latin typeface="HelvNeue for IBM Medium"/>
              <a:cs typeface="Helvetica Neue Medium"/>
            </a:endParaRPr>
          </a:p>
          <a:p>
            <a:pPr marL="285750" indent="-1698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HelvNeue for IBM Medium"/>
                <a:cs typeface="Helvetica Neue Light"/>
              </a:rPr>
              <a:t>Invent new business models</a:t>
            </a:r>
          </a:p>
          <a:p>
            <a:pPr marL="285750" indent="-1698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HelvNeue for IBM Medium"/>
                <a:cs typeface="Helvetica Neue Light"/>
              </a:rPr>
              <a:t>Develop differentiated solutions</a:t>
            </a:r>
          </a:p>
          <a:p>
            <a:pPr marL="285750" indent="-1698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HelvNeue for IBM Medium"/>
                <a:cs typeface="Helvetica Neue Light"/>
              </a:rPr>
              <a:t>Improve operational efficiency</a:t>
            </a:r>
          </a:p>
          <a:p>
            <a:pPr marL="285750" indent="-1698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HelvNeue for IBM Medium"/>
                <a:cs typeface="Helvetica Neue Light"/>
              </a:rPr>
              <a:t>Drive better customer engagement</a:t>
            </a:r>
          </a:p>
          <a:p>
            <a:pPr marL="285750" indent="-1698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HelvNeue for IBM Medium"/>
                <a:cs typeface="Helvetica Neue Light"/>
              </a:rPr>
              <a:t>Utilize IBM innovation</a:t>
            </a:r>
            <a:endParaRPr lang="en-US" sz="1400" dirty="0">
              <a:solidFill>
                <a:schemeClr val="tx1"/>
              </a:solidFill>
              <a:latin typeface="HelvNeue for IBM Medium"/>
              <a:cs typeface="Helvetica Neue Light"/>
            </a:endParaRPr>
          </a:p>
          <a:p>
            <a:pPr marL="0" indent="0">
              <a:lnSpc>
                <a:spcPct val="80000"/>
              </a:lnSpc>
            </a:pPr>
            <a:endParaRPr lang="en-US" sz="1400" dirty="0">
              <a:solidFill>
                <a:schemeClr val="tx1"/>
              </a:solidFill>
              <a:latin typeface="HelvNeue for IBM Medium"/>
              <a:cs typeface="Helvetica Neue Light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6096000" y="4395446"/>
            <a:ext cx="723290" cy="606644"/>
            <a:chOff x="851001" y="1608054"/>
            <a:chExt cx="989380" cy="849358"/>
          </a:xfrm>
        </p:grpSpPr>
        <p:sp>
          <p:nvSpPr>
            <p:cNvPr id="11" name="Hexagon 10"/>
            <p:cNvSpPr/>
            <p:nvPr/>
          </p:nvSpPr>
          <p:spPr>
            <a:xfrm>
              <a:off x="851001" y="1608054"/>
              <a:ext cx="989380" cy="849358"/>
            </a:xfrm>
            <a:prstGeom prst="hexagon">
              <a:avLst>
                <a:gd name="adj" fmla="val 25000"/>
                <a:gd name="vf" fmla="val 115470"/>
              </a:avLst>
            </a:prstGeom>
            <a:solidFill>
              <a:srgbClr val="449F8A"/>
            </a:solidFill>
            <a:ln>
              <a:solidFill>
                <a:srgbClr val="449F8A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Hexagon 4"/>
            <p:cNvSpPr/>
            <p:nvPr/>
          </p:nvSpPr>
          <p:spPr>
            <a:xfrm>
              <a:off x="1004229" y="1739597"/>
              <a:ext cx="682924" cy="58627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13970" rIns="0" bIns="1397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900" kern="1200" dirty="0" smtClean="0">
                  <a:latin typeface="HelvNeue for IBM Medium"/>
                </a:rPr>
                <a:t>Available now or     1H ‘16</a:t>
              </a:r>
              <a:endParaRPr lang="en-US" sz="900" kern="1200" dirty="0">
                <a:latin typeface="HelvNeue for IBM Medium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6934200" y="4395446"/>
            <a:ext cx="723290" cy="606644"/>
            <a:chOff x="2526667" y="2552846"/>
            <a:chExt cx="1012670" cy="892872"/>
          </a:xfrm>
        </p:grpSpPr>
        <p:sp>
          <p:nvSpPr>
            <p:cNvPr id="8" name="Hexagon 7"/>
            <p:cNvSpPr/>
            <p:nvPr/>
          </p:nvSpPr>
          <p:spPr>
            <a:xfrm>
              <a:off x="2526667" y="2552846"/>
              <a:ext cx="1012670" cy="892872"/>
            </a:xfrm>
            <a:prstGeom prst="hexagon">
              <a:avLst>
                <a:gd name="adj" fmla="val 25000"/>
                <a:gd name="vf" fmla="val 115470"/>
              </a:avLst>
            </a:prstGeom>
            <a:solidFill>
              <a:srgbClr val="5CDBBF"/>
            </a:solidFill>
            <a:ln>
              <a:solidFill>
                <a:srgbClr val="5CDBBF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shade val="80000"/>
                <a:hueOff val="205221"/>
                <a:satOff val="-2238"/>
                <a:lumOff val="25579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Hexagon 4"/>
            <p:cNvSpPr/>
            <p:nvPr/>
          </p:nvSpPr>
          <p:spPr>
            <a:xfrm>
              <a:off x="2703184" y="2684389"/>
              <a:ext cx="682924" cy="58627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13970" rIns="0" bIns="1397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100" kern="1200" dirty="0" smtClean="0">
                  <a:latin typeface="HelvNeue for IBM Medium"/>
                </a:rPr>
                <a:t>Future</a:t>
              </a:r>
              <a:endParaRPr lang="en-US" sz="1100" kern="1200" dirty="0">
                <a:latin typeface="HelvNeue for IBM Medium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69999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34104"/>
            <a:ext cx="7543800" cy="403466"/>
          </a:xfrm>
        </p:spPr>
        <p:txBody>
          <a:bodyPr/>
          <a:lstStyle/>
          <a:p>
            <a:r>
              <a:rPr lang="en-US" sz="2400" dirty="0" smtClean="0">
                <a:latin typeface="HelvNeue for IBM Medium"/>
              </a:rPr>
              <a:t>IBM IoT for Automotive</a:t>
            </a:r>
            <a:endParaRPr lang="en-US" sz="2400" i="1" dirty="0">
              <a:solidFill>
                <a:srgbClr val="5799F2"/>
              </a:solidFill>
              <a:latin typeface="HelvNeue for IBM Medium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978645" y="2008822"/>
            <a:ext cx="4572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charset="2"/>
              <a:buChar char="v"/>
            </a:pPr>
            <a:r>
              <a:rPr lang="en-US" b="1" dirty="0">
                <a:latin typeface="HelvNeue for IBM Medium"/>
              </a:rPr>
              <a:t>Analytics driven off of extensive </a:t>
            </a:r>
            <a:r>
              <a:rPr lang="en-US" b="1" dirty="0" smtClean="0">
                <a:latin typeface="HelvNeue for IBM Medium"/>
              </a:rPr>
              <a:t>data</a:t>
            </a:r>
          </a:p>
          <a:p>
            <a:pPr marL="285750" indent="-285750">
              <a:buFont typeface="Wingdings" charset="2"/>
              <a:buChar char="v"/>
            </a:pPr>
            <a:endParaRPr lang="en-US" b="1" dirty="0">
              <a:latin typeface="HelvNeue for IBM Medium"/>
            </a:endParaRPr>
          </a:p>
          <a:p>
            <a:pPr marL="285750" indent="-285750">
              <a:buFont typeface="Wingdings" charset="2"/>
              <a:buChar char="v"/>
            </a:pPr>
            <a:r>
              <a:rPr lang="en-US" b="1" dirty="0" smtClean="0">
                <a:latin typeface="HelvNeue for IBM Medium"/>
              </a:rPr>
              <a:t>Value </a:t>
            </a:r>
            <a:r>
              <a:rPr lang="en-US" b="1" dirty="0">
                <a:latin typeface="HelvNeue for IBM Medium"/>
              </a:rPr>
              <a:t>from Actionable </a:t>
            </a:r>
            <a:r>
              <a:rPr lang="en-US" b="1" dirty="0" smtClean="0">
                <a:latin typeface="HelvNeue for IBM Medium"/>
              </a:rPr>
              <a:t>Insights</a:t>
            </a:r>
          </a:p>
          <a:p>
            <a:pPr marL="285750" indent="-285750">
              <a:buFont typeface="Wingdings" charset="2"/>
              <a:buChar char="v"/>
            </a:pPr>
            <a:endParaRPr lang="en-US" b="1" dirty="0">
              <a:latin typeface="HelvNeue for IBM Medium"/>
            </a:endParaRPr>
          </a:p>
          <a:p>
            <a:pPr marL="285750" indent="-285750">
              <a:buFont typeface="Wingdings" charset="2"/>
              <a:buChar char="v"/>
            </a:pPr>
            <a:r>
              <a:rPr lang="en-US" b="1" dirty="0" smtClean="0">
                <a:latin typeface="HelvNeue for IBM Medium"/>
              </a:rPr>
              <a:t>Massively </a:t>
            </a:r>
            <a:r>
              <a:rPr lang="en-US" b="1" dirty="0">
                <a:latin typeface="HelvNeue for IBM Medium"/>
              </a:rPr>
              <a:t>scalable and in real-</a:t>
            </a:r>
            <a:r>
              <a:rPr lang="en-US" b="1" dirty="0" smtClean="0">
                <a:latin typeface="HelvNeue for IBM Medium"/>
              </a:rPr>
              <a:t>time</a:t>
            </a:r>
            <a:endParaRPr lang="en-US" dirty="0">
              <a:latin typeface="HelvNeue for IBM Medium"/>
            </a:endParaRPr>
          </a:p>
        </p:txBody>
      </p:sp>
      <p:sp>
        <p:nvSpPr>
          <p:cNvPr id="8" name="Hexagon 7"/>
          <p:cNvSpPr/>
          <p:nvPr/>
        </p:nvSpPr>
        <p:spPr>
          <a:xfrm>
            <a:off x="2057399" y="710990"/>
            <a:ext cx="6096001" cy="1297831"/>
          </a:xfrm>
          <a:prstGeom prst="hexagon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6213"/>
            <a:r>
              <a:rPr lang="en-US" sz="2000" dirty="0" smtClean="0">
                <a:solidFill>
                  <a:schemeClr val="tx1"/>
                </a:solidFill>
                <a:latin typeface="HelvNeue for IBM Medium"/>
              </a:rPr>
              <a:t>IoT for Automotive made </a:t>
            </a:r>
            <a:r>
              <a:rPr lang="en-US" sz="2000" dirty="0">
                <a:solidFill>
                  <a:schemeClr val="tx1"/>
                </a:solidFill>
                <a:latin typeface="HelvNeue for IBM Medium"/>
              </a:rPr>
              <a:t>for the </a:t>
            </a:r>
            <a:r>
              <a:rPr lang="en-US" sz="2000" dirty="0" smtClean="0">
                <a:solidFill>
                  <a:schemeClr val="tx1"/>
                </a:solidFill>
                <a:latin typeface="HelvNeue for IBM Medium"/>
              </a:rPr>
              <a:t>development </a:t>
            </a:r>
            <a:r>
              <a:rPr lang="en-US" sz="2000" dirty="0">
                <a:solidFill>
                  <a:schemeClr val="tx1"/>
                </a:solidFill>
                <a:latin typeface="HelvNeue for IBM Medium"/>
              </a:rPr>
              <a:t>and operation of world leading c</a:t>
            </a:r>
            <a:r>
              <a:rPr lang="en-US" sz="2000" dirty="0" smtClean="0">
                <a:solidFill>
                  <a:schemeClr val="tx1"/>
                </a:solidFill>
                <a:latin typeface="HelvNeue for IBM Medium"/>
              </a:rPr>
              <a:t>onnected vehicles</a:t>
            </a:r>
            <a:endParaRPr lang="en-US" sz="2000" dirty="0">
              <a:solidFill>
                <a:schemeClr val="tx1"/>
              </a:solidFill>
              <a:latin typeface="HelvNeue for IBM Medium"/>
            </a:endParaRPr>
          </a:p>
        </p:txBody>
      </p:sp>
      <p:sp>
        <p:nvSpPr>
          <p:cNvPr id="5" name="Hexagon 4"/>
          <p:cNvSpPr>
            <a:spLocks noChangeAspect="1"/>
          </p:cNvSpPr>
          <p:nvPr/>
        </p:nvSpPr>
        <p:spPr>
          <a:xfrm>
            <a:off x="304799" y="1192742"/>
            <a:ext cx="1936171" cy="1607608"/>
          </a:xfrm>
          <a:prstGeom prst="hexagon">
            <a:avLst>
              <a:gd name="adj" fmla="val 25000"/>
              <a:gd name="vf" fmla="val 115470"/>
            </a:avLst>
          </a:prstGeom>
          <a:blipFill rotWithShape="1">
            <a:blip r:embed="rId2"/>
            <a:stretch>
              <a:fillRect/>
            </a:stretch>
          </a:blipFill>
        </p:spPr>
        <p:style>
          <a:lnRef idx="2">
            <a:schemeClr val="accent5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9" name="Rectangle 8"/>
          <p:cNvSpPr/>
          <p:nvPr/>
        </p:nvSpPr>
        <p:spPr>
          <a:xfrm>
            <a:off x="3733800" y="3551932"/>
            <a:ext cx="525779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6213"/>
            <a:r>
              <a:rPr lang="en-US" sz="1600" i="1" dirty="0" smtClean="0">
                <a:latin typeface="HelvNeue for IBM Medium"/>
              </a:rPr>
              <a:t>Helping </a:t>
            </a:r>
            <a:r>
              <a:rPr lang="en-US" sz="1600" i="1" dirty="0">
                <a:latin typeface="HelvNeue for IBM Medium"/>
              </a:rPr>
              <a:t>automotive manufacturers gather data from individual sensors, combine this data with other data sources for real-time analysis, and provide actionable insights for added value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1905000" y="2102879"/>
            <a:ext cx="1768845" cy="1535671"/>
            <a:chOff x="851001" y="1608054"/>
            <a:chExt cx="989380" cy="849358"/>
          </a:xfrm>
        </p:grpSpPr>
        <p:sp>
          <p:nvSpPr>
            <p:cNvPr id="11" name="Hexagon 10"/>
            <p:cNvSpPr/>
            <p:nvPr/>
          </p:nvSpPr>
          <p:spPr>
            <a:xfrm>
              <a:off x="851001" y="1608054"/>
              <a:ext cx="989380" cy="849358"/>
            </a:xfrm>
            <a:prstGeom prst="hexagon">
              <a:avLst>
                <a:gd name="adj" fmla="val 25000"/>
                <a:gd name="vf" fmla="val 115470"/>
              </a:avLst>
            </a:prstGeom>
            <a:solidFill>
              <a:srgbClr val="449F8A"/>
            </a:solidFill>
            <a:ln>
              <a:solidFill>
                <a:srgbClr val="449F8A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Hexagon 4"/>
            <p:cNvSpPr/>
            <p:nvPr/>
          </p:nvSpPr>
          <p:spPr>
            <a:xfrm>
              <a:off x="1004229" y="1739597"/>
              <a:ext cx="682924" cy="58627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13970" rIns="0" bIns="1397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kern="1200" dirty="0" smtClean="0">
                  <a:latin typeface="HelvNeue for IBM Medium"/>
                </a:rPr>
                <a:t>Automotive</a:t>
              </a:r>
              <a:endParaRPr lang="en-US" kern="1200" dirty="0">
                <a:latin typeface="HelvNeue for IBM Medium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56655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34104"/>
            <a:ext cx="7543800" cy="735865"/>
          </a:xfrm>
        </p:spPr>
        <p:txBody>
          <a:bodyPr/>
          <a:lstStyle/>
          <a:p>
            <a:r>
              <a:rPr lang="en-US" sz="2400" dirty="0">
                <a:latin typeface="HelvNeue for IBM Medium"/>
              </a:rPr>
              <a:t>With IoT, companies are becoming more competitive with new ways to drive better business engagement </a:t>
            </a:r>
          </a:p>
        </p:txBody>
      </p:sp>
      <p:sp>
        <p:nvSpPr>
          <p:cNvPr id="7" name="Text Box 11"/>
          <p:cNvSpPr txBox="1">
            <a:spLocks noChangeArrowheads="1"/>
          </p:cNvSpPr>
          <p:nvPr/>
        </p:nvSpPr>
        <p:spPr bwMode="auto">
          <a:xfrm>
            <a:off x="4787152" y="4425866"/>
            <a:ext cx="3259971" cy="230832"/>
          </a:xfrm>
          <a:prstGeom prst="rect">
            <a:avLst/>
          </a:prstGeom>
          <a:noFill/>
          <a:ln w="9525">
            <a:solidFill>
              <a:schemeClr val="tx2">
                <a:lumMod val="60000"/>
                <a:lumOff val="40000"/>
              </a:schemeClr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/>
            <a:r>
              <a:rPr lang="en-US" sz="900" dirty="0">
                <a:latin typeface="HelvNeue for IBM Medium"/>
              </a:rPr>
              <a:t>I need to reduce the cost of running my building</a:t>
            </a:r>
          </a:p>
        </p:txBody>
      </p:sp>
      <p:sp>
        <p:nvSpPr>
          <p:cNvPr id="8" name="Text Box 13"/>
          <p:cNvSpPr txBox="1">
            <a:spLocks noChangeArrowheads="1"/>
          </p:cNvSpPr>
          <p:nvPr/>
        </p:nvSpPr>
        <p:spPr bwMode="auto">
          <a:xfrm>
            <a:off x="1009122" y="3684593"/>
            <a:ext cx="2419878" cy="369332"/>
          </a:xfrm>
          <a:prstGeom prst="rect">
            <a:avLst/>
          </a:prstGeom>
          <a:noFill/>
          <a:ln w="9525">
            <a:solidFill>
              <a:schemeClr val="tx2">
                <a:lumMod val="60000"/>
                <a:lumOff val="40000"/>
              </a:schemeClr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/>
            <a:r>
              <a:rPr lang="en-US" sz="900" dirty="0">
                <a:latin typeface="HelvNeue for IBM Medium"/>
              </a:rPr>
              <a:t>How can I best support our organization's environmental sustainability objectives? </a:t>
            </a:r>
          </a:p>
        </p:txBody>
      </p:sp>
      <p:sp>
        <p:nvSpPr>
          <p:cNvPr id="9" name="Text Box 15"/>
          <p:cNvSpPr txBox="1">
            <a:spLocks noChangeArrowheads="1"/>
          </p:cNvSpPr>
          <p:nvPr/>
        </p:nvSpPr>
        <p:spPr bwMode="auto">
          <a:xfrm>
            <a:off x="1161522" y="1565341"/>
            <a:ext cx="2267478" cy="369332"/>
          </a:xfrm>
          <a:prstGeom prst="rect">
            <a:avLst/>
          </a:prstGeom>
          <a:noFill/>
          <a:ln w="9525">
            <a:solidFill>
              <a:schemeClr val="tx2">
                <a:lumMod val="60000"/>
                <a:lumOff val="40000"/>
              </a:schemeClr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/>
            <a:r>
              <a:rPr lang="en-US" sz="900" dirty="0">
                <a:latin typeface="HelvNeue for IBM Medium"/>
              </a:rPr>
              <a:t>We need to create multiple variants of our products for different markets</a:t>
            </a:r>
          </a:p>
        </p:txBody>
      </p:sp>
      <p:sp>
        <p:nvSpPr>
          <p:cNvPr id="10" name="Text Box 19"/>
          <p:cNvSpPr txBox="1">
            <a:spLocks noChangeArrowheads="1"/>
          </p:cNvSpPr>
          <p:nvPr/>
        </p:nvSpPr>
        <p:spPr bwMode="auto">
          <a:xfrm>
            <a:off x="4787152" y="3394017"/>
            <a:ext cx="1981200" cy="369332"/>
          </a:xfrm>
          <a:prstGeom prst="rect">
            <a:avLst/>
          </a:prstGeom>
          <a:noFill/>
          <a:ln w="9525">
            <a:solidFill>
              <a:schemeClr val="tx2">
                <a:lumMod val="60000"/>
                <a:lumOff val="40000"/>
              </a:schemeClr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/>
            <a:r>
              <a:rPr lang="en-US" sz="900" dirty="0">
                <a:latin typeface="HelvNeue for IBM Medium"/>
              </a:rPr>
              <a:t>I need help managing complex development projects</a:t>
            </a:r>
          </a:p>
        </p:txBody>
      </p:sp>
      <p:sp>
        <p:nvSpPr>
          <p:cNvPr id="11" name="Text Box 21"/>
          <p:cNvSpPr txBox="1">
            <a:spLocks noChangeArrowheads="1"/>
          </p:cNvSpPr>
          <p:nvPr/>
        </p:nvSpPr>
        <p:spPr bwMode="auto">
          <a:xfrm>
            <a:off x="4787152" y="1442109"/>
            <a:ext cx="1905000" cy="369332"/>
          </a:xfrm>
          <a:prstGeom prst="rect">
            <a:avLst/>
          </a:prstGeom>
          <a:noFill/>
          <a:ln w="9525">
            <a:solidFill>
              <a:schemeClr val="tx2">
                <a:lumMod val="60000"/>
                <a:lumOff val="40000"/>
              </a:schemeClr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/>
            <a:r>
              <a:rPr lang="en-US" sz="900" dirty="0">
                <a:latin typeface="HelvNeue for IBM Medium"/>
              </a:rPr>
              <a:t>How can I increase the utilization of my assets? </a:t>
            </a:r>
          </a:p>
        </p:txBody>
      </p:sp>
      <p:sp>
        <p:nvSpPr>
          <p:cNvPr id="12" name="Text Box 25"/>
          <p:cNvSpPr txBox="1">
            <a:spLocks noChangeArrowheads="1"/>
          </p:cNvSpPr>
          <p:nvPr/>
        </p:nvSpPr>
        <p:spPr bwMode="auto">
          <a:xfrm>
            <a:off x="457200" y="1039342"/>
            <a:ext cx="2971800" cy="369332"/>
          </a:xfrm>
          <a:prstGeom prst="rect">
            <a:avLst/>
          </a:prstGeom>
          <a:noFill/>
          <a:ln w="9525">
            <a:solidFill>
              <a:schemeClr val="tx2">
                <a:lumMod val="60000"/>
                <a:lumOff val="40000"/>
              </a:schemeClr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/>
            <a:r>
              <a:rPr lang="en-US" sz="900" dirty="0">
                <a:solidFill>
                  <a:srgbClr val="000000"/>
                </a:solidFill>
                <a:latin typeface="HelvNeue for IBM Medium"/>
              </a:rPr>
              <a:t>Can I reduce maintenance costs by doing condition repairs instead of time-based maintenance</a:t>
            </a:r>
          </a:p>
        </p:txBody>
      </p:sp>
      <p:sp>
        <p:nvSpPr>
          <p:cNvPr id="13" name="Text Box 30"/>
          <p:cNvSpPr txBox="1">
            <a:spLocks noChangeArrowheads="1"/>
          </p:cNvSpPr>
          <p:nvPr/>
        </p:nvSpPr>
        <p:spPr bwMode="auto">
          <a:xfrm>
            <a:off x="4787152" y="2819266"/>
            <a:ext cx="2122044" cy="369332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  <a:prstDash val="sysDash"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/>
            <a:r>
              <a:rPr lang="en-US" sz="900" dirty="0">
                <a:latin typeface="HelvNeue for IBM Medium"/>
              </a:rPr>
              <a:t>I need to reduce/eliminate my factory downtime due to unplanned outages</a:t>
            </a:r>
          </a:p>
        </p:txBody>
      </p:sp>
      <p:sp>
        <p:nvSpPr>
          <p:cNvPr id="14" name="Text Box 7"/>
          <p:cNvSpPr txBox="1">
            <a:spLocks noChangeArrowheads="1"/>
          </p:cNvSpPr>
          <p:nvPr/>
        </p:nvSpPr>
        <p:spPr bwMode="auto">
          <a:xfrm>
            <a:off x="856722" y="2682325"/>
            <a:ext cx="2572278" cy="369332"/>
          </a:xfrm>
          <a:prstGeom prst="rect">
            <a:avLst/>
          </a:prstGeom>
          <a:noFill/>
          <a:ln w="9525">
            <a:solidFill>
              <a:schemeClr val="tx2">
                <a:lumMod val="60000"/>
                <a:lumOff val="40000"/>
              </a:schemeClr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/>
            <a:r>
              <a:rPr lang="en-US" sz="900" dirty="0">
                <a:latin typeface="HelvNeue for IBM Medium"/>
              </a:rPr>
              <a:t>I have assets deployed all over the place that need a repair process</a:t>
            </a:r>
          </a:p>
        </p:txBody>
      </p:sp>
      <p:sp>
        <p:nvSpPr>
          <p:cNvPr id="15" name="Text Box 17"/>
          <p:cNvSpPr txBox="1">
            <a:spLocks noChangeArrowheads="1"/>
          </p:cNvSpPr>
          <p:nvPr/>
        </p:nvSpPr>
        <p:spPr bwMode="auto">
          <a:xfrm>
            <a:off x="4787152" y="2312993"/>
            <a:ext cx="2590800" cy="369332"/>
          </a:xfrm>
          <a:prstGeom prst="rect">
            <a:avLst/>
          </a:prstGeom>
          <a:noFill/>
          <a:ln w="9525">
            <a:solidFill>
              <a:schemeClr val="tx2">
                <a:lumMod val="60000"/>
                <a:lumOff val="40000"/>
              </a:schemeClr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/>
            <a:r>
              <a:rPr lang="en-US" sz="900" dirty="0">
                <a:latin typeface="HelvNeue for IBM Medium"/>
              </a:rPr>
              <a:t>How much more revenue can I generate from my current assets? </a:t>
            </a:r>
          </a:p>
        </p:txBody>
      </p:sp>
      <p:sp>
        <p:nvSpPr>
          <p:cNvPr id="16" name="Text Box 9"/>
          <p:cNvSpPr txBox="1">
            <a:spLocks noChangeArrowheads="1"/>
          </p:cNvSpPr>
          <p:nvPr/>
        </p:nvSpPr>
        <p:spPr bwMode="auto">
          <a:xfrm>
            <a:off x="4787152" y="1033358"/>
            <a:ext cx="2286000" cy="230832"/>
          </a:xfrm>
          <a:prstGeom prst="rect">
            <a:avLst/>
          </a:prstGeom>
          <a:noFill/>
          <a:ln w="9525">
            <a:solidFill>
              <a:schemeClr val="tx2">
                <a:lumMod val="60000"/>
                <a:lumOff val="40000"/>
              </a:schemeClr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/>
            <a:r>
              <a:rPr lang="en-US" sz="900" dirty="0">
                <a:latin typeface="HelvNeue for IBM Medium"/>
              </a:rPr>
              <a:t>How much energy cost can I reduce? </a:t>
            </a:r>
          </a:p>
        </p:txBody>
      </p:sp>
      <p:sp>
        <p:nvSpPr>
          <p:cNvPr id="17" name="Text Box 5"/>
          <p:cNvSpPr txBox="1">
            <a:spLocks noChangeArrowheads="1"/>
          </p:cNvSpPr>
          <p:nvPr/>
        </p:nvSpPr>
        <p:spPr bwMode="auto">
          <a:xfrm>
            <a:off x="4787152" y="3906893"/>
            <a:ext cx="1828800" cy="369332"/>
          </a:xfrm>
          <a:prstGeom prst="rect">
            <a:avLst/>
          </a:prstGeom>
          <a:noFill/>
          <a:ln w="9525">
            <a:solidFill>
              <a:schemeClr val="tx2">
                <a:lumMod val="60000"/>
                <a:lumOff val="40000"/>
              </a:schemeClr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/>
            <a:r>
              <a:rPr lang="en-US" sz="900" dirty="0">
                <a:latin typeface="HelvNeue for IBM Medium"/>
              </a:rPr>
              <a:t>I have to prove we met regulatory specs to an auditor!</a:t>
            </a:r>
          </a:p>
        </p:txBody>
      </p:sp>
      <p:sp>
        <p:nvSpPr>
          <p:cNvPr id="18" name="Text Box 27"/>
          <p:cNvSpPr txBox="1">
            <a:spLocks noChangeArrowheads="1"/>
          </p:cNvSpPr>
          <p:nvPr/>
        </p:nvSpPr>
        <p:spPr bwMode="auto">
          <a:xfrm>
            <a:off x="838200" y="4273106"/>
            <a:ext cx="2590800" cy="369332"/>
          </a:xfrm>
          <a:prstGeom prst="rect">
            <a:avLst/>
          </a:prstGeom>
          <a:noFill/>
          <a:ln w="9525">
            <a:solidFill>
              <a:schemeClr val="tx2">
                <a:lumMod val="60000"/>
                <a:lumOff val="40000"/>
              </a:schemeClr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/>
            <a:r>
              <a:rPr lang="en-US" sz="900" dirty="0">
                <a:latin typeface="HelvNeue for IBM Medium"/>
              </a:rPr>
              <a:t>I need to find new sources of revenue by moving to new service-business models </a:t>
            </a:r>
          </a:p>
        </p:txBody>
      </p:sp>
      <p:sp>
        <p:nvSpPr>
          <p:cNvPr id="19" name="Text Box 23"/>
          <p:cNvSpPr txBox="1">
            <a:spLocks noChangeArrowheads="1"/>
          </p:cNvSpPr>
          <p:nvPr/>
        </p:nvSpPr>
        <p:spPr bwMode="auto">
          <a:xfrm>
            <a:off x="1475789" y="2114550"/>
            <a:ext cx="1953211" cy="369332"/>
          </a:xfrm>
          <a:prstGeom prst="rect">
            <a:avLst/>
          </a:prstGeom>
          <a:noFill/>
          <a:ln w="9525">
            <a:solidFill>
              <a:schemeClr val="tx2">
                <a:lumMod val="60000"/>
                <a:lumOff val="40000"/>
              </a:schemeClr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/>
            <a:r>
              <a:rPr lang="en-US" sz="900" dirty="0">
                <a:latin typeface="HelvNeue for IBM Medium"/>
              </a:rPr>
              <a:t>I need to reduce risk developing this complex device</a:t>
            </a:r>
          </a:p>
        </p:txBody>
      </p:sp>
      <p:sp>
        <p:nvSpPr>
          <p:cNvPr id="20" name="Rectangle 19"/>
          <p:cNvSpPr/>
          <p:nvPr/>
        </p:nvSpPr>
        <p:spPr>
          <a:xfrm>
            <a:off x="3429000" y="1033358"/>
            <a:ext cx="1358152" cy="3623340"/>
          </a:xfrm>
          <a:prstGeom prst="rect">
            <a:avLst/>
          </a:prstGeom>
          <a:solidFill>
            <a:srgbClr val="5799F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HelvNeue for IBM Medium"/>
              </a:rPr>
              <a:t>How can my business deliver better client experience or better outcomes with </a:t>
            </a:r>
            <a:r>
              <a:rPr lang="en-US" dirty="0" err="1">
                <a:solidFill>
                  <a:schemeClr val="bg1"/>
                </a:solidFill>
                <a:latin typeface="HelvNeue for IBM Medium"/>
              </a:rPr>
              <a:t>IoT</a:t>
            </a:r>
            <a:endParaRPr lang="en-US" dirty="0">
              <a:solidFill>
                <a:schemeClr val="bg1"/>
              </a:solidFill>
              <a:latin typeface="HelvNeue for IBM Medium"/>
            </a:endParaRPr>
          </a:p>
        </p:txBody>
      </p:sp>
      <p:sp>
        <p:nvSpPr>
          <p:cNvPr id="21" name="Text Box 21"/>
          <p:cNvSpPr txBox="1">
            <a:spLocks noChangeArrowheads="1"/>
          </p:cNvSpPr>
          <p:nvPr/>
        </p:nvSpPr>
        <p:spPr bwMode="auto">
          <a:xfrm>
            <a:off x="1524000" y="3205671"/>
            <a:ext cx="1905000" cy="369332"/>
          </a:xfrm>
          <a:prstGeom prst="rect">
            <a:avLst/>
          </a:prstGeom>
          <a:solidFill>
            <a:srgbClr val="FFFFFF"/>
          </a:solidFill>
          <a:ln w="9525">
            <a:solidFill>
              <a:schemeClr val="tx2">
                <a:lumMod val="60000"/>
                <a:lumOff val="40000"/>
              </a:schemeClr>
            </a:solidFill>
            <a:prstDash val="sysDash"/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algn="ctr" eaLnBrk="0" hangingPunct="0">
              <a:defRPr sz="900">
                <a:latin typeface="HelvNeue for IBM Medium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r>
              <a:rPr lang="en-US" dirty="0"/>
              <a:t>How can I detect quality issue and minimize scrap? </a:t>
            </a:r>
          </a:p>
        </p:txBody>
      </p:sp>
      <p:sp>
        <p:nvSpPr>
          <p:cNvPr id="22" name="Text Box 21"/>
          <p:cNvSpPr txBox="1">
            <a:spLocks noChangeArrowheads="1"/>
          </p:cNvSpPr>
          <p:nvPr/>
        </p:nvSpPr>
        <p:spPr bwMode="auto">
          <a:xfrm>
            <a:off x="4787152" y="1963821"/>
            <a:ext cx="2909048" cy="230832"/>
          </a:xfrm>
          <a:prstGeom prst="rect">
            <a:avLst/>
          </a:prstGeom>
          <a:noFill/>
          <a:ln w="9525">
            <a:solidFill>
              <a:schemeClr val="tx2">
                <a:lumMod val="60000"/>
                <a:lumOff val="40000"/>
              </a:schemeClr>
            </a:solidFill>
            <a:prstDash val="sysDash"/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 algn="ctr" eaLnBrk="0" hangingPunct="0">
              <a:defRPr sz="900">
                <a:latin typeface="HelvNeue for IBM Medium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r>
              <a:rPr lang="en-US" dirty="0"/>
              <a:t>How can I  prevent or anticipate massive recalls?</a:t>
            </a:r>
          </a:p>
        </p:txBody>
      </p:sp>
    </p:spTree>
    <p:extLst>
      <p:ext uri="{BB962C8B-B14F-4D97-AF65-F5344CB8AC3E}">
        <p14:creationId xmlns:p14="http://schemas.microsoft.com/office/powerpoint/2010/main" val="34993155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34104"/>
            <a:ext cx="7543800" cy="403466"/>
          </a:xfrm>
        </p:spPr>
        <p:txBody>
          <a:bodyPr/>
          <a:lstStyle/>
          <a:p>
            <a:r>
              <a:rPr lang="en-US" sz="2400" dirty="0" smtClean="0">
                <a:latin typeface="HelvNeue for IBM Medium"/>
              </a:rPr>
              <a:t>IBM IoT for Electronics</a:t>
            </a:r>
            <a:endParaRPr lang="en-US" sz="2400" dirty="0">
              <a:latin typeface="HelvNeue for IBM Medium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978645" y="2064425"/>
            <a:ext cx="4572000" cy="20313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charset="2"/>
              <a:buChar char="v"/>
            </a:pPr>
            <a:r>
              <a:rPr lang="en-US" b="1" dirty="0">
                <a:latin typeface="HelvNeue for IBM Medium"/>
              </a:rPr>
              <a:t>Simple Device Registration Process</a:t>
            </a:r>
          </a:p>
          <a:p>
            <a:pPr marL="285750" indent="-285750">
              <a:buFont typeface="Wingdings" charset="2"/>
              <a:buChar char="v"/>
            </a:pPr>
            <a:endParaRPr lang="en-US" b="1" dirty="0">
              <a:latin typeface="HelvNeue for IBM Medium"/>
            </a:endParaRPr>
          </a:p>
          <a:p>
            <a:pPr marL="285750" indent="-285750">
              <a:buFont typeface="Wingdings" charset="2"/>
              <a:buChar char="v"/>
            </a:pPr>
            <a:r>
              <a:rPr lang="en-US" b="1" dirty="0">
                <a:latin typeface="HelvNeue for IBM Medium"/>
              </a:rPr>
              <a:t>Increased remote functions promote increased engagement </a:t>
            </a:r>
          </a:p>
          <a:p>
            <a:pPr marL="285750" indent="-285750">
              <a:buFont typeface="Wingdings" charset="2"/>
              <a:buChar char="v"/>
            </a:pPr>
            <a:endParaRPr lang="en-US" b="1" dirty="0">
              <a:latin typeface="HelvNeue for IBM Medium"/>
            </a:endParaRPr>
          </a:p>
          <a:p>
            <a:pPr marL="285750" indent="-285750">
              <a:buFont typeface="Wingdings" charset="2"/>
              <a:buChar char="v"/>
            </a:pPr>
            <a:r>
              <a:rPr lang="en-US" b="1" dirty="0">
                <a:latin typeface="HelvNeue for IBM Medium"/>
              </a:rPr>
              <a:t>Content Delivery unlock new revenue streams and service </a:t>
            </a:r>
            <a:r>
              <a:rPr lang="en-US" b="1" dirty="0" smtClean="0">
                <a:latin typeface="HelvNeue for IBM Medium"/>
              </a:rPr>
              <a:t>models</a:t>
            </a:r>
            <a:endParaRPr lang="en-US" b="1" dirty="0">
              <a:latin typeface="HelvNeue for IBM Medium"/>
            </a:endParaRPr>
          </a:p>
        </p:txBody>
      </p:sp>
      <p:sp>
        <p:nvSpPr>
          <p:cNvPr id="9" name="Hexagon 8"/>
          <p:cNvSpPr/>
          <p:nvPr/>
        </p:nvSpPr>
        <p:spPr>
          <a:xfrm>
            <a:off x="2057399" y="710990"/>
            <a:ext cx="6096001" cy="1297831"/>
          </a:xfrm>
          <a:prstGeom prst="hexagon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6213"/>
            <a:r>
              <a:rPr lang="en-US" dirty="0">
                <a:solidFill>
                  <a:schemeClr val="tx1"/>
                </a:solidFill>
                <a:latin typeface="HelvNeue for IBM Medium"/>
              </a:rPr>
              <a:t>IoT for Electronics </a:t>
            </a:r>
            <a:r>
              <a:rPr lang="en-US" dirty="0" smtClean="0">
                <a:solidFill>
                  <a:schemeClr val="tx1"/>
                </a:solidFill>
                <a:latin typeface="HelvNeue for IBM Medium"/>
              </a:rPr>
              <a:t>enables </a:t>
            </a:r>
            <a:r>
              <a:rPr lang="en-US" dirty="0">
                <a:solidFill>
                  <a:schemeClr val="tx1"/>
                </a:solidFill>
                <a:latin typeface="HelvNeue for IBM Medium"/>
              </a:rPr>
              <a:t>next </a:t>
            </a:r>
            <a:r>
              <a:rPr lang="en-US" dirty="0" smtClean="0">
                <a:solidFill>
                  <a:schemeClr val="tx1"/>
                </a:solidFill>
                <a:latin typeface="HelvNeue for IBM Medium"/>
              </a:rPr>
              <a:t>generation service </a:t>
            </a:r>
            <a:r>
              <a:rPr lang="en-US" dirty="0">
                <a:solidFill>
                  <a:schemeClr val="tx1"/>
                </a:solidFill>
                <a:latin typeface="HelvNeue for IBM Medium"/>
              </a:rPr>
              <a:t>delivery of connected products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1905000" y="2102879"/>
            <a:ext cx="1768845" cy="1535671"/>
            <a:chOff x="851001" y="1608054"/>
            <a:chExt cx="989380" cy="849358"/>
          </a:xfrm>
        </p:grpSpPr>
        <p:sp>
          <p:nvSpPr>
            <p:cNvPr id="12" name="Hexagon 11"/>
            <p:cNvSpPr/>
            <p:nvPr/>
          </p:nvSpPr>
          <p:spPr>
            <a:xfrm>
              <a:off x="851001" y="1608054"/>
              <a:ext cx="989380" cy="849358"/>
            </a:xfrm>
            <a:prstGeom prst="hexagon">
              <a:avLst>
                <a:gd name="adj" fmla="val 25000"/>
                <a:gd name="vf" fmla="val 115470"/>
              </a:avLst>
            </a:prstGeom>
            <a:solidFill>
              <a:srgbClr val="449F8A"/>
            </a:solidFill>
            <a:ln>
              <a:solidFill>
                <a:srgbClr val="449F8A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Hexagon 4"/>
            <p:cNvSpPr/>
            <p:nvPr/>
          </p:nvSpPr>
          <p:spPr>
            <a:xfrm>
              <a:off x="970083" y="1739597"/>
              <a:ext cx="751216" cy="58627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13970" rIns="0" bIns="1397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kern="1200" dirty="0" smtClean="0">
                  <a:latin typeface="HelvNeue for IBM Medium"/>
                </a:rPr>
                <a:t>Electronics</a:t>
              </a:r>
              <a:endParaRPr lang="en-US" sz="2000" kern="1200" dirty="0">
                <a:latin typeface="HelvNeue for IBM Medium"/>
              </a:endParaRPr>
            </a:p>
          </p:txBody>
        </p:sp>
      </p:grpSp>
      <p:sp>
        <p:nvSpPr>
          <p:cNvPr id="14" name="Hexagon 13"/>
          <p:cNvSpPr/>
          <p:nvPr/>
        </p:nvSpPr>
        <p:spPr>
          <a:xfrm>
            <a:off x="304799" y="1192743"/>
            <a:ext cx="1936171" cy="1608878"/>
          </a:xfrm>
          <a:prstGeom prst="hexagon">
            <a:avLst>
              <a:gd name="adj" fmla="val 25000"/>
              <a:gd name="vf" fmla="val 115470"/>
            </a:avLst>
          </a:prstGeom>
          <a:blipFill rotWithShape="1">
            <a:blip r:embed="rId2"/>
            <a:stretch>
              <a:fillRect/>
            </a:stretch>
          </a:blipFill>
        </p:spPr>
        <p:style>
          <a:lnRef idx="2">
            <a:schemeClr val="accent5">
              <a:shade val="80000"/>
              <a:hueOff val="22802"/>
              <a:satOff val="-249"/>
              <a:lumOff val="2842"/>
              <a:alphaOff val="0"/>
            </a:schemeClr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val="42910134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Title 1"/>
          <p:cNvSpPr>
            <a:spLocks noGrp="1"/>
          </p:cNvSpPr>
          <p:nvPr>
            <p:ph type="title"/>
          </p:nvPr>
        </p:nvSpPr>
        <p:spPr>
          <a:xfrm>
            <a:off x="442913" y="393700"/>
            <a:ext cx="8229600" cy="403466"/>
          </a:xfrm>
        </p:spPr>
        <p:txBody>
          <a:bodyPr/>
          <a:lstStyle/>
          <a:p>
            <a:r>
              <a:rPr lang="en-US" sz="2400" dirty="0">
                <a:latin typeface="Arial" charset="0"/>
              </a:rPr>
              <a:t>IBM IoT for Retail – </a:t>
            </a:r>
            <a:r>
              <a:rPr lang="en-US" sz="2400" dirty="0" smtClean="0">
                <a:latin typeface="Arial" charset="0"/>
              </a:rPr>
              <a:t>Asset Health</a:t>
            </a:r>
            <a:endParaRPr lang="en-US" sz="1800" i="1" dirty="0">
              <a:latin typeface="Arial" charset="0"/>
            </a:endParaRPr>
          </a:p>
        </p:txBody>
      </p:sp>
      <p:grpSp>
        <p:nvGrpSpPr>
          <p:cNvPr id="8207" name="Group 12"/>
          <p:cNvGrpSpPr>
            <a:grpSpLocks/>
          </p:cNvGrpSpPr>
          <p:nvPr/>
        </p:nvGrpSpPr>
        <p:grpSpPr bwMode="auto">
          <a:xfrm>
            <a:off x="304640" y="1341438"/>
            <a:ext cx="3505360" cy="2415630"/>
            <a:chOff x="4671135" y="1015662"/>
            <a:chExt cx="3798836" cy="2518004"/>
          </a:xfrm>
        </p:grpSpPr>
        <p:pic>
          <p:nvPicPr>
            <p:cNvPr id="8208" name="Picture 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3495" y="1015662"/>
              <a:ext cx="2596148" cy="24415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209" name="Picture 3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6602" y="2010516"/>
              <a:ext cx="1083369" cy="3945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210" name="Picture 4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1135" y="1016772"/>
              <a:ext cx="1157193" cy="2799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211" name="Picture 5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83883" y="3330500"/>
              <a:ext cx="1452159" cy="2031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11" name="Straight Connector 39"/>
          <p:cNvCxnSpPr>
            <a:cxnSpLocks noChangeShapeType="1"/>
          </p:cNvCxnSpPr>
          <p:nvPr/>
        </p:nvCxnSpPr>
        <p:spPr bwMode="auto">
          <a:xfrm flipH="1">
            <a:off x="4081463" y="1622425"/>
            <a:ext cx="917575" cy="0"/>
          </a:xfrm>
          <a:prstGeom prst="line">
            <a:avLst/>
          </a:prstGeom>
          <a:noFill/>
          <a:ln w="12700" cmpd="sng">
            <a:solidFill>
              <a:schemeClr val="accent2">
                <a:lumMod val="7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" name="TextBox 15"/>
          <p:cNvSpPr txBox="1"/>
          <p:nvPr/>
        </p:nvSpPr>
        <p:spPr>
          <a:xfrm>
            <a:off x="4797425" y="1341438"/>
            <a:ext cx="2770188" cy="5842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Asset health </a:t>
            </a:r>
          </a:p>
          <a:p>
            <a:pPr algn="ctr">
              <a:defRPr/>
            </a:pPr>
            <a:r>
              <a:rPr lang="en-US" sz="1600" dirty="0"/>
              <a:t>Store analytics solution</a:t>
            </a:r>
          </a:p>
        </p:txBody>
      </p:sp>
      <p:sp>
        <p:nvSpPr>
          <p:cNvPr id="20" name="TextBox 223"/>
          <p:cNvSpPr txBox="1">
            <a:spLocks noChangeArrowheads="1"/>
          </p:cNvSpPr>
          <p:nvPr/>
        </p:nvSpPr>
        <p:spPr bwMode="auto">
          <a:xfrm>
            <a:off x="4191000" y="3654425"/>
            <a:ext cx="4478338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>
              <a:lnSpc>
                <a:spcPct val="120000"/>
              </a:lnSpc>
              <a:defRPr/>
            </a:pPr>
            <a:r>
              <a:rPr lang="en-US" sz="950" dirty="0" smtClean="0">
                <a:cs typeface="Arial" charset="0"/>
              </a:rPr>
              <a:t>Lighting  |  HVAC  |  Equipment  |  Checkout  |  Shelving  |  Security  |  Layout</a:t>
            </a:r>
          </a:p>
        </p:txBody>
      </p:sp>
      <p:sp>
        <p:nvSpPr>
          <p:cNvPr id="8198" name="TextBox 223"/>
          <p:cNvSpPr txBox="1">
            <a:spLocks noChangeArrowheads="1"/>
          </p:cNvSpPr>
          <p:nvPr/>
        </p:nvSpPr>
        <p:spPr bwMode="auto">
          <a:xfrm>
            <a:off x="4314825" y="2176463"/>
            <a:ext cx="1947863" cy="1570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lnSpc>
                <a:spcPct val="120000"/>
              </a:lnSpc>
              <a:spcAft>
                <a:spcPts val="400"/>
              </a:spcAft>
              <a:buFont typeface="Arial" charset="0"/>
              <a:buChar char="•"/>
            </a:pPr>
            <a:r>
              <a:rPr lang="en-US" sz="1200">
                <a:cs typeface="Arial" charset="0"/>
              </a:rPr>
              <a:t>Diagnostic and predictive analytics</a:t>
            </a:r>
          </a:p>
          <a:p>
            <a:pPr eaLnBrk="1" hangingPunct="1">
              <a:lnSpc>
                <a:spcPct val="120000"/>
              </a:lnSpc>
              <a:spcAft>
                <a:spcPts val="400"/>
              </a:spcAft>
              <a:buFont typeface="Arial" charset="0"/>
              <a:buChar char="•"/>
            </a:pPr>
            <a:r>
              <a:rPr lang="en-US" sz="1200">
                <a:cs typeface="Arial" charset="0"/>
              </a:rPr>
              <a:t>IoT-enabled fault detection</a:t>
            </a:r>
          </a:p>
          <a:p>
            <a:pPr eaLnBrk="1" hangingPunct="1">
              <a:lnSpc>
                <a:spcPct val="120000"/>
              </a:lnSpc>
              <a:spcAft>
                <a:spcPts val="400"/>
              </a:spcAft>
              <a:buFont typeface="Arial" charset="0"/>
              <a:buChar char="•"/>
            </a:pPr>
            <a:r>
              <a:rPr lang="en-US" sz="1200">
                <a:cs typeface="Arial" charset="0"/>
              </a:rPr>
              <a:t>Work order integration</a:t>
            </a:r>
          </a:p>
          <a:p>
            <a:pPr eaLnBrk="1" hangingPunct="1">
              <a:lnSpc>
                <a:spcPct val="120000"/>
              </a:lnSpc>
              <a:spcAft>
                <a:spcPts val="400"/>
              </a:spcAft>
              <a:buFont typeface="Arial" charset="0"/>
              <a:buChar char="•"/>
            </a:pPr>
            <a:endParaRPr lang="en-US" sz="1200">
              <a:cs typeface="Arial" charset="0"/>
            </a:endParaRPr>
          </a:p>
        </p:txBody>
      </p:sp>
      <p:cxnSp>
        <p:nvCxnSpPr>
          <p:cNvPr id="28" name="Straight Connector 39"/>
          <p:cNvCxnSpPr>
            <a:cxnSpLocks noChangeShapeType="1"/>
          </p:cNvCxnSpPr>
          <p:nvPr/>
        </p:nvCxnSpPr>
        <p:spPr bwMode="auto">
          <a:xfrm flipH="1">
            <a:off x="4327525" y="3630613"/>
            <a:ext cx="4187825" cy="0"/>
          </a:xfrm>
          <a:prstGeom prst="line">
            <a:avLst/>
          </a:prstGeom>
          <a:noFill/>
          <a:ln w="19050" cmpd="sng">
            <a:solidFill>
              <a:schemeClr val="accent5">
                <a:lumMod val="6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7" name="Straight Connector 39"/>
          <p:cNvCxnSpPr>
            <a:cxnSpLocks noChangeShapeType="1"/>
          </p:cNvCxnSpPr>
          <p:nvPr/>
        </p:nvCxnSpPr>
        <p:spPr bwMode="auto">
          <a:xfrm flipV="1">
            <a:off x="4076700" y="1614488"/>
            <a:ext cx="0" cy="2049462"/>
          </a:xfrm>
          <a:prstGeom prst="line">
            <a:avLst/>
          </a:prstGeom>
          <a:noFill/>
          <a:ln w="12700" cmpd="sng">
            <a:solidFill>
              <a:schemeClr val="accent2">
                <a:lumMod val="7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0" name="Straight Connector 39"/>
          <p:cNvCxnSpPr>
            <a:cxnSpLocks noChangeShapeType="1"/>
          </p:cNvCxnSpPr>
          <p:nvPr/>
        </p:nvCxnSpPr>
        <p:spPr bwMode="auto">
          <a:xfrm flipH="1">
            <a:off x="2603500" y="3660775"/>
            <a:ext cx="1473200" cy="0"/>
          </a:xfrm>
          <a:prstGeom prst="line">
            <a:avLst/>
          </a:prstGeom>
          <a:noFill/>
          <a:ln w="12700" cmpd="sng">
            <a:solidFill>
              <a:schemeClr val="accent2">
                <a:lumMod val="7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1" name="Straight Connector 39"/>
          <p:cNvCxnSpPr>
            <a:cxnSpLocks noChangeShapeType="1"/>
          </p:cNvCxnSpPr>
          <p:nvPr/>
        </p:nvCxnSpPr>
        <p:spPr bwMode="auto">
          <a:xfrm flipV="1">
            <a:off x="2603500" y="3546475"/>
            <a:ext cx="0" cy="228600"/>
          </a:xfrm>
          <a:prstGeom prst="line">
            <a:avLst/>
          </a:prstGeom>
          <a:noFill/>
          <a:ln w="12700" cmpd="sng">
            <a:solidFill>
              <a:schemeClr val="accent2">
                <a:lumMod val="7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203" name="TextBox 223"/>
          <p:cNvSpPr txBox="1">
            <a:spLocks noChangeArrowheads="1"/>
          </p:cNvSpPr>
          <p:nvPr/>
        </p:nvSpPr>
        <p:spPr bwMode="auto">
          <a:xfrm>
            <a:off x="6565900" y="2355850"/>
            <a:ext cx="2106613" cy="85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lnSpc>
                <a:spcPct val="120000"/>
              </a:lnSpc>
              <a:spcAft>
                <a:spcPts val="400"/>
              </a:spcAft>
              <a:buFont typeface="Arial" charset="0"/>
              <a:buChar char="•"/>
            </a:pPr>
            <a:r>
              <a:rPr lang="en-US" sz="1200">
                <a:cs typeface="Arial" charset="0"/>
              </a:rPr>
              <a:t>Reduced operating costs</a:t>
            </a:r>
          </a:p>
          <a:p>
            <a:pPr eaLnBrk="1" hangingPunct="1">
              <a:lnSpc>
                <a:spcPct val="120000"/>
              </a:lnSpc>
              <a:spcAft>
                <a:spcPts val="400"/>
              </a:spcAft>
              <a:buFont typeface="Arial" charset="0"/>
              <a:buChar char="•"/>
            </a:pPr>
            <a:r>
              <a:rPr lang="en-US" sz="1200">
                <a:cs typeface="Arial" charset="0"/>
              </a:rPr>
              <a:t>Reduced energy footprint</a:t>
            </a:r>
          </a:p>
          <a:p>
            <a:pPr eaLnBrk="1" hangingPunct="1">
              <a:lnSpc>
                <a:spcPct val="120000"/>
              </a:lnSpc>
              <a:spcAft>
                <a:spcPts val="400"/>
              </a:spcAft>
              <a:buFont typeface="Arial" charset="0"/>
              <a:buChar char="•"/>
            </a:pPr>
            <a:r>
              <a:rPr lang="en-US" sz="1200">
                <a:cs typeface="Arial" charset="0"/>
              </a:rPr>
              <a:t>Optimum performance</a:t>
            </a:r>
          </a:p>
        </p:txBody>
      </p:sp>
      <p:sp>
        <p:nvSpPr>
          <p:cNvPr id="47" name="Right Arrow 46"/>
          <p:cNvSpPr/>
          <p:nvPr/>
        </p:nvSpPr>
        <p:spPr>
          <a:xfrm>
            <a:off x="6118225" y="2465388"/>
            <a:ext cx="336550" cy="635000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2" name="Straight Connector 39"/>
          <p:cNvCxnSpPr>
            <a:cxnSpLocks noChangeShapeType="1"/>
          </p:cNvCxnSpPr>
          <p:nvPr/>
        </p:nvCxnSpPr>
        <p:spPr bwMode="auto">
          <a:xfrm flipV="1">
            <a:off x="5003800" y="1358900"/>
            <a:ext cx="0" cy="515938"/>
          </a:xfrm>
          <a:prstGeom prst="line">
            <a:avLst/>
          </a:prstGeom>
          <a:noFill/>
          <a:ln w="12700" cmpd="sng">
            <a:solidFill>
              <a:schemeClr val="accent2">
                <a:lumMod val="7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84911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/>
          <p:cNvGraphicFramePr/>
          <p:nvPr>
            <p:extLst/>
          </p:nvPr>
        </p:nvGraphicFramePr>
        <p:xfrm>
          <a:off x="184326" y="33655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Rectangle 3"/>
          <p:cNvSpPr>
            <a:spLocks noGrp="1" noChangeArrowheads="1"/>
          </p:cNvSpPr>
          <p:nvPr>
            <p:ph type="title" sz="quarter" idx="4294967295"/>
          </p:nvPr>
        </p:nvSpPr>
        <p:spPr>
          <a:xfrm>
            <a:off x="265113" y="131763"/>
            <a:ext cx="8226425" cy="603628"/>
          </a:xfrm>
          <a:extLst/>
        </p:spPr>
        <p:txBody>
          <a:bodyPr lIns="44577" tIns="22289" rIns="44577" bIns="22289"/>
          <a:lstStyle/>
          <a:p>
            <a:pPr>
              <a:defRPr/>
            </a:pPr>
            <a:r>
              <a:rPr lang="en-US" sz="2200" spc="-52" dirty="0" smtClean="0">
                <a:ea typeface="ＭＳ Ｐゴシック" charset="0"/>
                <a:cs typeface="ＭＳ Ｐゴシック" charset="0"/>
              </a:rPr>
              <a:t>IBM IoT for Telecom 							</a:t>
            </a:r>
            <a:br>
              <a:rPr lang="en-US" sz="2200" spc="-52" dirty="0" smtClean="0">
                <a:ea typeface="ＭＳ Ｐゴシック" charset="0"/>
                <a:cs typeface="ＭＳ Ｐゴシック" charset="0"/>
              </a:rPr>
            </a:br>
            <a:r>
              <a:rPr lang="en-US" sz="1800" i="1" spc="-52" dirty="0" smtClean="0">
                <a:ea typeface="ＭＳ Ｐゴシック" charset="0"/>
                <a:cs typeface="ＭＳ Ｐゴシック" charset="0"/>
              </a:rPr>
              <a:t>Three value propositions</a:t>
            </a:r>
            <a:endParaRPr lang="en-US" sz="1800" i="1" dirty="0">
              <a:ea typeface="ＭＳ Ｐゴシック" charset="0"/>
              <a:cs typeface="ＭＳ Ｐゴシック" charset="0"/>
            </a:endParaRPr>
          </a:p>
        </p:txBody>
      </p:sp>
      <p:pic>
        <p:nvPicPr>
          <p:cNvPr id="8" name="Picture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9699" y="3101698"/>
            <a:ext cx="438828" cy="405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3323" y="1961703"/>
            <a:ext cx="510848" cy="51595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0052" y="1777689"/>
            <a:ext cx="1112971" cy="1112971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4901940" y="3510019"/>
            <a:ext cx="65434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000" dirty="0" smtClean="0">
                <a:solidFill>
                  <a:srgbClr val="000000"/>
                </a:solidFill>
              </a:rPr>
              <a:t>Network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430985" y="2424059"/>
            <a:ext cx="72160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000" dirty="0" smtClean="0">
                <a:solidFill>
                  <a:srgbClr val="000000"/>
                </a:solidFill>
              </a:rPr>
              <a:t>Enterprise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861011" y="1211162"/>
            <a:ext cx="77136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000" dirty="0" smtClean="0">
                <a:solidFill>
                  <a:srgbClr val="000000"/>
                </a:solidFill>
              </a:rPr>
              <a:t>Services </a:t>
            </a:r>
          </a:p>
          <a:p>
            <a:pPr algn="ctr"/>
            <a:r>
              <a:rPr lang="en-GB" sz="1000" dirty="0" smtClean="0">
                <a:solidFill>
                  <a:srgbClr val="000000"/>
                </a:solidFill>
              </a:rPr>
              <a:t>Innovation</a:t>
            </a:r>
            <a:endParaRPr lang="en-US" sz="1000" dirty="0">
              <a:solidFill>
                <a:srgbClr val="000000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2625" y="1467900"/>
            <a:ext cx="467427" cy="21034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6557" y="1052045"/>
            <a:ext cx="392408" cy="26742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4430" y="1777195"/>
            <a:ext cx="285677" cy="30281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5613" y="2588582"/>
            <a:ext cx="706064" cy="17475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689" y="2759818"/>
            <a:ext cx="541106" cy="149754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1336" y="2250433"/>
            <a:ext cx="540892" cy="173626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9769" y="1358047"/>
            <a:ext cx="566654" cy="549664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6991" y="3172934"/>
            <a:ext cx="264019" cy="372064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8652" y="2901249"/>
            <a:ext cx="651164" cy="143256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6190" y="1961703"/>
            <a:ext cx="264212" cy="26421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075" y="2366620"/>
            <a:ext cx="553287" cy="241075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4869" y="1082400"/>
            <a:ext cx="656578" cy="212875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6190" y="3031373"/>
            <a:ext cx="517535" cy="16700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00" y="1764506"/>
            <a:ext cx="352482" cy="352482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4271" y="3156086"/>
            <a:ext cx="721047" cy="202880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8424" y="3596572"/>
            <a:ext cx="593966" cy="197197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6895" y="3408161"/>
            <a:ext cx="611630" cy="124772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2684" y="3328122"/>
            <a:ext cx="351223" cy="200197"/>
          </a:xfrm>
          <a:prstGeom prst="rect">
            <a:avLst/>
          </a:prstGeom>
        </p:spPr>
      </p:pic>
      <p:pic>
        <p:nvPicPr>
          <p:cNvPr id="18432" name="Picture 18431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6426" y="1397198"/>
            <a:ext cx="343628" cy="206177"/>
          </a:xfrm>
          <a:prstGeom prst="rect">
            <a:avLst/>
          </a:prstGeom>
        </p:spPr>
      </p:pic>
      <p:pic>
        <p:nvPicPr>
          <p:cNvPr id="18433" name="Picture 18432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4934" y="1645313"/>
            <a:ext cx="373026" cy="156671"/>
          </a:xfrm>
          <a:prstGeom prst="rect">
            <a:avLst/>
          </a:prstGeom>
        </p:spPr>
      </p:pic>
      <p:sp>
        <p:nvSpPr>
          <p:cNvPr id="18439" name="TextBox 18438"/>
          <p:cNvSpPr txBox="1"/>
          <p:nvPr/>
        </p:nvSpPr>
        <p:spPr>
          <a:xfrm>
            <a:off x="5732414" y="3033748"/>
            <a:ext cx="31995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4775" indent="-104775"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HelvNeue for IBM Medium"/>
              </a:rPr>
              <a:t>How do I manage signalling?</a:t>
            </a:r>
          </a:p>
          <a:p>
            <a:pPr marL="104775" indent="-104775"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HelvNeue for IBM Medium"/>
              </a:rPr>
              <a:t>How do I compete against low power competitors?</a:t>
            </a:r>
          </a:p>
          <a:p>
            <a:pPr marL="104775" indent="-104775"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HelvNeue for IBM Medium"/>
              </a:rPr>
              <a:t>How do I secure IoT?</a:t>
            </a:r>
          </a:p>
          <a:p>
            <a:pPr marL="104775" indent="-104775"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HelvNeue for IBM Medium"/>
              </a:rPr>
              <a:t>How do I differentiate?</a:t>
            </a:r>
            <a:endParaRPr lang="en-US" sz="1000" dirty="0">
              <a:solidFill>
                <a:srgbClr val="000000"/>
              </a:solidFill>
              <a:latin typeface="HelvNeue for IBM Medium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5334001" y="2016633"/>
            <a:ext cx="31575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4775" indent="-104775"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HelvNeue for IBM Medium"/>
              </a:rPr>
              <a:t>How do I manage </a:t>
            </a:r>
            <a:r>
              <a:rPr lang="en-GB" sz="1000" i="1" dirty="0" smtClean="0">
                <a:solidFill>
                  <a:srgbClr val="000000"/>
                </a:solidFill>
                <a:latin typeface="HelvNeue for IBM Medium"/>
              </a:rPr>
              <a:t>my</a:t>
            </a:r>
            <a:r>
              <a:rPr lang="en-GB" sz="1000" dirty="0" smtClean="0">
                <a:solidFill>
                  <a:srgbClr val="000000"/>
                </a:solidFill>
                <a:latin typeface="HelvNeue for IBM Medium"/>
              </a:rPr>
              <a:t> fleet, network, masts?</a:t>
            </a:r>
          </a:p>
          <a:p>
            <a:pPr marL="104775" indent="-104775"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HelvNeue for IBM Medium"/>
              </a:rPr>
              <a:t>How do I manage </a:t>
            </a:r>
            <a:r>
              <a:rPr lang="en-GB" sz="1000" i="1" dirty="0" smtClean="0">
                <a:solidFill>
                  <a:srgbClr val="000000"/>
                </a:solidFill>
                <a:latin typeface="HelvNeue for IBM Medium"/>
              </a:rPr>
              <a:t>my</a:t>
            </a:r>
            <a:r>
              <a:rPr lang="en-GB" sz="1000" dirty="0" smtClean="0">
                <a:solidFill>
                  <a:srgbClr val="000000"/>
                </a:solidFill>
                <a:latin typeface="HelvNeue for IBM Medium"/>
              </a:rPr>
              <a:t> employees? </a:t>
            </a:r>
          </a:p>
          <a:p>
            <a:pPr marL="104775" indent="-104775"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HelvNeue for IBM Medium"/>
              </a:rPr>
              <a:t>How do I manage </a:t>
            </a:r>
            <a:r>
              <a:rPr lang="en-GB" sz="1000" i="1" dirty="0" smtClean="0">
                <a:solidFill>
                  <a:srgbClr val="000000"/>
                </a:solidFill>
                <a:latin typeface="HelvNeue for IBM Medium"/>
              </a:rPr>
              <a:t>my</a:t>
            </a:r>
            <a:r>
              <a:rPr lang="en-GB" sz="1000" dirty="0" smtClean="0">
                <a:solidFill>
                  <a:srgbClr val="000000"/>
                </a:solidFill>
                <a:latin typeface="HelvNeue for IBM Medium"/>
              </a:rPr>
              <a:t> stores? My sites?</a:t>
            </a:r>
          </a:p>
          <a:p>
            <a:pPr marL="104775" indent="-104775"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HelvNeue for IBM Medium"/>
              </a:rPr>
              <a:t>How do I secure </a:t>
            </a:r>
            <a:r>
              <a:rPr lang="en-GB" sz="1000" i="1" dirty="0" smtClean="0">
                <a:solidFill>
                  <a:srgbClr val="000000"/>
                </a:solidFill>
                <a:latin typeface="HelvNeue for IBM Medium"/>
              </a:rPr>
              <a:t>my</a:t>
            </a:r>
            <a:r>
              <a:rPr lang="en-GB" sz="1000" dirty="0" smtClean="0">
                <a:solidFill>
                  <a:srgbClr val="000000"/>
                </a:solidFill>
                <a:latin typeface="HelvNeue for IBM Medium"/>
              </a:rPr>
              <a:t> enterprise?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857453" y="845631"/>
            <a:ext cx="282934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4775" indent="-104775"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HelvNeue for IBM Medium"/>
              </a:rPr>
              <a:t>How do I reassert relevance in B2B Markets?</a:t>
            </a:r>
          </a:p>
          <a:p>
            <a:pPr marL="104775" indent="-104775"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HelvNeue for IBM Medium"/>
              </a:rPr>
              <a:t>How do I find new things to sell?</a:t>
            </a:r>
          </a:p>
          <a:p>
            <a:pPr marL="104775" indent="-104775"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HelvNeue for IBM Medium"/>
              </a:rPr>
              <a:t>How do I partner to deliver value?</a:t>
            </a:r>
          </a:p>
          <a:p>
            <a:pPr marL="104775" indent="-104775"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HelvNeue for IBM Medium"/>
              </a:rPr>
              <a:t>How do I participate in the API economy?</a:t>
            </a:r>
          </a:p>
          <a:p>
            <a:pPr marL="104775" indent="-104775"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HelvNeue for IBM Medium"/>
              </a:rPr>
              <a:t>How do I make my offerings ‘cognitive’?</a:t>
            </a:r>
          </a:p>
        </p:txBody>
      </p:sp>
      <p:sp>
        <p:nvSpPr>
          <p:cNvPr id="2" name="Rectangle 1"/>
          <p:cNvSpPr/>
          <p:nvPr/>
        </p:nvSpPr>
        <p:spPr>
          <a:xfrm>
            <a:off x="446887" y="3931871"/>
            <a:ext cx="82399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spc="-52" dirty="0">
                <a:solidFill>
                  <a:srgbClr val="000000"/>
                </a:solidFill>
              </a:rPr>
              <a:t>The Watson IoT Platform helps </a:t>
            </a:r>
            <a:r>
              <a:rPr lang="en-US" sz="1200" spc="-52" dirty="0" smtClean="0">
                <a:solidFill>
                  <a:srgbClr val="000000"/>
                </a:solidFill>
              </a:rPr>
              <a:t>drive </a:t>
            </a:r>
            <a:r>
              <a:rPr lang="en-US" sz="1200" spc="-52" dirty="0">
                <a:solidFill>
                  <a:srgbClr val="000000"/>
                </a:solidFill>
              </a:rPr>
              <a:t>“Services Innovation” in particular, and the focus of most discussions with telecom service providers is in this domain. The others are important considerations, however, for our clients. </a:t>
            </a:r>
            <a:endParaRPr lang="en-US" sz="1200" spc="-52" dirty="0" smtClean="0">
              <a:solidFill>
                <a:srgbClr val="00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spc="-52" dirty="0" smtClean="0">
                <a:solidFill>
                  <a:srgbClr val="000000"/>
                </a:solidFill>
              </a:rPr>
              <a:t>There </a:t>
            </a:r>
            <a:r>
              <a:rPr lang="en-US" sz="1200" spc="-52" dirty="0">
                <a:solidFill>
                  <a:srgbClr val="000000"/>
                </a:solidFill>
              </a:rPr>
              <a:t>may also be Maximo / </a:t>
            </a:r>
            <a:r>
              <a:rPr lang="en-US" sz="1200" spc="-52" dirty="0" err="1" smtClean="0">
                <a:solidFill>
                  <a:srgbClr val="000000"/>
                </a:solidFill>
              </a:rPr>
              <a:t>Tririga</a:t>
            </a:r>
            <a:r>
              <a:rPr lang="en-US" sz="1200" spc="-52" dirty="0" smtClean="0">
                <a:solidFill>
                  <a:srgbClr val="000000"/>
                </a:solidFill>
              </a:rPr>
              <a:t> / PMQ opportunities </a:t>
            </a:r>
            <a:r>
              <a:rPr lang="en-US" sz="1200" spc="-52" dirty="0">
                <a:solidFill>
                  <a:srgbClr val="000000"/>
                </a:solidFill>
              </a:rPr>
              <a:t>in ‘Enterprise’.</a:t>
            </a:r>
            <a:endParaRPr lang="en-US" sz="1200" dirty="0">
              <a:solidFill>
                <a:srgbClr val="000000"/>
              </a:solidFill>
            </a:endParaRPr>
          </a:p>
        </p:txBody>
      </p:sp>
      <p:grpSp>
        <p:nvGrpSpPr>
          <p:cNvPr id="18438" name="Group 18437"/>
          <p:cNvGrpSpPr/>
          <p:nvPr/>
        </p:nvGrpSpPr>
        <p:grpSpPr>
          <a:xfrm>
            <a:off x="4972465" y="854621"/>
            <a:ext cx="580933" cy="355856"/>
            <a:chOff x="6312139" y="3301391"/>
            <a:chExt cx="580933" cy="355856"/>
          </a:xfrm>
        </p:grpSpPr>
        <p:pic>
          <p:nvPicPr>
            <p:cNvPr id="10" name="Picture 21"/>
            <p:cNvPicPr>
              <a:picLocks noChangeAspect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2139" y="3320713"/>
              <a:ext cx="303925" cy="3365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37216" y="3301391"/>
              <a:ext cx="355856" cy="35585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6440577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600" y="239817"/>
            <a:ext cx="8229600" cy="403466"/>
          </a:xfrm>
        </p:spPr>
        <p:txBody>
          <a:bodyPr/>
          <a:lstStyle/>
          <a:p>
            <a:r>
              <a:rPr lang="en-US" sz="2400" dirty="0" smtClean="0"/>
              <a:t>IoT for Insurance </a:t>
            </a:r>
            <a:endParaRPr lang="en-US" sz="2400" dirty="0"/>
          </a:p>
        </p:txBody>
      </p:sp>
      <p:sp>
        <p:nvSpPr>
          <p:cNvPr id="3" name="TextBox 2"/>
          <p:cNvSpPr txBox="1"/>
          <p:nvPr/>
        </p:nvSpPr>
        <p:spPr>
          <a:xfrm>
            <a:off x="6508825" y="1651764"/>
            <a:ext cx="2260706" cy="1754320"/>
          </a:xfrm>
          <a:prstGeom prst="rect">
            <a:avLst/>
          </a:prstGeom>
          <a:noFill/>
        </p:spPr>
        <p:txBody>
          <a:bodyPr wrap="square" lIns="121914" tIns="60957" rIns="121914" bIns="60957">
            <a:spAutoFit/>
          </a:bodyPr>
          <a:lstStyle/>
          <a:p>
            <a:pPr defTabSz="82291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u="sng" dirty="0" smtClean="0">
                <a:solidFill>
                  <a:schemeClr val="accent2">
                    <a:lumMod val="50000"/>
                  </a:schemeClr>
                </a:solidFill>
                <a:latin typeface="HelvNeue for IBM Medium"/>
                <a:ea typeface="ＭＳ Ｐゴシック" charset="0"/>
                <a:cs typeface="Arial" panose="020B0604020202020204" pitchFamily="34" charset="0"/>
              </a:rPr>
              <a:t>Water Leak Detection</a:t>
            </a:r>
          </a:p>
          <a:p>
            <a:pPr marL="112713" indent="-112713" defTabSz="822918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chemeClr val="accent2">
                    <a:lumMod val="50000"/>
                  </a:schemeClr>
                </a:solidFill>
                <a:latin typeface="HelvNeue for IBM Medium"/>
                <a:ea typeface="ＭＳ Ｐゴシック" charset="0"/>
                <a:cs typeface="Arial" panose="020B0604020202020204" pitchFamily="34" charset="0"/>
              </a:rPr>
              <a:t>Reduced claims</a:t>
            </a:r>
          </a:p>
          <a:p>
            <a:pPr marL="112713" indent="-112713" defTabSz="822918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chemeClr val="accent2">
                    <a:lumMod val="50000"/>
                  </a:schemeClr>
                </a:solidFill>
                <a:latin typeface="HelvNeue for IBM Medium"/>
                <a:ea typeface="ＭＳ Ｐゴシック" charset="0"/>
                <a:cs typeface="Arial" panose="020B0604020202020204" pitchFamily="34" charset="0"/>
              </a:rPr>
              <a:t>Real time notifications</a:t>
            </a:r>
          </a:p>
          <a:p>
            <a:pPr marL="112713" indent="-112713" defTabSz="822918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chemeClr val="accent2">
                    <a:lumMod val="50000"/>
                  </a:schemeClr>
                </a:solidFill>
                <a:latin typeface="HelvNeue for IBM Medium"/>
                <a:ea typeface="ＭＳ Ｐゴシック" charset="0"/>
                <a:cs typeface="Arial" panose="020B0604020202020204" pitchFamily="34" charset="0"/>
              </a:rPr>
              <a:t>Personalized risk assessment</a:t>
            </a:r>
          </a:p>
          <a:p>
            <a:pPr marL="112713" indent="-112713" defTabSz="822918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chemeClr val="accent2">
                    <a:lumMod val="50000"/>
                  </a:schemeClr>
                </a:solidFill>
                <a:latin typeface="HelvNeue for IBM Medium"/>
                <a:ea typeface="ＭＳ Ｐゴシック" charset="0"/>
                <a:cs typeface="Arial" panose="020B0604020202020204" pitchFamily="34" charset="0"/>
              </a:rPr>
              <a:t>Satisfied customer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177" y="1463523"/>
            <a:ext cx="5003775" cy="2732887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497932" y="2138793"/>
            <a:ext cx="809066" cy="32089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0F1F28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Well being</a:t>
            </a:r>
          </a:p>
          <a:p>
            <a:r>
              <a:rPr lang="en-US" sz="900" dirty="0">
                <a:solidFill>
                  <a:srgbClr val="0F1F28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Asset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047311" y="1923672"/>
            <a:ext cx="1692678" cy="25914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F1F28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Protected You (Consumer)</a:t>
            </a:r>
          </a:p>
        </p:txBody>
      </p:sp>
      <p:sp>
        <p:nvSpPr>
          <p:cNvPr id="18" name="TextBox 15"/>
          <p:cNvSpPr txBox="1">
            <a:spLocks noChangeArrowheads="1"/>
          </p:cNvSpPr>
          <p:nvPr/>
        </p:nvSpPr>
        <p:spPr bwMode="auto">
          <a:xfrm>
            <a:off x="294640" y="4338299"/>
            <a:ext cx="5897154" cy="369320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defPPr>
              <a:defRPr lang="en-US"/>
            </a:defPPr>
            <a:lvl1pPr algn="ctr" defTabSz="455613">
              <a:defRPr sz="1800">
                <a:solidFill>
                  <a:schemeClr val="accent2">
                    <a:lumMod val="75000"/>
                  </a:schemeClr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>
              <a:defRPr sz="2400">
                <a:latin typeface="Arial" charset="0"/>
                <a:ea typeface="ＭＳ Ｐゴシック" charset="0"/>
              </a:defRPr>
            </a:lvl2pPr>
            <a:lvl3pPr marL="1143000" indent="-228600" defTabSz="455613">
              <a:defRPr sz="2400">
                <a:latin typeface="Arial" charset="0"/>
                <a:ea typeface="ＭＳ Ｐゴシック" charset="0"/>
              </a:defRPr>
            </a:lvl3pPr>
            <a:lvl4pPr marL="1600200" indent="-228600" defTabSz="455613">
              <a:defRPr sz="2400">
                <a:latin typeface="Arial" charset="0"/>
                <a:ea typeface="ＭＳ Ｐゴシック" charset="0"/>
              </a:defRPr>
            </a:lvl4pPr>
            <a:lvl5pPr marL="2057400" indent="-228600" defTabSz="455613">
              <a:defRPr sz="2400"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9pPr>
          </a:lstStyle>
          <a:p>
            <a:r>
              <a:rPr lang="en-US" dirty="0" smtClean="0">
                <a:latin typeface="HelvNeue for IBM Medium"/>
              </a:rPr>
              <a:t>Full 360</a:t>
            </a:r>
            <a:r>
              <a:rPr lang="en-US" baseline="30000" dirty="0" smtClean="0">
                <a:latin typeface="HelvNeue for IBM Medium"/>
              </a:rPr>
              <a:t>o</a:t>
            </a:r>
            <a:r>
              <a:rPr lang="en-US" dirty="0" smtClean="0">
                <a:latin typeface="HelvNeue for IBM Medium"/>
              </a:rPr>
              <a:t> view of policy holder for the Connected </a:t>
            </a:r>
            <a:r>
              <a:rPr lang="en-US" dirty="0">
                <a:latin typeface="HelvNeue for IBM Medium"/>
              </a:rPr>
              <a:t>Insurer</a:t>
            </a:r>
          </a:p>
        </p:txBody>
      </p:sp>
      <p:sp>
        <p:nvSpPr>
          <p:cNvPr id="5" name="TextBox 15"/>
          <p:cNvSpPr txBox="1">
            <a:spLocks noChangeArrowheads="1"/>
          </p:cNvSpPr>
          <p:nvPr/>
        </p:nvSpPr>
        <p:spPr bwMode="auto">
          <a:xfrm>
            <a:off x="473424" y="866169"/>
            <a:ext cx="5491946" cy="369320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r>
              <a:rPr lang="en-US" sz="1800" dirty="0">
                <a:solidFill>
                  <a:schemeClr val="accent2">
                    <a:lumMod val="75000"/>
                  </a:schemeClr>
                </a:solidFill>
                <a:latin typeface="HelvNeue for IBM Medium"/>
              </a:rPr>
              <a:t>Proactive </a:t>
            </a:r>
            <a:r>
              <a:rPr lang="en-US" sz="1800" dirty="0" smtClean="0">
                <a:solidFill>
                  <a:schemeClr val="accent2">
                    <a:lumMod val="75000"/>
                  </a:schemeClr>
                </a:solidFill>
                <a:latin typeface="HelvNeue for IBM Medium"/>
              </a:rPr>
              <a:t>Protection for the Connected Consumer</a:t>
            </a:r>
            <a:endParaRPr lang="en-US" sz="1800" dirty="0">
              <a:solidFill>
                <a:schemeClr val="accent2">
                  <a:lumMod val="75000"/>
                </a:schemeClr>
              </a:solidFill>
              <a:latin typeface="HelvNeue for IBM Medium"/>
            </a:endParaRPr>
          </a:p>
        </p:txBody>
      </p:sp>
      <p:cxnSp>
        <p:nvCxnSpPr>
          <p:cNvPr id="19" name="Straight Connector 18"/>
          <p:cNvCxnSpPr>
            <a:cxnSpLocks noChangeShapeType="1"/>
          </p:cNvCxnSpPr>
          <p:nvPr/>
        </p:nvCxnSpPr>
        <p:spPr bwMode="auto">
          <a:xfrm flipH="1" flipV="1">
            <a:off x="5522106" y="1517072"/>
            <a:ext cx="443264" cy="10896"/>
          </a:xfrm>
          <a:prstGeom prst="line">
            <a:avLst/>
          </a:prstGeom>
          <a:noFill/>
          <a:ln w="12700" cmpd="sng">
            <a:solidFill>
              <a:schemeClr val="accent2">
                <a:lumMod val="7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" name="Straight Connector 39"/>
          <p:cNvCxnSpPr>
            <a:cxnSpLocks noChangeShapeType="1"/>
          </p:cNvCxnSpPr>
          <p:nvPr/>
        </p:nvCxnSpPr>
        <p:spPr bwMode="auto">
          <a:xfrm flipV="1">
            <a:off x="5980756" y="1510744"/>
            <a:ext cx="0" cy="487029"/>
          </a:xfrm>
          <a:prstGeom prst="line">
            <a:avLst/>
          </a:prstGeom>
          <a:noFill/>
          <a:ln w="12700" cmpd="sng">
            <a:solidFill>
              <a:schemeClr val="accent2">
                <a:lumMod val="7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3" name="Straight Connector 22"/>
          <p:cNvCxnSpPr>
            <a:cxnSpLocks noChangeShapeType="1"/>
          </p:cNvCxnSpPr>
          <p:nvPr/>
        </p:nvCxnSpPr>
        <p:spPr bwMode="auto">
          <a:xfrm flipH="1" flipV="1">
            <a:off x="5970162" y="1982561"/>
            <a:ext cx="443264" cy="10896"/>
          </a:xfrm>
          <a:prstGeom prst="line">
            <a:avLst/>
          </a:prstGeom>
          <a:noFill/>
          <a:ln w="12700" cmpd="sng">
            <a:solidFill>
              <a:schemeClr val="accent2">
                <a:lumMod val="7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" name="Straight Connector 39"/>
          <p:cNvCxnSpPr>
            <a:cxnSpLocks noChangeShapeType="1"/>
          </p:cNvCxnSpPr>
          <p:nvPr/>
        </p:nvCxnSpPr>
        <p:spPr bwMode="auto">
          <a:xfrm flipV="1">
            <a:off x="6413426" y="1758815"/>
            <a:ext cx="5080" cy="515936"/>
          </a:xfrm>
          <a:prstGeom prst="line">
            <a:avLst/>
          </a:prstGeom>
          <a:noFill/>
          <a:ln w="12700" cmpd="sng">
            <a:solidFill>
              <a:schemeClr val="accent2">
                <a:lumMod val="7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76423394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521" name="Picture 2" descr="LoR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3813" y="2461454"/>
            <a:ext cx="2236098" cy="64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7522" name="Picture 4" descr="IIC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1706" y="1387047"/>
            <a:ext cx="2193248" cy="9744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7523" name="Picture 6" descr="Open Interconnect Consortium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516" y="1312458"/>
            <a:ext cx="2229750" cy="790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7524" name="Picture 8" descr="AllSeen Allianc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2375" y="3477140"/>
            <a:ext cx="2542390" cy="845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7525" name="Picture 10" descr="MQTT 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9488" y="1431484"/>
            <a:ext cx="1737777" cy="455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7526" name="Picture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3054" y="3688211"/>
            <a:ext cx="1994872" cy="5602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7527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2882" y="2594762"/>
            <a:ext cx="2132942" cy="7554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7528" name="Picture 12" descr="http://spark.apache.org/images/spark-logo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517" y="3174020"/>
            <a:ext cx="1139473" cy="60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306117" y="211073"/>
            <a:ext cx="7366901" cy="522126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799" dirty="0">
                <a:solidFill>
                  <a:srgbClr val="339C96"/>
                </a:solidFill>
                <a:ea typeface="Calibri" panose="020F0502020204030204" pitchFamily="34" charset="0"/>
                <a:cs typeface="Cambria" panose="02040503050406030204" pitchFamily="18" charset="0"/>
              </a:rPr>
              <a:t>IBM is a </a:t>
            </a:r>
            <a:r>
              <a:rPr lang="en-US" sz="2799" dirty="0">
                <a:solidFill>
                  <a:schemeClr val="accent2"/>
                </a:solidFill>
                <a:ea typeface="Calibri" panose="020F0502020204030204" pitchFamily="34" charset="0"/>
                <a:cs typeface="Cambria" panose="02040503050406030204" pitchFamily="18" charset="0"/>
              </a:rPr>
              <a:t>leader </a:t>
            </a:r>
            <a:r>
              <a:rPr lang="en-US" sz="2799" dirty="0">
                <a:solidFill>
                  <a:srgbClr val="339C96"/>
                </a:solidFill>
                <a:ea typeface="Calibri" panose="020F0502020204030204" pitchFamily="34" charset="0"/>
                <a:cs typeface="Cambria" panose="02040503050406030204" pitchFamily="18" charset="0"/>
              </a:rPr>
              <a:t>in defining IoT</a:t>
            </a:r>
            <a:endParaRPr lang="en-US" sz="2799" dirty="0">
              <a:solidFill>
                <a:srgbClr val="339C96"/>
              </a:solidFill>
            </a:endParaRPr>
          </a:p>
        </p:txBody>
      </p:sp>
      <p:sp>
        <p:nvSpPr>
          <p:cNvPr id="31756" name="Text Box 2"/>
          <p:cNvSpPr txBox="1">
            <a:spLocks noChangeArrowheads="1"/>
          </p:cNvSpPr>
          <p:nvPr/>
        </p:nvSpPr>
        <p:spPr bwMode="auto">
          <a:xfrm>
            <a:off x="315639" y="644326"/>
            <a:ext cx="6532134" cy="7014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64420" tIns="32030" rIns="64420" bIns="32030"/>
          <a:lstStyle>
            <a:lvl1pPr>
              <a:tabLst>
                <a:tab pos="0" algn="l"/>
                <a:tab pos="293688" algn="l"/>
                <a:tab pos="612775" algn="l"/>
                <a:tab pos="931863" algn="l"/>
                <a:tab pos="1250950" algn="l"/>
                <a:tab pos="1570038" algn="l"/>
                <a:tab pos="1889125" algn="l"/>
                <a:tab pos="2208213" algn="l"/>
                <a:tab pos="2527300" algn="l"/>
                <a:tab pos="2846388" algn="l"/>
                <a:tab pos="3165475" algn="l"/>
                <a:tab pos="3484563" algn="l"/>
                <a:tab pos="3803650" algn="l"/>
                <a:tab pos="4122738" algn="l"/>
                <a:tab pos="4441825" algn="l"/>
                <a:tab pos="4760913" algn="l"/>
                <a:tab pos="5080000" algn="l"/>
                <a:tab pos="5399088" algn="l"/>
                <a:tab pos="5718175" algn="l"/>
                <a:tab pos="6037263" algn="l"/>
                <a:tab pos="6356350" algn="l"/>
              </a:tabLs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1pPr>
            <a:lvl2pPr>
              <a:tabLst>
                <a:tab pos="0" algn="l"/>
                <a:tab pos="293688" algn="l"/>
                <a:tab pos="612775" algn="l"/>
                <a:tab pos="931863" algn="l"/>
                <a:tab pos="1250950" algn="l"/>
                <a:tab pos="1570038" algn="l"/>
                <a:tab pos="1889125" algn="l"/>
                <a:tab pos="2208213" algn="l"/>
                <a:tab pos="2527300" algn="l"/>
                <a:tab pos="2846388" algn="l"/>
                <a:tab pos="3165475" algn="l"/>
                <a:tab pos="3484563" algn="l"/>
                <a:tab pos="3803650" algn="l"/>
                <a:tab pos="4122738" algn="l"/>
                <a:tab pos="4441825" algn="l"/>
                <a:tab pos="4760913" algn="l"/>
                <a:tab pos="5080000" algn="l"/>
                <a:tab pos="5399088" algn="l"/>
                <a:tab pos="5718175" algn="l"/>
                <a:tab pos="6037263" algn="l"/>
                <a:tab pos="6356350" algn="l"/>
              </a:tabLs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2pPr>
            <a:lvl3pPr>
              <a:tabLst>
                <a:tab pos="0" algn="l"/>
                <a:tab pos="293688" algn="l"/>
                <a:tab pos="612775" algn="l"/>
                <a:tab pos="931863" algn="l"/>
                <a:tab pos="1250950" algn="l"/>
                <a:tab pos="1570038" algn="l"/>
                <a:tab pos="1889125" algn="l"/>
                <a:tab pos="2208213" algn="l"/>
                <a:tab pos="2527300" algn="l"/>
                <a:tab pos="2846388" algn="l"/>
                <a:tab pos="3165475" algn="l"/>
                <a:tab pos="3484563" algn="l"/>
                <a:tab pos="3803650" algn="l"/>
                <a:tab pos="4122738" algn="l"/>
                <a:tab pos="4441825" algn="l"/>
                <a:tab pos="4760913" algn="l"/>
                <a:tab pos="5080000" algn="l"/>
                <a:tab pos="5399088" algn="l"/>
                <a:tab pos="5718175" algn="l"/>
                <a:tab pos="6037263" algn="l"/>
                <a:tab pos="6356350" algn="l"/>
              </a:tabLs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3pPr>
            <a:lvl4pPr>
              <a:tabLst>
                <a:tab pos="0" algn="l"/>
                <a:tab pos="293688" algn="l"/>
                <a:tab pos="612775" algn="l"/>
                <a:tab pos="931863" algn="l"/>
                <a:tab pos="1250950" algn="l"/>
                <a:tab pos="1570038" algn="l"/>
                <a:tab pos="1889125" algn="l"/>
                <a:tab pos="2208213" algn="l"/>
                <a:tab pos="2527300" algn="l"/>
                <a:tab pos="2846388" algn="l"/>
                <a:tab pos="3165475" algn="l"/>
                <a:tab pos="3484563" algn="l"/>
                <a:tab pos="3803650" algn="l"/>
                <a:tab pos="4122738" algn="l"/>
                <a:tab pos="4441825" algn="l"/>
                <a:tab pos="4760913" algn="l"/>
                <a:tab pos="5080000" algn="l"/>
                <a:tab pos="5399088" algn="l"/>
                <a:tab pos="5718175" algn="l"/>
                <a:tab pos="6037263" algn="l"/>
                <a:tab pos="6356350" algn="l"/>
              </a:tabLs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4pPr>
            <a:lvl5pPr>
              <a:tabLst>
                <a:tab pos="0" algn="l"/>
                <a:tab pos="293688" algn="l"/>
                <a:tab pos="612775" algn="l"/>
                <a:tab pos="931863" algn="l"/>
                <a:tab pos="1250950" algn="l"/>
                <a:tab pos="1570038" algn="l"/>
                <a:tab pos="1889125" algn="l"/>
                <a:tab pos="2208213" algn="l"/>
                <a:tab pos="2527300" algn="l"/>
                <a:tab pos="2846388" algn="l"/>
                <a:tab pos="3165475" algn="l"/>
                <a:tab pos="3484563" algn="l"/>
                <a:tab pos="3803650" algn="l"/>
                <a:tab pos="4122738" algn="l"/>
                <a:tab pos="4441825" algn="l"/>
                <a:tab pos="4760913" algn="l"/>
                <a:tab pos="5080000" algn="l"/>
                <a:tab pos="5399088" algn="l"/>
                <a:tab pos="5718175" algn="l"/>
                <a:tab pos="6037263" algn="l"/>
                <a:tab pos="6356350" algn="l"/>
              </a:tabLs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293688" algn="l"/>
                <a:tab pos="612775" algn="l"/>
                <a:tab pos="931863" algn="l"/>
                <a:tab pos="1250950" algn="l"/>
                <a:tab pos="1570038" algn="l"/>
                <a:tab pos="1889125" algn="l"/>
                <a:tab pos="2208213" algn="l"/>
                <a:tab pos="2527300" algn="l"/>
                <a:tab pos="2846388" algn="l"/>
                <a:tab pos="3165475" algn="l"/>
                <a:tab pos="3484563" algn="l"/>
                <a:tab pos="3803650" algn="l"/>
                <a:tab pos="4122738" algn="l"/>
                <a:tab pos="4441825" algn="l"/>
                <a:tab pos="4760913" algn="l"/>
                <a:tab pos="5080000" algn="l"/>
                <a:tab pos="5399088" algn="l"/>
                <a:tab pos="5718175" algn="l"/>
                <a:tab pos="6037263" algn="l"/>
                <a:tab pos="6356350" algn="l"/>
              </a:tabLs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293688" algn="l"/>
                <a:tab pos="612775" algn="l"/>
                <a:tab pos="931863" algn="l"/>
                <a:tab pos="1250950" algn="l"/>
                <a:tab pos="1570038" algn="l"/>
                <a:tab pos="1889125" algn="l"/>
                <a:tab pos="2208213" algn="l"/>
                <a:tab pos="2527300" algn="l"/>
                <a:tab pos="2846388" algn="l"/>
                <a:tab pos="3165475" algn="l"/>
                <a:tab pos="3484563" algn="l"/>
                <a:tab pos="3803650" algn="l"/>
                <a:tab pos="4122738" algn="l"/>
                <a:tab pos="4441825" algn="l"/>
                <a:tab pos="4760913" algn="l"/>
                <a:tab pos="5080000" algn="l"/>
                <a:tab pos="5399088" algn="l"/>
                <a:tab pos="5718175" algn="l"/>
                <a:tab pos="6037263" algn="l"/>
                <a:tab pos="6356350" algn="l"/>
              </a:tabLs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293688" algn="l"/>
                <a:tab pos="612775" algn="l"/>
                <a:tab pos="931863" algn="l"/>
                <a:tab pos="1250950" algn="l"/>
                <a:tab pos="1570038" algn="l"/>
                <a:tab pos="1889125" algn="l"/>
                <a:tab pos="2208213" algn="l"/>
                <a:tab pos="2527300" algn="l"/>
                <a:tab pos="2846388" algn="l"/>
                <a:tab pos="3165475" algn="l"/>
                <a:tab pos="3484563" algn="l"/>
                <a:tab pos="3803650" algn="l"/>
                <a:tab pos="4122738" algn="l"/>
                <a:tab pos="4441825" algn="l"/>
                <a:tab pos="4760913" algn="l"/>
                <a:tab pos="5080000" algn="l"/>
                <a:tab pos="5399088" algn="l"/>
                <a:tab pos="5718175" algn="l"/>
                <a:tab pos="6037263" algn="l"/>
                <a:tab pos="6356350" algn="l"/>
              </a:tabLs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293688" algn="l"/>
                <a:tab pos="612775" algn="l"/>
                <a:tab pos="931863" algn="l"/>
                <a:tab pos="1250950" algn="l"/>
                <a:tab pos="1570038" algn="l"/>
                <a:tab pos="1889125" algn="l"/>
                <a:tab pos="2208213" algn="l"/>
                <a:tab pos="2527300" algn="l"/>
                <a:tab pos="2846388" algn="l"/>
                <a:tab pos="3165475" algn="l"/>
                <a:tab pos="3484563" algn="l"/>
                <a:tab pos="3803650" algn="l"/>
                <a:tab pos="4122738" algn="l"/>
                <a:tab pos="4441825" algn="l"/>
                <a:tab pos="4760913" algn="l"/>
                <a:tab pos="5080000" algn="l"/>
                <a:tab pos="5399088" algn="l"/>
                <a:tab pos="5718175" algn="l"/>
                <a:tab pos="6037263" algn="l"/>
                <a:tab pos="6356350" algn="l"/>
              </a:tabLst>
              <a:defRPr sz="3000">
                <a:solidFill>
                  <a:srgbClr val="000000"/>
                </a:solidFill>
                <a:latin typeface="Gill Sans" charset="0"/>
                <a:ea typeface="MS PGothic" charset="0"/>
                <a:cs typeface="MS PGothic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/>
            </a:pPr>
            <a:r>
              <a:rPr lang="en-US" sz="1400" b="1">
                <a:solidFill>
                  <a:srgbClr val="6D6F71"/>
                </a:solidFill>
                <a:latin typeface="HelvNeue for IBM" charset="0"/>
              </a:rPr>
              <a:t>Participating member in key open standards and industry initiatives</a:t>
            </a:r>
          </a:p>
        </p:txBody>
      </p:sp>
      <p:sp>
        <p:nvSpPr>
          <p:cNvPr id="107531" name="Slide Number Placeholder 2"/>
          <p:cNvSpPr>
            <a:spLocks noGrp="1"/>
          </p:cNvSpPr>
          <p:nvPr>
            <p:ph type="sldNum" idx="4294967295"/>
          </p:nvPr>
        </p:nvSpPr>
        <p:spPr>
          <a:xfrm>
            <a:off x="8266114" y="4619787"/>
            <a:ext cx="454025" cy="271378"/>
          </a:xfrm>
          <a:prstGeom prst="rect">
            <a:avLst/>
          </a:prstGeom>
          <a:noFill/>
        </p:spPr>
        <p:txBody>
          <a:bodyPr/>
          <a:lstStyle>
            <a:lvl1pPr>
              <a:tabLst>
                <a:tab pos="0" algn="l"/>
                <a:tab pos="914126" algn="l"/>
                <a:tab pos="1828251" algn="l"/>
                <a:tab pos="2742377" algn="l"/>
                <a:tab pos="3656503" algn="l"/>
                <a:tab pos="4570628" algn="l"/>
                <a:tab pos="5484754" algn="l"/>
                <a:tab pos="6398880" algn="l"/>
                <a:tab pos="7313005" algn="l"/>
                <a:tab pos="8227131" algn="l"/>
                <a:tab pos="9141257" algn="l"/>
                <a:tab pos="10055382" algn="l"/>
              </a:tabLst>
              <a:defRPr sz="2999">
                <a:solidFill>
                  <a:srgbClr val="000000"/>
                </a:solidFill>
                <a:latin typeface="Gill Sans"/>
                <a:ea typeface="MS PGothic" panose="020B0600070205080204" pitchFamily="34" charset="-128"/>
              </a:defRPr>
            </a:lvl1pPr>
            <a:lvl2pPr>
              <a:tabLst>
                <a:tab pos="0" algn="l"/>
                <a:tab pos="914126" algn="l"/>
                <a:tab pos="1828251" algn="l"/>
                <a:tab pos="2742377" algn="l"/>
                <a:tab pos="3656503" algn="l"/>
                <a:tab pos="4570628" algn="l"/>
                <a:tab pos="5484754" algn="l"/>
                <a:tab pos="6398880" algn="l"/>
                <a:tab pos="7313005" algn="l"/>
                <a:tab pos="8227131" algn="l"/>
                <a:tab pos="9141257" algn="l"/>
                <a:tab pos="10055382" algn="l"/>
              </a:tabLst>
              <a:defRPr sz="2999">
                <a:solidFill>
                  <a:srgbClr val="000000"/>
                </a:solidFill>
                <a:latin typeface="Gill Sans"/>
                <a:ea typeface="MS PGothic" panose="020B0600070205080204" pitchFamily="34" charset="-128"/>
              </a:defRPr>
            </a:lvl2pPr>
            <a:lvl3pPr>
              <a:tabLst>
                <a:tab pos="0" algn="l"/>
                <a:tab pos="914126" algn="l"/>
                <a:tab pos="1828251" algn="l"/>
                <a:tab pos="2742377" algn="l"/>
                <a:tab pos="3656503" algn="l"/>
                <a:tab pos="4570628" algn="l"/>
                <a:tab pos="5484754" algn="l"/>
                <a:tab pos="6398880" algn="l"/>
                <a:tab pos="7313005" algn="l"/>
                <a:tab pos="8227131" algn="l"/>
                <a:tab pos="9141257" algn="l"/>
                <a:tab pos="10055382" algn="l"/>
              </a:tabLst>
              <a:defRPr sz="2999">
                <a:solidFill>
                  <a:srgbClr val="000000"/>
                </a:solidFill>
                <a:latin typeface="Gill Sans"/>
                <a:ea typeface="MS PGothic" panose="020B0600070205080204" pitchFamily="34" charset="-128"/>
              </a:defRPr>
            </a:lvl3pPr>
            <a:lvl4pPr>
              <a:tabLst>
                <a:tab pos="0" algn="l"/>
                <a:tab pos="914126" algn="l"/>
                <a:tab pos="1828251" algn="l"/>
                <a:tab pos="2742377" algn="l"/>
                <a:tab pos="3656503" algn="l"/>
                <a:tab pos="4570628" algn="l"/>
                <a:tab pos="5484754" algn="l"/>
                <a:tab pos="6398880" algn="l"/>
                <a:tab pos="7313005" algn="l"/>
                <a:tab pos="8227131" algn="l"/>
                <a:tab pos="9141257" algn="l"/>
                <a:tab pos="10055382" algn="l"/>
              </a:tabLst>
              <a:defRPr sz="2999">
                <a:solidFill>
                  <a:srgbClr val="000000"/>
                </a:solidFill>
                <a:latin typeface="Gill Sans"/>
                <a:ea typeface="MS PGothic" panose="020B0600070205080204" pitchFamily="34" charset="-128"/>
              </a:defRPr>
            </a:lvl4pPr>
            <a:lvl5pPr>
              <a:tabLst>
                <a:tab pos="0" algn="l"/>
                <a:tab pos="914126" algn="l"/>
                <a:tab pos="1828251" algn="l"/>
                <a:tab pos="2742377" algn="l"/>
                <a:tab pos="3656503" algn="l"/>
                <a:tab pos="4570628" algn="l"/>
                <a:tab pos="5484754" algn="l"/>
                <a:tab pos="6398880" algn="l"/>
                <a:tab pos="7313005" algn="l"/>
                <a:tab pos="8227131" algn="l"/>
                <a:tab pos="9141257" algn="l"/>
                <a:tab pos="10055382" algn="l"/>
              </a:tabLst>
              <a:defRPr sz="2999">
                <a:solidFill>
                  <a:srgbClr val="000000"/>
                </a:solidFill>
                <a:latin typeface="Gill Sans"/>
                <a:ea typeface="MS PGothic" panose="020B0600070205080204" pitchFamily="34" charset="-128"/>
              </a:defRPr>
            </a:lvl5pPr>
            <a:lvl6pPr marL="2513846" indent="-228531" defTabSz="4570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126" algn="l"/>
                <a:tab pos="1828251" algn="l"/>
                <a:tab pos="2742377" algn="l"/>
                <a:tab pos="3656503" algn="l"/>
                <a:tab pos="4570628" algn="l"/>
                <a:tab pos="5484754" algn="l"/>
                <a:tab pos="6398880" algn="l"/>
                <a:tab pos="7313005" algn="l"/>
                <a:tab pos="8227131" algn="l"/>
                <a:tab pos="9141257" algn="l"/>
                <a:tab pos="10055382" algn="l"/>
              </a:tabLst>
              <a:defRPr sz="2999">
                <a:solidFill>
                  <a:srgbClr val="000000"/>
                </a:solidFill>
                <a:latin typeface="Gill Sans"/>
                <a:ea typeface="MS PGothic" panose="020B0600070205080204" pitchFamily="34" charset="-128"/>
              </a:defRPr>
            </a:lvl6pPr>
            <a:lvl7pPr marL="2970908" indent="-228531" defTabSz="4570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126" algn="l"/>
                <a:tab pos="1828251" algn="l"/>
                <a:tab pos="2742377" algn="l"/>
                <a:tab pos="3656503" algn="l"/>
                <a:tab pos="4570628" algn="l"/>
                <a:tab pos="5484754" algn="l"/>
                <a:tab pos="6398880" algn="l"/>
                <a:tab pos="7313005" algn="l"/>
                <a:tab pos="8227131" algn="l"/>
                <a:tab pos="9141257" algn="l"/>
                <a:tab pos="10055382" algn="l"/>
              </a:tabLst>
              <a:defRPr sz="2999">
                <a:solidFill>
                  <a:srgbClr val="000000"/>
                </a:solidFill>
                <a:latin typeface="Gill Sans"/>
                <a:ea typeface="MS PGothic" panose="020B0600070205080204" pitchFamily="34" charset="-128"/>
              </a:defRPr>
            </a:lvl7pPr>
            <a:lvl8pPr marL="3427971" indent="-228531" defTabSz="4570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126" algn="l"/>
                <a:tab pos="1828251" algn="l"/>
                <a:tab pos="2742377" algn="l"/>
                <a:tab pos="3656503" algn="l"/>
                <a:tab pos="4570628" algn="l"/>
                <a:tab pos="5484754" algn="l"/>
                <a:tab pos="6398880" algn="l"/>
                <a:tab pos="7313005" algn="l"/>
                <a:tab pos="8227131" algn="l"/>
                <a:tab pos="9141257" algn="l"/>
                <a:tab pos="10055382" algn="l"/>
              </a:tabLst>
              <a:defRPr sz="2999">
                <a:solidFill>
                  <a:srgbClr val="000000"/>
                </a:solidFill>
                <a:latin typeface="Gill Sans"/>
                <a:ea typeface="MS PGothic" panose="020B0600070205080204" pitchFamily="34" charset="-128"/>
              </a:defRPr>
            </a:lvl8pPr>
            <a:lvl9pPr marL="3885034" indent="-228531" defTabSz="4570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126" algn="l"/>
                <a:tab pos="1828251" algn="l"/>
                <a:tab pos="2742377" algn="l"/>
                <a:tab pos="3656503" algn="l"/>
                <a:tab pos="4570628" algn="l"/>
                <a:tab pos="5484754" algn="l"/>
                <a:tab pos="6398880" algn="l"/>
                <a:tab pos="7313005" algn="l"/>
                <a:tab pos="8227131" algn="l"/>
                <a:tab pos="9141257" algn="l"/>
                <a:tab pos="10055382" algn="l"/>
              </a:tabLst>
              <a:defRPr sz="2999">
                <a:solidFill>
                  <a:srgbClr val="000000"/>
                </a:solidFill>
                <a:latin typeface="Gill Sans"/>
                <a:ea typeface="MS PGothic" panose="020B0600070205080204" pitchFamily="34" charset="-128"/>
              </a:defRPr>
            </a:lvl9pPr>
          </a:lstStyle>
          <a:p>
            <a:fld id="{40BAAE67-73EB-4F7B-8602-12FA5AA0F715}" type="slidenum">
              <a:rPr lang="en-US" altLang="en-US" sz="1000">
                <a:solidFill>
                  <a:srgbClr val="D2D3D5"/>
                </a:solidFill>
                <a:latin typeface="Lubalin for IBM Demi" charset="0"/>
                <a:ea typeface="ヒラギノ角ゴ ProN W3"/>
                <a:cs typeface="SimSun" panose="02010600030101010101" pitchFamily="2" charset="-122"/>
              </a:rPr>
              <a:pPr/>
              <a:t>33</a:t>
            </a:fld>
            <a:endParaRPr lang="en-US" altLang="en-US" sz="1000">
              <a:solidFill>
                <a:srgbClr val="D2D3D5"/>
              </a:solidFill>
              <a:latin typeface="Lubalin for IBM Demi" charset="0"/>
              <a:ea typeface="ヒラギノ角ゴ ProN W3"/>
              <a:cs typeface="SimSun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93793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250640248"/>
              </p:ext>
            </p:extLst>
          </p:nvPr>
        </p:nvGraphicFramePr>
        <p:xfrm>
          <a:off x="1171435" y="1018663"/>
          <a:ext cx="3641691" cy="34290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457200" y="1018663"/>
            <a:ext cx="600164" cy="3429000"/>
          </a:xfrm>
          <a:prstGeom prst="rect">
            <a:avLst/>
          </a:prstGeom>
          <a:noFill/>
        </p:spPr>
        <p:txBody>
          <a:bodyPr vert="vert270" wrap="square" rtlCol="0" anchor="ctr">
            <a:spAutoFit/>
          </a:bodyPr>
          <a:lstStyle/>
          <a:p>
            <a:pPr algn="ctr"/>
            <a:r>
              <a:rPr lang="en-US" sz="1350" b="1" dirty="0">
                <a:solidFill>
                  <a:srgbClr val="00B050"/>
                </a:solidFill>
                <a:latin typeface="HelvNeue for IBM Medium"/>
              </a:rPr>
              <a:t>IBM’s comprehensive IoT Portfolio to accelerate your transformation </a:t>
            </a:r>
            <a:endParaRPr lang="en-US" sz="1350" b="1" dirty="0">
              <a:solidFill>
                <a:srgbClr val="00B050"/>
              </a:solidFill>
              <a:latin typeface="HelvNeue for IBM Medium"/>
              <a:ea typeface="MS PGothic" pitchFamily="34" charset="-128"/>
              <a:cs typeface="HelvNeue for IBM Light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4163040"/>
              </p:ext>
            </p:extLst>
          </p:nvPr>
        </p:nvGraphicFramePr>
        <p:xfrm>
          <a:off x="4820270" y="975800"/>
          <a:ext cx="3269456" cy="116586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3269456"/>
              </a:tblGrid>
              <a:tr h="1097280"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en-US" sz="800" b="0" dirty="0" smtClean="0">
                          <a:latin typeface="HelvNeue for IBM Light"/>
                        </a:rPr>
                        <a:t>750 IoT Patents; 3x times any</a:t>
                      </a:r>
                      <a:r>
                        <a:rPr lang="en-US" sz="800" b="0" baseline="0" dirty="0" smtClean="0">
                          <a:latin typeface="HelvNeue for IBM Light"/>
                        </a:rPr>
                        <a:t> other company</a:t>
                      </a:r>
                    </a:p>
                    <a:p>
                      <a:pPr marL="171450" indent="-1714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en-US" sz="800" b="0" dirty="0" smtClean="0">
                          <a:latin typeface="HelvNeue for IBM Light"/>
                        </a:rPr>
                        <a:t>40% faster development with </a:t>
                      </a:r>
                      <a:r>
                        <a:rPr lang="en-US" sz="800" b="0" dirty="0" err="1" smtClean="0">
                          <a:latin typeface="HelvNeue for IBM Light"/>
                        </a:rPr>
                        <a:t>Bluemix</a:t>
                      </a:r>
                      <a:r>
                        <a:rPr lang="en-US" sz="800" b="0" dirty="0" smtClean="0">
                          <a:latin typeface="HelvNeue for IBM Light"/>
                        </a:rPr>
                        <a:t> and Watson</a:t>
                      </a:r>
                      <a:r>
                        <a:rPr lang="en-US" sz="800" b="0" baseline="0" dirty="0" smtClean="0">
                          <a:latin typeface="HelvNeue for IBM Light"/>
                        </a:rPr>
                        <a:t> </a:t>
                      </a:r>
                      <a:r>
                        <a:rPr lang="en-US" sz="800" b="0" baseline="0" dirty="0" err="1" smtClean="0">
                          <a:latin typeface="HelvNeue for IBM Light"/>
                        </a:rPr>
                        <a:t>IoT</a:t>
                      </a:r>
                      <a:r>
                        <a:rPr lang="en-US" sz="800" b="0" baseline="0" dirty="0" smtClean="0">
                          <a:latin typeface="HelvNeue for IBM Light"/>
                        </a:rPr>
                        <a:t> Platform</a:t>
                      </a:r>
                      <a:endParaRPr lang="en-US" sz="800" b="0" dirty="0" smtClean="0">
                        <a:latin typeface="HelvNeue for IBM Light"/>
                      </a:endParaRPr>
                    </a:p>
                    <a:p>
                      <a:pPr marL="171450" indent="-1714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en-US" sz="800" b="0" baseline="0" dirty="0" smtClean="0">
                          <a:latin typeface="HelvNeue for IBM Light"/>
                        </a:rPr>
                        <a:t>77k developers using Watson Developer Cloud globally</a:t>
                      </a:r>
                    </a:p>
                    <a:p>
                      <a:pPr marL="171450" indent="-1714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en-US" sz="800" b="0" baseline="0" dirty="0" smtClean="0">
                          <a:latin typeface="HelvNeue for IBM Light"/>
                        </a:rPr>
                        <a:t>26B inquires handled daily by The Weather Company platform</a:t>
                      </a:r>
                    </a:p>
                    <a:p>
                      <a:pPr marL="171450" indent="-1714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en-US" sz="800" b="0" baseline="0" dirty="0" smtClean="0">
                          <a:latin typeface="HelvNeue for IBM Light"/>
                        </a:rPr>
                        <a:t>10k clients in 133 countries rely on IBM Security solutions</a:t>
                      </a:r>
                    </a:p>
                    <a:p>
                      <a:pPr marL="171450" indent="-1714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en-US" sz="800" b="0" baseline="0" dirty="0" smtClean="0">
                          <a:latin typeface="HelvNeue for IBM Light"/>
                        </a:rPr>
                        <a:t>15B events managed daily by IBM Security services</a:t>
                      </a:r>
                      <a:endParaRPr lang="en-US" sz="800" b="0" dirty="0">
                        <a:latin typeface="HelvNeue for IBM Light"/>
                      </a:endParaRPr>
                    </a:p>
                  </a:txBody>
                  <a:tcPr marL="68580" marR="68580" marT="34290" marB="34290" anchor="ctr"/>
                </a:tc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2352291"/>
              </p:ext>
            </p:extLst>
          </p:nvPr>
        </p:nvGraphicFramePr>
        <p:xfrm>
          <a:off x="4820270" y="2125943"/>
          <a:ext cx="3086099" cy="1287779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3086099"/>
              </a:tblGrid>
              <a:tr h="1211580"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en-US" sz="800" b="0" dirty="0" smtClean="0">
                          <a:latin typeface="HelvNeue for IBM Light"/>
                        </a:rPr>
                        <a:t>IBM Solutions used globally across various industries</a:t>
                      </a:r>
                    </a:p>
                    <a:p>
                      <a:pPr marL="342900" lvl="1" indent="-171450">
                        <a:lnSpc>
                          <a:spcPct val="10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en-US" sz="800" b="0" dirty="0" smtClean="0">
                          <a:latin typeface="HelvNeue for IBM Light"/>
                        </a:rPr>
                        <a:t>4000 IoT clients worldwide</a:t>
                      </a:r>
                    </a:p>
                    <a:p>
                      <a:pPr marL="342900" lvl="1" indent="-171450">
                        <a:lnSpc>
                          <a:spcPct val="10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en-US" sz="800" b="0" dirty="0" smtClean="0">
                          <a:latin typeface="HelvNeue for IBM Light"/>
                        </a:rPr>
                        <a:t>7 of</a:t>
                      </a:r>
                      <a:r>
                        <a:rPr lang="en-US" sz="800" b="0" baseline="0" dirty="0" smtClean="0">
                          <a:latin typeface="HelvNeue for IBM Light"/>
                        </a:rPr>
                        <a:t> the 10 largest automotive companies</a:t>
                      </a:r>
                    </a:p>
                    <a:p>
                      <a:pPr marL="342900" lvl="1" indent="-171450">
                        <a:lnSpc>
                          <a:spcPct val="10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en-US" sz="800" b="0" baseline="0" dirty="0" smtClean="0">
                          <a:latin typeface="HelvNeue for IBM Light"/>
                        </a:rPr>
                        <a:t>8 of the 10 largest oil &amp; gas companies</a:t>
                      </a:r>
                    </a:p>
                    <a:p>
                      <a:pPr marL="342900" lvl="1" indent="-171450">
                        <a:lnSpc>
                          <a:spcPct val="10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en-US" sz="800" b="0" baseline="0" dirty="0" smtClean="0">
                          <a:latin typeface="HelvNeue for IBM Light"/>
                        </a:rPr>
                        <a:t>11 of the 20 largest diversified utility companies</a:t>
                      </a:r>
                    </a:p>
                    <a:p>
                      <a:pPr marL="342900" lvl="1" indent="-171450">
                        <a:lnSpc>
                          <a:spcPct val="10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en-US" sz="800" b="0" baseline="0" dirty="0" smtClean="0">
                          <a:latin typeface="HelvNeue for IBM Light"/>
                        </a:rPr>
                        <a:t>6 of the 10 largest energy companies</a:t>
                      </a:r>
                    </a:p>
                    <a:p>
                      <a:pPr marL="342900" lvl="1" indent="-171450">
                        <a:lnSpc>
                          <a:spcPct val="10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en-US" sz="800" b="0" baseline="0" dirty="0" smtClean="0">
                          <a:latin typeface="HelvNeue for IBM Light"/>
                        </a:rPr>
                        <a:t>9 of the 15 busiest airports</a:t>
                      </a:r>
                    </a:p>
                    <a:p>
                      <a:pPr marL="342900" lvl="1" indent="-171450">
                        <a:lnSpc>
                          <a:spcPct val="10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en-US" sz="800" b="0" baseline="0" dirty="0" smtClean="0">
                          <a:latin typeface="HelvNeue for IBM Light"/>
                        </a:rPr>
                        <a:t>11 of the 12 major aerospace and defense companies </a:t>
                      </a:r>
                      <a:endParaRPr lang="en-US" sz="800" b="0" dirty="0" smtClean="0">
                        <a:latin typeface="HelvNeue for IBM Light"/>
                      </a:endParaRPr>
                    </a:p>
                    <a:p>
                      <a:pPr marL="171450" indent="-1714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en-US" sz="800" b="0" baseline="0" dirty="0" smtClean="0">
                          <a:latin typeface="HelvNeue for IBM Light"/>
                        </a:rPr>
                        <a:t>Over 1400 global IoT Business Partners</a:t>
                      </a:r>
                    </a:p>
                  </a:txBody>
                  <a:tcPr marL="68580" marR="68580" marT="34290" marB="34290" anchor="ctr"/>
                </a:tc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3160710"/>
              </p:ext>
            </p:extLst>
          </p:nvPr>
        </p:nvGraphicFramePr>
        <p:xfrm>
          <a:off x="4820270" y="3387090"/>
          <a:ext cx="3086099" cy="116586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3086099"/>
              </a:tblGrid>
              <a:tr h="1097280"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en-US" sz="800" b="0" dirty="0" smtClean="0">
                          <a:latin typeface="HelvNeue for IBM Light"/>
                        </a:rPr>
                        <a:t>350+ Watson</a:t>
                      </a:r>
                      <a:r>
                        <a:rPr lang="en-US" sz="800" b="0" baseline="0" dirty="0" smtClean="0">
                          <a:latin typeface="HelvNeue for IBM Light"/>
                        </a:rPr>
                        <a:t> ecosystem partners</a:t>
                      </a:r>
                    </a:p>
                    <a:p>
                      <a:pPr marL="171450" indent="-1714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en-US" sz="800" b="0" baseline="0" dirty="0" smtClean="0">
                          <a:latin typeface="HelvNeue for IBM Light"/>
                        </a:rPr>
                        <a:t>24+ Watson APIs, powered by 50 cognitive technologies</a:t>
                      </a:r>
                    </a:p>
                    <a:p>
                      <a:pPr marL="171450" indent="-1714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en-US" sz="800" b="0" baseline="0" dirty="0" smtClean="0">
                          <a:latin typeface="HelvNeue for IBM Light"/>
                        </a:rPr>
                        <a:t>1.3B Watson API calls processed per month … and growing</a:t>
                      </a:r>
                    </a:p>
                    <a:p>
                      <a:pPr marL="171450" indent="-1714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en-US" sz="800" b="0" baseline="0" dirty="0" smtClean="0">
                          <a:latin typeface="HelvNeue for IBM Light"/>
                        </a:rPr>
                        <a:t>The industry’s only consulting practice dedicated to Cognitive Business, drawing on 2000 experts in industry dynamics, data science, and analytics</a:t>
                      </a:r>
                    </a:p>
                  </a:txBody>
                  <a:tcPr marL="68580" marR="68580" marT="34290" marB="34290" anchor="ctr"/>
                </a:tc>
              </a:tr>
            </a:tbl>
          </a:graphicData>
        </a:graphic>
      </p:graphicFrame>
      <p:sp>
        <p:nvSpPr>
          <p:cNvPr id="17" name="Title 3"/>
          <p:cNvSpPr>
            <a:spLocks noGrp="1"/>
          </p:cNvSpPr>
          <p:nvPr>
            <p:ph type="title"/>
          </p:nvPr>
        </p:nvSpPr>
        <p:spPr>
          <a:xfrm>
            <a:off x="228600" y="134107"/>
            <a:ext cx="7543800" cy="618910"/>
          </a:xfrm>
        </p:spPr>
        <p:txBody>
          <a:bodyPr anchor="t"/>
          <a:lstStyle/>
          <a:p>
            <a:pPr eaLnBrk="1" hangingPunct="1"/>
            <a:r>
              <a:rPr lang="en-US" sz="2400" dirty="0" smtClean="0">
                <a:latin typeface="HelvNeue for IBM Medium"/>
                <a:cs typeface="Helvetica Neue"/>
              </a:rPr>
              <a:t>How can IBM help your digital transformation?</a:t>
            </a:r>
            <a:r>
              <a:rPr lang="en-US" sz="2400" dirty="0">
                <a:latin typeface="HelvNeue for IBM Medium"/>
                <a:cs typeface="Helvetica Neue"/>
              </a:rPr>
              <a:t/>
            </a:r>
            <a:br>
              <a:rPr lang="en-US" sz="2400" dirty="0">
                <a:latin typeface="HelvNeue for IBM Medium"/>
                <a:cs typeface="Helvetica Neue"/>
              </a:rPr>
            </a:br>
            <a:r>
              <a:rPr lang="en-US" sz="1600" dirty="0">
                <a:solidFill>
                  <a:schemeClr val="accent1"/>
                </a:solidFill>
                <a:latin typeface="HelvNeue for IBM Medium"/>
                <a:cs typeface="Helvetica Neue"/>
              </a:rPr>
              <a:t>A trusted partner with proven industry expertise, business solutions, and </a:t>
            </a:r>
            <a:r>
              <a:rPr lang="en-US" sz="1600" dirty="0" smtClean="0">
                <a:solidFill>
                  <a:schemeClr val="accent1"/>
                </a:solidFill>
                <a:latin typeface="HelvNeue for IBM Medium"/>
                <a:cs typeface="Helvetica Neue"/>
              </a:rPr>
              <a:t>longevity</a:t>
            </a:r>
            <a:endParaRPr lang="en-US" sz="2400" dirty="0">
              <a:latin typeface="HelvNeue for IBM Medium"/>
              <a:cs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5504840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/>
          <p:cNvSpPr/>
          <p:nvPr/>
        </p:nvSpPr>
        <p:spPr>
          <a:xfrm>
            <a:off x="0" y="1757363"/>
            <a:ext cx="9144000" cy="1471612"/>
          </a:xfrm>
          <a:prstGeom prst="rect">
            <a:avLst/>
          </a:prstGeom>
          <a:solidFill>
            <a:srgbClr val="1529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7890" name="Content Placeholder 2"/>
          <p:cNvSpPr txBox="1">
            <a:spLocks/>
          </p:cNvSpPr>
          <p:nvPr/>
        </p:nvSpPr>
        <p:spPr bwMode="auto">
          <a:xfrm>
            <a:off x="336550" y="1995488"/>
            <a:ext cx="4694238" cy="1151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spcBef>
                <a:spcPct val="20000"/>
              </a:spcBef>
              <a:buFont typeface="Arial" charset="0"/>
              <a:buNone/>
            </a:pPr>
            <a:r>
              <a:rPr lang="en-US" sz="1600" dirty="0">
                <a:solidFill>
                  <a:schemeClr val="bg1"/>
                </a:solidFill>
              </a:rPr>
              <a:t>Learn more about how Watson IoT </a:t>
            </a:r>
            <a:r>
              <a:rPr lang="en-US" sz="1600" dirty="0" smtClean="0">
                <a:solidFill>
                  <a:schemeClr val="bg1"/>
                </a:solidFill>
              </a:rPr>
              <a:t>can help you </a:t>
            </a:r>
            <a:r>
              <a:rPr lang="en-US" sz="1600" dirty="0">
                <a:solidFill>
                  <a:schemeClr val="bg1"/>
                </a:solidFill>
              </a:rPr>
              <a:t>capitalize on the connected world. </a:t>
            </a:r>
            <a:endParaRPr lang="en-US" dirty="0">
              <a:solidFill>
                <a:schemeClr val="bg1"/>
              </a:solidFill>
            </a:endParaRPr>
          </a:p>
          <a:p>
            <a:pPr>
              <a:spcBef>
                <a:spcPct val="20000"/>
              </a:spcBef>
              <a:buFont typeface="Arial" charset="0"/>
              <a:buNone/>
            </a:pPr>
            <a:r>
              <a:rPr lang="en-US" dirty="0">
                <a:solidFill>
                  <a:schemeClr val="bg1"/>
                </a:solidFill>
              </a:rPr>
              <a:t>Visit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>
                <a:hlinkClick r:id="rId3"/>
              </a:rPr>
              <a:t>ibm.com/</a:t>
            </a:r>
            <a:r>
              <a:rPr lang="en-US" dirty="0">
                <a:hlinkClick r:id="rId3"/>
              </a:rPr>
              <a:t>iot</a:t>
            </a:r>
            <a:endParaRPr lang="en-US" dirty="0"/>
          </a:p>
        </p:txBody>
      </p:sp>
      <p:sp>
        <p:nvSpPr>
          <p:cNvPr id="37891" name="Title 1"/>
          <p:cNvSpPr txBox="1">
            <a:spLocks/>
          </p:cNvSpPr>
          <p:nvPr/>
        </p:nvSpPr>
        <p:spPr bwMode="auto">
          <a:xfrm>
            <a:off x="228600" y="1289050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dirty="0">
                <a:solidFill>
                  <a:srgbClr val="00B4A0"/>
                </a:solidFill>
              </a:rPr>
              <a:t>Realize your IoT potential </a:t>
            </a:r>
          </a:p>
        </p:txBody>
      </p:sp>
      <p:sp>
        <p:nvSpPr>
          <p:cNvPr id="22" name="Rectangle 21"/>
          <p:cNvSpPr/>
          <p:nvPr/>
        </p:nvSpPr>
        <p:spPr>
          <a:xfrm>
            <a:off x="7440613" y="0"/>
            <a:ext cx="125412" cy="3937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6553200" y="3897313"/>
            <a:ext cx="125413" cy="1246187"/>
          </a:xfrm>
          <a:prstGeom prst="rect">
            <a:avLst/>
          </a:prstGeom>
          <a:solidFill>
            <a:srgbClr val="1B39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37894" name="Picture 6" descr="lines_yllw.png"/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r="-2" b="42509"/>
          <a:stretch>
            <a:fillRect/>
          </a:stretch>
        </p:blipFill>
        <p:spPr bwMode="auto">
          <a:xfrm>
            <a:off x="6122988" y="147638"/>
            <a:ext cx="136525" cy="833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5" name="Picture 12" descr="lines_red.png"/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842"/>
          <a:stretch>
            <a:fillRect/>
          </a:stretch>
        </p:blipFill>
        <p:spPr bwMode="auto">
          <a:xfrm>
            <a:off x="2416175" y="4125913"/>
            <a:ext cx="136525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6" name="Picture 21"/>
          <p:cNvPicPr preferRelativeResize="0"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675" y="4676775"/>
            <a:ext cx="360363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60372396"/>
      </p:ext>
    </p:extLst>
  </p:cSld>
  <p:clrMapOvr>
    <a:masterClrMapping/>
  </p:clrMapOvr>
  <p:transition xmlns:p14="http://schemas.microsoft.com/office/powerpoint/2010/main" spd="slow">
    <p:push dir="u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2650" y="735012"/>
            <a:ext cx="1006475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1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1363" y="714375"/>
            <a:ext cx="6604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2" name="Pictur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8088" y="4276725"/>
            <a:ext cx="869950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3" name="Picture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675" y="4410075"/>
            <a:ext cx="146367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4" name="Picture 1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3788" y="4329112"/>
            <a:ext cx="7620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5" name="Picture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1350" y="1693862"/>
            <a:ext cx="1187450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6" name="Picture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125" y="687387"/>
            <a:ext cx="549275" cy="550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8" name="Picture 1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7538" y="3448050"/>
            <a:ext cx="450850" cy="411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9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6888" y="800100"/>
            <a:ext cx="914400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00" name="Picture 13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0250" y="758825"/>
            <a:ext cx="823913" cy="407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01" name="Picture 14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0187" y="2400300"/>
            <a:ext cx="1395413" cy="65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02" name="Picture 15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0088" y="3355975"/>
            <a:ext cx="795337" cy="595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03" name="Picture 1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1438" y="4248150"/>
            <a:ext cx="684212" cy="55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04" name="Picture 2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325" y="2463800"/>
            <a:ext cx="1920875" cy="801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05" name="Picture 3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188" y="3448050"/>
            <a:ext cx="914400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06" name="Picture 4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2338" y="3497262"/>
            <a:ext cx="1431925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07" name="Picture 5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6638" y="3963987"/>
            <a:ext cx="1122362" cy="1122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08" name="Picture 1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9000" y="2536825"/>
            <a:ext cx="1279525" cy="385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09" name="Picture 2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288" y="1666875"/>
            <a:ext cx="1371600" cy="3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10" name="Picture 3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0700" y="3521075"/>
            <a:ext cx="1279525" cy="265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11" name="Picture 4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0475" y="4321175"/>
            <a:ext cx="1189038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12" name="Picture 6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6375" y="3490912"/>
            <a:ext cx="137160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13" name="Picture 7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9200" y="854075"/>
            <a:ext cx="1096963" cy="217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14" name="Picture 9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400" y="2324100"/>
            <a:ext cx="1301750" cy="811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15" name="Picture 10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900" y="2486025"/>
            <a:ext cx="503238" cy="487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16" name="Picture 1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4800" y="1733550"/>
            <a:ext cx="10969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17" name="Picture 2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325" y="1731962"/>
            <a:ext cx="1371600" cy="211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18" name="Picture 3"/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0263" y="1731962"/>
            <a:ext cx="1371600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19" name="Picture 4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3225" y="1471612"/>
            <a:ext cx="549275" cy="731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Title 1"/>
          <p:cNvSpPr txBox="1">
            <a:spLocks/>
          </p:cNvSpPr>
          <p:nvPr/>
        </p:nvSpPr>
        <p:spPr bwMode="auto">
          <a:xfrm>
            <a:off x="230146" y="113989"/>
            <a:ext cx="7999144" cy="403466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64283" tIns="32142" rIns="64283" bIns="32142" numCol="1" anchor="t" anchorCtr="0" compatLnSpc="1">
            <a:prstTxWarp prst="textNoShape">
              <a:avLst/>
            </a:prstTxWarp>
            <a:spAutoFit/>
          </a:bodyPr>
          <a:lstStyle>
            <a:lvl1pPr algn="l" defTabSz="31908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kern="1200" spc="-50" baseline="0">
                <a:solidFill>
                  <a:srgbClr val="339C96"/>
                </a:solidFill>
                <a:latin typeface="HelvNeue for IBM Light"/>
                <a:ea typeface="MS PGothic" pitchFamily="34" charset="-128"/>
                <a:cs typeface="HelvNeue for IBM Light"/>
              </a:defRPr>
            </a:lvl1pPr>
            <a:lvl2pPr algn="l" defTabSz="31908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4FD9E7"/>
                </a:solidFill>
                <a:latin typeface="HelvNeue for IBM Light" charset="0"/>
                <a:ea typeface="MS PGothic" pitchFamily="34" charset="-128"/>
                <a:cs typeface="HelvNeue for IBM Light" charset="0"/>
              </a:defRPr>
            </a:lvl2pPr>
            <a:lvl3pPr algn="l" defTabSz="31908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4FD9E7"/>
                </a:solidFill>
                <a:latin typeface="HelvNeue for IBM Light" charset="0"/>
                <a:ea typeface="MS PGothic" pitchFamily="34" charset="-128"/>
                <a:cs typeface="HelvNeue for IBM Light" charset="0"/>
              </a:defRPr>
            </a:lvl3pPr>
            <a:lvl4pPr algn="l" defTabSz="31908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4FD9E7"/>
                </a:solidFill>
                <a:latin typeface="HelvNeue for IBM Light" charset="0"/>
                <a:ea typeface="MS PGothic" pitchFamily="34" charset="-128"/>
                <a:cs typeface="HelvNeue for IBM Light" charset="0"/>
              </a:defRPr>
            </a:lvl4pPr>
            <a:lvl5pPr algn="l" defTabSz="31908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rgbClr val="4FD9E7"/>
                </a:solidFill>
                <a:latin typeface="HelvNeue for IBM Light" charset="0"/>
                <a:ea typeface="MS PGothic" pitchFamily="34" charset="-128"/>
                <a:cs typeface="HelvNeue for IBM Light" charset="0"/>
              </a:defRPr>
            </a:lvl5pPr>
            <a:lvl6pPr marL="321419" algn="ctr" defTabSz="321419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00">
                <a:solidFill>
                  <a:srgbClr val="4FFAFF"/>
                </a:solidFill>
                <a:latin typeface="Lubalin for IBM Extra Light" charset="0"/>
                <a:ea typeface="ＭＳ Ｐゴシック" charset="0"/>
              </a:defRPr>
            </a:lvl6pPr>
            <a:lvl7pPr marL="642840" algn="ctr" defTabSz="321419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00">
                <a:solidFill>
                  <a:srgbClr val="4FFAFF"/>
                </a:solidFill>
                <a:latin typeface="Lubalin for IBM Extra Light" charset="0"/>
                <a:ea typeface="ＭＳ Ｐゴシック" charset="0"/>
              </a:defRPr>
            </a:lvl7pPr>
            <a:lvl8pPr marL="964259" algn="ctr" defTabSz="321419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00">
                <a:solidFill>
                  <a:srgbClr val="4FFAFF"/>
                </a:solidFill>
                <a:latin typeface="Lubalin for IBM Extra Light" charset="0"/>
                <a:ea typeface="ＭＳ Ｐゴシック" charset="0"/>
              </a:defRPr>
            </a:lvl8pPr>
            <a:lvl9pPr marL="1285679" algn="ctr" defTabSz="321419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00">
                <a:solidFill>
                  <a:srgbClr val="4FFAFF"/>
                </a:solidFill>
                <a:latin typeface="Lubalin for IBM Extra Light" charset="0"/>
                <a:ea typeface="ＭＳ Ｐゴシック" charset="0"/>
              </a:defRPr>
            </a:lvl9pPr>
          </a:lstStyle>
          <a:p>
            <a:r>
              <a:rPr lang="en-US" sz="2400" dirty="0" smtClean="0">
                <a:solidFill>
                  <a:srgbClr val="00B4A0"/>
                </a:solidFill>
                <a:latin typeface="HelvNeue for IBM Medium"/>
              </a:rPr>
              <a:t>Clients tackling business challenges today with Watson IoT</a:t>
            </a:r>
            <a:endParaRPr lang="en-US" sz="2400" dirty="0">
              <a:solidFill>
                <a:srgbClr val="00B4A0"/>
              </a:solidFill>
              <a:latin typeface="HelvNeue for IBM Medium"/>
            </a:endParaRPr>
          </a:p>
        </p:txBody>
      </p:sp>
    </p:spTree>
    <p:extLst>
      <p:ext uri="{BB962C8B-B14F-4D97-AF65-F5344CB8AC3E}">
        <p14:creationId xmlns:p14="http://schemas.microsoft.com/office/powerpoint/2010/main" val="5029195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564" y="134104"/>
            <a:ext cx="7543800" cy="403466"/>
          </a:xfrm>
        </p:spPr>
        <p:txBody>
          <a:bodyPr/>
          <a:lstStyle/>
          <a:p>
            <a:r>
              <a:rPr lang="en-US" sz="2400" dirty="0" smtClean="0">
                <a:latin typeface="HelvNeue for IBM Medium"/>
              </a:rPr>
              <a:t>With IoT, you can…</a:t>
            </a:r>
            <a:endParaRPr lang="en-US" sz="2400" dirty="0">
              <a:latin typeface="HelvNeue for IBM Medium"/>
            </a:endParaRPr>
          </a:p>
        </p:txBody>
      </p:sp>
      <p:sp>
        <p:nvSpPr>
          <p:cNvPr id="131" name="TextBox 12"/>
          <p:cNvSpPr txBox="1">
            <a:spLocks noChangeArrowheads="1"/>
          </p:cNvSpPr>
          <p:nvPr/>
        </p:nvSpPr>
        <p:spPr bwMode="auto">
          <a:xfrm>
            <a:off x="414127" y="3423942"/>
            <a:ext cx="3477589" cy="584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marL="285750" indent="-285750" defTabSz="457189" eaLnBrk="1" hangingPunct="1">
              <a:buFont typeface="Wingdings" charset="2"/>
              <a:buChar char="ü"/>
            </a:pPr>
            <a:r>
              <a:rPr lang="en-US" sz="1600" dirty="0" smtClean="0">
                <a:latin typeface="HelvNeue for IBM Medium"/>
                <a:cs typeface="Helvetica Neue"/>
              </a:rPr>
              <a:t>Engage with clients and markets in new ways</a:t>
            </a:r>
            <a:endParaRPr lang="en-US" sz="1600" dirty="0">
              <a:latin typeface="HelvNeue for IBM Medium"/>
              <a:cs typeface="Helvetica Neue"/>
            </a:endParaRPr>
          </a:p>
        </p:txBody>
      </p:sp>
      <p:sp>
        <p:nvSpPr>
          <p:cNvPr id="132" name="TextBox 9"/>
          <p:cNvSpPr txBox="1">
            <a:spLocks noChangeArrowheads="1"/>
          </p:cNvSpPr>
          <p:nvPr/>
        </p:nvSpPr>
        <p:spPr bwMode="auto">
          <a:xfrm>
            <a:off x="414127" y="931435"/>
            <a:ext cx="396714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marL="285750" indent="-285750" defTabSz="457189" eaLnBrk="1" hangingPunct="1">
              <a:buFont typeface="Wingdings" charset="2"/>
              <a:buChar char="ü"/>
            </a:pPr>
            <a:r>
              <a:rPr lang="en-US" sz="1600" dirty="0" smtClean="0">
                <a:latin typeface="HelvNeue for IBM Medium"/>
                <a:cs typeface="Helvetica Neue"/>
              </a:rPr>
              <a:t>Rapidly and securely connect devices</a:t>
            </a:r>
            <a:endParaRPr lang="en-US" sz="1600" dirty="0">
              <a:latin typeface="HelvNeue for IBM Medium"/>
              <a:cs typeface="Helvetica Neue"/>
            </a:endParaRPr>
          </a:p>
        </p:txBody>
      </p:sp>
      <p:sp>
        <p:nvSpPr>
          <p:cNvPr id="133" name="TextBox 10"/>
          <p:cNvSpPr txBox="1">
            <a:spLocks noChangeArrowheads="1"/>
          </p:cNvSpPr>
          <p:nvPr/>
        </p:nvSpPr>
        <p:spPr bwMode="auto">
          <a:xfrm>
            <a:off x="414127" y="1762271"/>
            <a:ext cx="347758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marL="285750" indent="-285750" defTabSz="457189" eaLnBrk="1" hangingPunct="1">
              <a:buFont typeface="Wingdings" charset="2"/>
              <a:buChar char="ü"/>
            </a:pPr>
            <a:r>
              <a:rPr lang="en-US" sz="1600" dirty="0" smtClean="0">
                <a:latin typeface="HelvNeue for IBM Medium"/>
                <a:cs typeface="Helvetica Neue"/>
              </a:rPr>
              <a:t>Optimize operations</a:t>
            </a:r>
            <a:endParaRPr lang="en-US" sz="1600" dirty="0">
              <a:latin typeface="HelvNeue for IBM Medium"/>
              <a:cs typeface="Helvetica Neue"/>
            </a:endParaRPr>
          </a:p>
        </p:txBody>
      </p:sp>
      <p:sp>
        <p:nvSpPr>
          <p:cNvPr id="134" name="TextBox 11"/>
          <p:cNvSpPr txBox="1">
            <a:spLocks noChangeArrowheads="1"/>
          </p:cNvSpPr>
          <p:nvPr/>
        </p:nvSpPr>
        <p:spPr bwMode="auto">
          <a:xfrm>
            <a:off x="414128" y="2593107"/>
            <a:ext cx="377687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marL="285750" indent="-285750" defTabSz="457189" eaLnBrk="1" hangingPunct="1">
              <a:buFont typeface="Wingdings" charset="2"/>
              <a:buChar char="ü"/>
            </a:pPr>
            <a:r>
              <a:rPr lang="en-US" sz="1600" dirty="0" smtClean="0">
                <a:latin typeface="HelvNeue for IBM Medium"/>
                <a:cs typeface="Helvetica Neue"/>
              </a:rPr>
              <a:t>Enable new business models</a:t>
            </a:r>
            <a:endParaRPr lang="en-US" sz="1600" dirty="0">
              <a:latin typeface="HelvNeue for IBM Medium"/>
              <a:cs typeface="Helvetica Neue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4363549" y="742950"/>
            <a:ext cx="4448579" cy="3976479"/>
            <a:chOff x="4363549" y="742950"/>
            <a:chExt cx="4448579" cy="3976479"/>
          </a:xfrm>
        </p:grpSpPr>
        <p:sp>
          <p:nvSpPr>
            <p:cNvPr id="135" name="Freeform 134"/>
            <p:cNvSpPr/>
            <p:nvPr/>
          </p:nvSpPr>
          <p:spPr>
            <a:xfrm>
              <a:off x="6167458" y="3549005"/>
              <a:ext cx="134566" cy="504259"/>
            </a:xfrm>
            <a:custGeom>
              <a:avLst/>
              <a:gdLst>
                <a:gd name="connsiteX0" fmla="*/ 218285 w 218285"/>
                <a:gd name="connsiteY0" fmla="*/ 0 h 515921"/>
                <a:gd name="connsiteX1" fmla="*/ 138908 w 218285"/>
                <a:gd name="connsiteY1" fmla="*/ 92601 h 515921"/>
                <a:gd name="connsiteX2" fmla="*/ 79376 w 218285"/>
                <a:gd name="connsiteY2" fmla="*/ 231503 h 515921"/>
                <a:gd name="connsiteX3" fmla="*/ 0 w 218285"/>
                <a:gd name="connsiteY3" fmla="*/ 515921 h 515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285" h="515921">
                  <a:moveTo>
                    <a:pt x="218285" y="0"/>
                  </a:moveTo>
                  <a:cubicBezTo>
                    <a:pt x="190172" y="27008"/>
                    <a:pt x="162059" y="54017"/>
                    <a:pt x="138908" y="92601"/>
                  </a:cubicBezTo>
                  <a:cubicBezTo>
                    <a:pt x="115757" y="131185"/>
                    <a:pt x="102527" y="160950"/>
                    <a:pt x="79376" y="231503"/>
                  </a:cubicBezTo>
                  <a:cubicBezTo>
                    <a:pt x="56225" y="302056"/>
                    <a:pt x="0" y="515921"/>
                    <a:pt x="0" y="515921"/>
                  </a:cubicBezTo>
                </a:path>
              </a:pathLst>
            </a:custGeom>
            <a:ln w="12700" cmpd="sng">
              <a:solidFill>
                <a:srgbClr val="6D6F7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>
                <a:defRPr/>
              </a:pPr>
              <a:endParaRPr lang="en-US">
                <a:latin typeface="HelvNeue for IBM Medium"/>
              </a:endParaRPr>
            </a:p>
          </p:txBody>
        </p:sp>
        <p:sp>
          <p:nvSpPr>
            <p:cNvPr id="136" name="Freeform 135"/>
            <p:cNvSpPr/>
            <p:nvPr/>
          </p:nvSpPr>
          <p:spPr>
            <a:xfrm flipH="1">
              <a:off x="6806557" y="3549005"/>
              <a:ext cx="135140" cy="448449"/>
            </a:xfrm>
            <a:custGeom>
              <a:avLst/>
              <a:gdLst>
                <a:gd name="connsiteX0" fmla="*/ 218285 w 218285"/>
                <a:gd name="connsiteY0" fmla="*/ 0 h 515921"/>
                <a:gd name="connsiteX1" fmla="*/ 138908 w 218285"/>
                <a:gd name="connsiteY1" fmla="*/ 92601 h 515921"/>
                <a:gd name="connsiteX2" fmla="*/ 79376 w 218285"/>
                <a:gd name="connsiteY2" fmla="*/ 231503 h 515921"/>
                <a:gd name="connsiteX3" fmla="*/ 0 w 218285"/>
                <a:gd name="connsiteY3" fmla="*/ 515921 h 515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285" h="515921">
                  <a:moveTo>
                    <a:pt x="218285" y="0"/>
                  </a:moveTo>
                  <a:cubicBezTo>
                    <a:pt x="190172" y="27008"/>
                    <a:pt x="162059" y="54017"/>
                    <a:pt x="138908" y="92601"/>
                  </a:cubicBezTo>
                  <a:cubicBezTo>
                    <a:pt x="115757" y="131185"/>
                    <a:pt x="102527" y="160950"/>
                    <a:pt x="79376" y="231503"/>
                  </a:cubicBezTo>
                  <a:cubicBezTo>
                    <a:pt x="56225" y="302056"/>
                    <a:pt x="0" y="515921"/>
                    <a:pt x="0" y="515921"/>
                  </a:cubicBezTo>
                </a:path>
              </a:pathLst>
            </a:custGeom>
            <a:ln w="12700" cmpd="sng">
              <a:solidFill>
                <a:srgbClr val="6D6F7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>
                <a:defRPr/>
              </a:pPr>
              <a:endParaRPr lang="en-US">
                <a:latin typeface="HelvNeue for IBM Medium"/>
              </a:endParaRPr>
            </a:p>
          </p:txBody>
        </p:sp>
        <p:sp>
          <p:nvSpPr>
            <p:cNvPr id="138" name="Freeform 137"/>
            <p:cNvSpPr/>
            <p:nvPr/>
          </p:nvSpPr>
          <p:spPr>
            <a:xfrm>
              <a:off x="5494037" y="3520464"/>
              <a:ext cx="435076" cy="584358"/>
            </a:xfrm>
            <a:custGeom>
              <a:avLst/>
              <a:gdLst>
                <a:gd name="connsiteX0" fmla="*/ 218285 w 218285"/>
                <a:gd name="connsiteY0" fmla="*/ 0 h 515921"/>
                <a:gd name="connsiteX1" fmla="*/ 138908 w 218285"/>
                <a:gd name="connsiteY1" fmla="*/ 92601 h 515921"/>
                <a:gd name="connsiteX2" fmla="*/ 79376 w 218285"/>
                <a:gd name="connsiteY2" fmla="*/ 231503 h 515921"/>
                <a:gd name="connsiteX3" fmla="*/ 0 w 218285"/>
                <a:gd name="connsiteY3" fmla="*/ 515921 h 515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285" h="515921">
                  <a:moveTo>
                    <a:pt x="218285" y="0"/>
                  </a:moveTo>
                  <a:cubicBezTo>
                    <a:pt x="190172" y="27008"/>
                    <a:pt x="162059" y="54017"/>
                    <a:pt x="138908" y="92601"/>
                  </a:cubicBezTo>
                  <a:cubicBezTo>
                    <a:pt x="115757" y="131185"/>
                    <a:pt x="102527" y="160950"/>
                    <a:pt x="79376" y="231503"/>
                  </a:cubicBezTo>
                  <a:cubicBezTo>
                    <a:pt x="56225" y="302056"/>
                    <a:pt x="0" y="515921"/>
                    <a:pt x="0" y="515921"/>
                  </a:cubicBezTo>
                </a:path>
              </a:pathLst>
            </a:custGeom>
            <a:ln w="12700" cmpd="sng">
              <a:solidFill>
                <a:srgbClr val="6D6F7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>
                <a:defRPr/>
              </a:pPr>
              <a:endParaRPr lang="en-US">
                <a:latin typeface="HelvNeue for IBM Medium"/>
              </a:endParaRPr>
            </a:p>
          </p:txBody>
        </p:sp>
        <p:sp>
          <p:nvSpPr>
            <p:cNvPr id="158" name="Freeform 157"/>
            <p:cNvSpPr/>
            <p:nvPr/>
          </p:nvSpPr>
          <p:spPr>
            <a:xfrm flipH="1">
              <a:off x="7158805" y="3520464"/>
              <a:ext cx="394160" cy="584358"/>
            </a:xfrm>
            <a:custGeom>
              <a:avLst/>
              <a:gdLst>
                <a:gd name="connsiteX0" fmla="*/ 218285 w 218285"/>
                <a:gd name="connsiteY0" fmla="*/ 0 h 515921"/>
                <a:gd name="connsiteX1" fmla="*/ 138908 w 218285"/>
                <a:gd name="connsiteY1" fmla="*/ 92601 h 515921"/>
                <a:gd name="connsiteX2" fmla="*/ 79376 w 218285"/>
                <a:gd name="connsiteY2" fmla="*/ 231503 h 515921"/>
                <a:gd name="connsiteX3" fmla="*/ 0 w 218285"/>
                <a:gd name="connsiteY3" fmla="*/ 515921 h 515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285" h="515921">
                  <a:moveTo>
                    <a:pt x="218285" y="0"/>
                  </a:moveTo>
                  <a:cubicBezTo>
                    <a:pt x="190172" y="27008"/>
                    <a:pt x="162059" y="54017"/>
                    <a:pt x="138908" y="92601"/>
                  </a:cubicBezTo>
                  <a:cubicBezTo>
                    <a:pt x="115757" y="131185"/>
                    <a:pt x="102527" y="160950"/>
                    <a:pt x="79376" y="231503"/>
                  </a:cubicBezTo>
                  <a:cubicBezTo>
                    <a:pt x="56225" y="302056"/>
                    <a:pt x="0" y="515921"/>
                    <a:pt x="0" y="515921"/>
                  </a:cubicBezTo>
                </a:path>
              </a:pathLst>
            </a:custGeom>
            <a:ln w="12700" cmpd="sng">
              <a:solidFill>
                <a:srgbClr val="6D6F7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>
                <a:defRPr/>
              </a:pPr>
              <a:endParaRPr lang="en-US">
                <a:latin typeface="HelvNeue for IBM Medium"/>
              </a:endParaRPr>
            </a:p>
          </p:txBody>
        </p:sp>
        <p:sp>
          <p:nvSpPr>
            <p:cNvPr id="162" name="Freeform 161"/>
            <p:cNvSpPr/>
            <p:nvPr/>
          </p:nvSpPr>
          <p:spPr>
            <a:xfrm flipH="1">
              <a:off x="7905792" y="3549004"/>
              <a:ext cx="259576" cy="323453"/>
            </a:xfrm>
            <a:custGeom>
              <a:avLst/>
              <a:gdLst>
                <a:gd name="connsiteX0" fmla="*/ 218285 w 218285"/>
                <a:gd name="connsiteY0" fmla="*/ 0 h 515921"/>
                <a:gd name="connsiteX1" fmla="*/ 138908 w 218285"/>
                <a:gd name="connsiteY1" fmla="*/ 92601 h 515921"/>
                <a:gd name="connsiteX2" fmla="*/ 79376 w 218285"/>
                <a:gd name="connsiteY2" fmla="*/ 231503 h 515921"/>
                <a:gd name="connsiteX3" fmla="*/ 0 w 218285"/>
                <a:gd name="connsiteY3" fmla="*/ 515921 h 515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285" h="515921">
                  <a:moveTo>
                    <a:pt x="218285" y="0"/>
                  </a:moveTo>
                  <a:cubicBezTo>
                    <a:pt x="190172" y="27008"/>
                    <a:pt x="162059" y="54017"/>
                    <a:pt x="138908" y="92601"/>
                  </a:cubicBezTo>
                  <a:cubicBezTo>
                    <a:pt x="115757" y="131185"/>
                    <a:pt x="102527" y="160950"/>
                    <a:pt x="79376" y="231503"/>
                  </a:cubicBezTo>
                  <a:cubicBezTo>
                    <a:pt x="56225" y="302056"/>
                    <a:pt x="0" y="515921"/>
                    <a:pt x="0" y="515921"/>
                  </a:cubicBezTo>
                </a:path>
              </a:pathLst>
            </a:custGeom>
            <a:ln w="12700" cmpd="sng">
              <a:solidFill>
                <a:srgbClr val="6D6F7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>
                <a:defRPr/>
              </a:pPr>
              <a:endParaRPr lang="en-US">
                <a:latin typeface="HelvNeue for IBM Medium"/>
              </a:endParaRPr>
            </a:p>
          </p:txBody>
        </p:sp>
        <p:sp>
          <p:nvSpPr>
            <p:cNvPr id="163" name="Freeform 162"/>
            <p:cNvSpPr/>
            <p:nvPr/>
          </p:nvSpPr>
          <p:spPr>
            <a:xfrm>
              <a:off x="4878674" y="3504946"/>
              <a:ext cx="204149" cy="375415"/>
            </a:xfrm>
            <a:custGeom>
              <a:avLst/>
              <a:gdLst>
                <a:gd name="connsiteX0" fmla="*/ 218285 w 218285"/>
                <a:gd name="connsiteY0" fmla="*/ 0 h 515921"/>
                <a:gd name="connsiteX1" fmla="*/ 138908 w 218285"/>
                <a:gd name="connsiteY1" fmla="*/ 92601 h 515921"/>
                <a:gd name="connsiteX2" fmla="*/ 79376 w 218285"/>
                <a:gd name="connsiteY2" fmla="*/ 231503 h 515921"/>
                <a:gd name="connsiteX3" fmla="*/ 0 w 218285"/>
                <a:gd name="connsiteY3" fmla="*/ 515921 h 515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285" h="515921">
                  <a:moveTo>
                    <a:pt x="218285" y="0"/>
                  </a:moveTo>
                  <a:cubicBezTo>
                    <a:pt x="190172" y="27008"/>
                    <a:pt x="162059" y="54017"/>
                    <a:pt x="138908" y="92601"/>
                  </a:cubicBezTo>
                  <a:cubicBezTo>
                    <a:pt x="115757" y="131185"/>
                    <a:pt x="102527" y="160950"/>
                    <a:pt x="79376" y="231503"/>
                  </a:cubicBezTo>
                  <a:cubicBezTo>
                    <a:pt x="56225" y="302056"/>
                    <a:pt x="0" y="515921"/>
                    <a:pt x="0" y="515921"/>
                  </a:cubicBezTo>
                </a:path>
              </a:pathLst>
            </a:custGeom>
            <a:ln w="12700" cmpd="sng">
              <a:solidFill>
                <a:srgbClr val="6D6F7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>
                <a:defRPr/>
              </a:pPr>
              <a:endParaRPr lang="en-US">
                <a:latin typeface="HelvNeue for IBM Medium"/>
              </a:endParaRPr>
            </a:p>
          </p:txBody>
        </p:sp>
        <p:pic>
          <p:nvPicPr>
            <p:cNvPr id="164" name="Picture 9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7859716" y="3804553"/>
              <a:ext cx="673868" cy="5107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5" name="Picture 1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6618543" y="4064415"/>
              <a:ext cx="569410" cy="431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6" name="Picture 1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5824844" y="4039902"/>
              <a:ext cx="601378" cy="4551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7" name="Picture 13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5230919" y="4104822"/>
              <a:ext cx="505631" cy="3826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8" name="TextBox 14"/>
            <p:cNvSpPr txBox="1">
              <a:spLocks noChangeArrowheads="1"/>
            </p:cNvSpPr>
            <p:nvPr/>
          </p:nvSpPr>
          <p:spPr bwMode="auto">
            <a:xfrm>
              <a:off x="4363549" y="4274403"/>
              <a:ext cx="736441" cy="25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sz="1050" dirty="0" smtClean="0">
                  <a:solidFill>
                    <a:schemeClr val="tx1"/>
                  </a:solidFill>
                  <a:latin typeface="HelvNeue for IBM Medium"/>
                </a:rPr>
                <a:t>Facilities</a:t>
              </a:r>
              <a:endParaRPr lang="en-US" sz="1050" dirty="0">
                <a:solidFill>
                  <a:schemeClr val="tx1"/>
                </a:solidFill>
                <a:latin typeface="HelvNeue for IBM Medium"/>
              </a:endParaRPr>
            </a:p>
          </p:txBody>
        </p:sp>
        <p:sp>
          <p:nvSpPr>
            <p:cNvPr id="169" name="TextBox 15"/>
            <p:cNvSpPr txBox="1">
              <a:spLocks noChangeArrowheads="1"/>
            </p:cNvSpPr>
            <p:nvPr/>
          </p:nvSpPr>
          <p:spPr bwMode="auto">
            <a:xfrm>
              <a:off x="5019538" y="4420155"/>
              <a:ext cx="736441" cy="25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sz="1050" dirty="0" smtClean="0">
                  <a:solidFill>
                    <a:schemeClr val="tx1"/>
                  </a:solidFill>
                  <a:latin typeface="HelvNeue for IBM Medium"/>
                </a:rPr>
                <a:t>Vehicles</a:t>
              </a:r>
              <a:endParaRPr lang="en-US" sz="1050" dirty="0">
                <a:solidFill>
                  <a:schemeClr val="tx1"/>
                </a:solidFill>
                <a:latin typeface="HelvNeue for IBM Medium"/>
              </a:endParaRPr>
            </a:p>
          </p:txBody>
        </p:sp>
        <p:sp>
          <p:nvSpPr>
            <p:cNvPr id="170" name="TextBox 16"/>
            <p:cNvSpPr txBox="1">
              <a:spLocks noChangeArrowheads="1"/>
            </p:cNvSpPr>
            <p:nvPr/>
          </p:nvSpPr>
          <p:spPr bwMode="auto">
            <a:xfrm>
              <a:off x="5757227" y="4440233"/>
              <a:ext cx="815408" cy="25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sz="1050" dirty="0" smtClean="0">
                  <a:solidFill>
                    <a:schemeClr val="tx1"/>
                  </a:solidFill>
                  <a:latin typeface="HelvNeue for IBM Medium"/>
                </a:rPr>
                <a:t>Home</a:t>
              </a:r>
              <a:endParaRPr lang="en-US" sz="1050" dirty="0">
                <a:solidFill>
                  <a:schemeClr val="tx1"/>
                </a:solidFill>
                <a:latin typeface="HelvNeue for IBM Medium"/>
              </a:endParaRPr>
            </a:p>
          </p:txBody>
        </p:sp>
        <p:sp>
          <p:nvSpPr>
            <p:cNvPr id="171" name="TextBox 17"/>
            <p:cNvSpPr txBox="1">
              <a:spLocks noChangeArrowheads="1"/>
            </p:cNvSpPr>
            <p:nvPr/>
          </p:nvSpPr>
          <p:spPr bwMode="auto">
            <a:xfrm>
              <a:off x="6553396" y="4465513"/>
              <a:ext cx="815407" cy="25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sz="1050" dirty="0" smtClean="0">
                  <a:solidFill>
                    <a:schemeClr val="tx1"/>
                  </a:solidFill>
                  <a:latin typeface="HelvNeue for IBM Medium"/>
                </a:rPr>
                <a:t>Health</a:t>
              </a:r>
              <a:endParaRPr lang="en-US" sz="1050" dirty="0">
                <a:solidFill>
                  <a:schemeClr val="tx1"/>
                </a:solidFill>
                <a:latin typeface="HelvNeue for IBM Medium"/>
              </a:endParaRPr>
            </a:p>
          </p:txBody>
        </p:sp>
        <p:sp>
          <p:nvSpPr>
            <p:cNvPr id="172" name="TextBox 18"/>
            <p:cNvSpPr txBox="1">
              <a:spLocks noChangeArrowheads="1"/>
            </p:cNvSpPr>
            <p:nvPr/>
          </p:nvSpPr>
          <p:spPr bwMode="auto">
            <a:xfrm>
              <a:off x="8029550" y="4210208"/>
              <a:ext cx="744724" cy="25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sz="1050" dirty="0" smtClean="0">
                  <a:solidFill>
                    <a:schemeClr val="tx1"/>
                  </a:solidFill>
                  <a:latin typeface="HelvNeue for IBM Medium"/>
                </a:rPr>
                <a:t>Factories</a:t>
              </a:r>
              <a:endParaRPr lang="en-US" sz="1050" dirty="0">
                <a:solidFill>
                  <a:schemeClr val="tx1"/>
                </a:solidFill>
                <a:latin typeface="HelvNeue for IBM Medium"/>
              </a:endParaRPr>
            </a:p>
          </p:txBody>
        </p:sp>
        <p:sp>
          <p:nvSpPr>
            <p:cNvPr id="173" name="TextBox 20"/>
            <p:cNvSpPr txBox="1">
              <a:spLocks noChangeArrowheads="1"/>
            </p:cNvSpPr>
            <p:nvPr/>
          </p:nvSpPr>
          <p:spPr bwMode="auto">
            <a:xfrm>
              <a:off x="7301651" y="4449203"/>
              <a:ext cx="1211254" cy="25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sz="1050" dirty="0" smtClean="0">
                  <a:solidFill>
                    <a:schemeClr val="tx1"/>
                  </a:solidFill>
                  <a:latin typeface="HelvNeue for IBM Medium"/>
                </a:rPr>
                <a:t>Transport</a:t>
              </a:r>
              <a:endParaRPr lang="en-US" sz="1050" dirty="0">
                <a:solidFill>
                  <a:schemeClr val="tx1"/>
                </a:solidFill>
                <a:latin typeface="HelvNeue for IBM Medium"/>
              </a:endParaRPr>
            </a:p>
          </p:txBody>
        </p:sp>
        <p:pic>
          <p:nvPicPr>
            <p:cNvPr id="174" name="Picture 21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8259" y="4204042"/>
              <a:ext cx="388728" cy="2931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5" name="Picture 174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25656" y="3889079"/>
              <a:ext cx="483906" cy="470647"/>
            </a:xfrm>
            <a:prstGeom prst="rect">
              <a:avLst/>
            </a:prstGeom>
          </p:spPr>
        </p:pic>
        <p:grpSp>
          <p:nvGrpSpPr>
            <p:cNvPr id="176" name="Group 175"/>
            <p:cNvGrpSpPr/>
            <p:nvPr/>
          </p:nvGrpSpPr>
          <p:grpSpPr>
            <a:xfrm>
              <a:off x="5319639" y="4156990"/>
              <a:ext cx="176679" cy="172023"/>
              <a:chOff x="6038850" y="1933703"/>
              <a:chExt cx="971550" cy="886270"/>
            </a:xfrm>
          </p:grpSpPr>
          <p:sp>
            <p:nvSpPr>
              <p:cNvPr id="177" name="Oval 176"/>
              <p:cNvSpPr/>
              <p:nvPr/>
            </p:nvSpPr>
            <p:spPr>
              <a:xfrm>
                <a:off x="6324600" y="2419350"/>
                <a:ext cx="228600" cy="228600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  <p:sp>
            <p:nvSpPr>
              <p:cNvPr id="210" name="Arc 209"/>
              <p:cNvSpPr/>
              <p:nvPr/>
            </p:nvSpPr>
            <p:spPr>
              <a:xfrm>
                <a:off x="6172200" y="2266950"/>
                <a:ext cx="533400" cy="553023"/>
              </a:xfrm>
              <a:prstGeom prst="arc">
                <a:avLst>
                  <a:gd name="adj1" fmla="val 16300337"/>
                  <a:gd name="adj2" fmla="val 21390388"/>
                </a:avLst>
              </a:prstGeom>
              <a:ln>
                <a:solidFill>
                  <a:srgbClr val="FF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  <p:sp>
            <p:nvSpPr>
              <p:cNvPr id="211" name="Arc 210"/>
              <p:cNvSpPr/>
              <p:nvPr/>
            </p:nvSpPr>
            <p:spPr>
              <a:xfrm>
                <a:off x="6134100" y="2105726"/>
                <a:ext cx="723900" cy="714247"/>
              </a:xfrm>
              <a:prstGeom prst="arc">
                <a:avLst>
                  <a:gd name="adj1" fmla="val 16300337"/>
                  <a:gd name="adj2" fmla="val 21390388"/>
                </a:avLst>
              </a:prstGeom>
              <a:ln>
                <a:solidFill>
                  <a:srgbClr val="FF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  <p:sp>
            <p:nvSpPr>
              <p:cNvPr id="212" name="Arc 211"/>
              <p:cNvSpPr/>
              <p:nvPr/>
            </p:nvSpPr>
            <p:spPr>
              <a:xfrm>
                <a:off x="6038850" y="1933703"/>
                <a:ext cx="971550" cy="886270"/>
              </a:xfrm>
              <a:prstGeom prst="arc">
                <a:avLst>
                  <a:gd name="adj1" fmla="val 16300337"/>
                  <a:gd name="adj2" fmla="val 21390388"/>
                </a:avLst>
              </a:prstGeom>
              <a:ln>
                <a:solidFill>
                  <a:srgbClr val="FF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</p:grpSp>
        <p:grpSp>
          <p:nvGrpSpPr>
            <p:cNvPr id="213" name="Group 212"/>
            <p:cNvGrpSpPr/>
            <p:nvPr/>
          </p:nvGrpSpPr>
          <p:grpSpPr>
            <a:xfrm flipH="1">
              <a:off x="7521223" y="4145869"/>
              <a:ext cx="176679" cy="156385"/>
              <a:chOff x="6038850" y="1933703"/>
              <a:chExt cx="971550" cy="886270"/>
            </a:xfrm>
          </p:grpSpPr>
          <p:sp>
            <p:nvSpPr>
              <p:cNvPr id="214" name="Oval 213"/>
              <p:cNvSpPr/>
              <p:nvPr/>
            </p:nvSpPr>
            <p:spPr>
              <a:xfrm>
                <a:off x="6324600" y="2419350"/>
                <a:ext cx="228600" cy="228600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  <p:sp>
            <p:nvSpPr>
              <p:cNvPr id="215" name="Arc 214"/>
              <p:cNvSpPr/>
              <p:nvPr/>
            </p:nvSpPr>
            <p:spPr>
              <a:xfrm>
                <a:off x="6172200" y="2266950"/>
                <a:ext cx="533400" cy="553023"/>
              </a:xfrm>
              <a:prstGeom prst="arc">
                <a:avLst>
                  <a:gd name="adj1" fmla="val 16300337"/>
                  <a:gd name="adj2" fmla="val 21390388"/>
                </a:avLst>
              </a:prstGeom>
              <a:ln>
                <a:solidFill>
                  <a:srgbClr val="FF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  <p:sp>
            <p:nvSpPr>
              <p:cNvPr id="216" name="Arc 215"/>
              <p:cNvSpPr/>
              <p:nvPr/>
            </p:nvSpPr>
            <p:spPr>
              <a:xfrm>
                <a:off x="6134100" y="2105726"/>
                <a:ext cx="723900" cy="714247"/>
              </a:xfrm>
              <a:prstGeom prst="arc">
                <a:avLst>
                  <a:gd name="adj1" fmla="val 16300337"/>
                  <a:gd name="adj2" fmla="val 21390388"/>
                </a:avLst>
              </a:prstGeom>
              <a:ln>
                <a:solidFill>
                  <a:srgbClr val="FF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  <p:sp>
            <p:nvSpPr>
              <p:cNvPr id="217" name="Arc 216"/>
              <p:cNvSpPr/>
              <p:nvPr/>
            </p:nvSpPr>
            <p:spPr>
              <a:xfrm>
                <a:off x="6038850" y="1933703"/>
                <a:ext cx="971550" cy="886270"/>
              </a:xfrm>
              <a:prstGeom prst="arc">
                <a:avLst>
                  <a:gd name="adj1" fmla="val 16300337"/>
                  <a:gd name="adj2" fmla="val 21390388"/>
                </a:avLst>
              </a:prstGeom>
              <a:ln>
                <a:solidFill>
                  <a:srgbClr val="FF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</p:grpSp>
        <p:grpSp>
          <p:nvGrpSpPr>
            <p:cNvPr id="218" name="Group 217"/>
            <p:cNvGrpSpPr/>
            <p:nvPr/>
          </p:nvGrpSpPr>
          <p:grpSpPr>
            <a:xfrm>
              <a:off x="4929640" y="3839069"/>
              <a:ext cx="176679" cy="172023"/>
              <a:chOff x="6038850" y="1933703"/>
              <a:chExt cx="971550" cy="886270"/>
            </a:xfrm>
          </p:grpSpPr>
          <p:sp>
            <p:nvSpPr>
              <p:cNvPr id="219" name="Oval 218"/>
              <p:cNvSpPr/>
              <p:nvPr/>
            </p:nvSpPr>
            <p:spPr>
              <a:xfrm>
                <a:off x="6324600" y="2419350"/>
                <a:ext cx="228600" cy="228600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  <p:sp>
            <p:nvSpPr>
              <p:cNvPr id="220" name="Arc 219"/>
              <p:cNvSpPr/>
              <p:nvPr/>
            </p:nvSpPr>
            <p:spPr>
              <a:xfrm>
                <a:off x="6172200" y="2266950"/>
                <a:ext cx="533400" cy="553023"/>
              </a:xfrm>
              <a:prstGeom prst="arc">
                <a:avLst>
                  <a:gd name="adj1" fmla="val 16300337"/>
                  <a:gd name="adj2" fmla="val 21390388"/>
                </a:avLst>
              </a:prstGeom>
              <a:ln>
                <a:solidFill>
                  <a:srgbClr val="FF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  <p:sp>
            <p:nvSpPr>
              <p:cNvPr id="221" name="Arc 220"/>
              <p:cNvSpPr/>
              <p:nvPr/>
            </p:nvSpPr>
            <p:spPr>
              <a:xfrm>
                <a:off x="6134100" y="2105726"/>
                <a:ext cx="723900" cy="714247"/>
              </a:xfrm>
              <a:prstGeom prst="arc">
                <a:avLst>
                  <a:gd name="adj1" fmla="val 16300337"/>
                  <a:gd name="adj2" fmla="val 21390388"/>
                </a:avLst>
              </a:prstGeom>
              <a:ln>
                <a:solidFill>
                  <a:srgbClr val="FF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  <p:sp>
            <p:nvSpPr>
              <p:cNvPr id="222" name="Arc 221"/>
              <p:cNvSpPr/>
              <p:nvPr/>
            </p:nvSpPr>
            <p:spPr>
              <a:xfrm>
                <a:off x="6038850" y="1933703"/>
                <a:ext cx="971550" cy="886270"/>
              </a:xfrm>
              <a:prstGeom prst="arc">
                <a:avLst>
                  <a:gd name="adj1" fmla="val 16300337"/>
                  <a:gd name="adj2" fmla="val 21390388"/>
                </a:avLst>
              </a:prstGeom>
              <a:ln>
                <a:solidFill>
                  <a:srgbClr val="FF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</p:grpSp>
        <p:grpSp>
          <p:nvGrpSpPr>
            <p:cNvPr id="223" name="Group 222"/>
            <p:cNvGrpSpPr/>
            <p:nvPr/>
          </p:nvGrpSpPr>
          <p:grpSpPr>
            <a:xfrm>
              <a:off x="6224519" y="3977831"/>
              <a:ext cx="176679" cy="172023"/>
              <a:chOff x="6038850" y="1933703"/>
              <a:chExt cx="971550" cy="886270"/>
            </a:xfrm>
          </p:grpSpPr>
          <p:sp>
            <p:nvSpPr>
              <p:cNvPr id="224" name="Oval 223"/>
              <p:cNvSpPr/>
              <p:nvPr/>
            </p:nvSpPr>
            <p:spPr>
              <a:xfrm>
                <a:off x="6324600" y="2419350"/>
                <a:ext cx="228600" cy="228600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  <p:sp>
            <p:nvSpPr>
              <p:cNvPr id="225" name="Arc 224"/>
              <p:cNvSpPr/>
              <p:nvPr/>
            </p:nvSpPr>
            <p:spPr>
              <a:xfrm>
                <a:off x="6172200" y="2266950"/>
                <a:ext cx="533400" cy="553023"/>
              </a:xfrm>
              <a:prstGeom prst="arc">
                <a:avLst>
                  <a:gd name="adj1" fmla="val 16300337"/>
                  <a:gd name="adj2" fmla="val 21390388"/>
                </a:avLst>
              </a:prstGeom>
              <a:ln>
                <a:solidFill>
                  <a:srgbClr val="FF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  <p:sp>
            <p:nvSpPr>
              <p:cNvPr id="226" name="Arc 225"/>
              <p:cNvSpPr/>
              <p:nvPr/>
            </p:nvSpPr>
            <p:spPr>
              <a:xfrm>
                <a:off x="6134100" y="2105726"/>
                <a:ext cx="723900" cy="714247"/>
              </a:xfrm>
              <a:prstGeom prst="arc">
                <a:avLst>
                  <a:gd name="adj1" fmla="val 16300337"/>
                  <a:gd name="adj2" fmla="val 21390388"/>
                </a:avLst>
              </a:prstGeom>
              <a:ln>
                <a:solidFill>
                  <a:srgbClr val="FF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  <p:sp>
            <p:nvSpPr>
              <p:cNvPr id="227" name="Arc 226"/>
              <p:cNvSpPr/>
              <p:nvPr/>
            </p:nvSpPr>
            <p:spPr>
              <a:xfrm>
                <a:off x="6038850" y="1933703"/>
                <a:ext cx="971550" cy="886270"/>
              </a:xfrm>
              <a:prstGeom prst="arc">
                <a:avLst>
                  <a:gd name="adj1" fmla="val 16300337"/>
                  <a:gd name="adj2" fmla="val 21390388"/>
                </a:avLst>
              </a:prstGeom>
              <a:ln>
                <a:solidFill>
                  <a:srgbClr val="FF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</p:grpSp>
        <p:grpSp>
          <p:nvGrpSpPr>
            <p:cNvPr id="228" name="Group 227"/>
            <p:cNvGrpSpPr/>
            <p:nvPr/>
          </p:nvGrpSpPr>
          <p:grpSpPr>
            <a:xfrm flipH="1">
              <a:off x="7878079" y="3905844"/>
              <a:ext cx="176679" cy="156385"/>
              <a:chOff x="6038850" y="1933703"/>
              <a:chExt cx="971550" cy="886270"/>
            </a:xfrm>
          </p:grpSpPr>
          <p:sp>
            <p:nvSpPr>
              <p:cNvPr id="229" name="Oval 228"/>
              <p:cNvSpPr/>
              <p:nvPr/>
            </p:nvSpPr>
            <p:spPr>
              <a:xfrm>
                <a:off x="6324600" y="2419350"/>
                <a:ext cx="228600" cy="228600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  <p:sp>
            <p:nvSpPr>
              <p:cNvPr id="230" name="Arc 229"/>
              <p:cNvSpPr/>
              <p:nvPr/>
            </p:nvSpPr>
            <p:spPr>
              <a:xfrm>
                <a:off x="6172200" y="2266950"/>
                <a:ext cx="533400" cy="553023"/>
              </a:xfrm>
              <a:prstGeom prst="arc">
                <a:avLst>
                  <a:gd name="adj1" fmla="val 16300337"/>
                  <a:gd name="adj2" fmla="val 21390388"/>
                </a:avLst>
              </a:prstGeom>
              <a:ln>
                <a:solidFill>
                  <a:srgbClr val="FF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  <p:sp>
            <p:nvSpPr>
              <p:cNvPr id="231" name="Arc 230"/>
              <p:cNvSpPr/>
              <p:nvPr/>
            </p:nvSpPr>
            <p:spPr>
              <a:xfrm>
                <a:off x="6134100" y="2105726"/>
                <a:ext cx="723900" cy="714247"/>
              </a:xfrm>
              <a:prstGeom prst="arc">
                <a:avLst>
                  <a:gd name="adj1" fmla="val 16300337"/>
                  <a:gd name="adj2" fmla="val 21390388"/>
                </a:avLst>
              </a:prstGeom>
              <a:ln>
                <a:solidFill>
                  <a:srgbClr val="FF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  <p:sp>
            <p:nvSpPr>
              <p:cNvPr id="232" name="Arc 231"/>
              <p:cNvSpPr/>
              <p:nvPr/>
            </p:nvSpPr>
            <p:spPr>
              <a:xfrm>
                <a:off x="6038850" y="1933703"/>
                <a:ext cx="971550" cy="886270"/>
              </a:xfrm>
              <a:prstGeom prst="arc">
                <a:avLst>
                  <a:gd name="adj1" fmla="val 16300337"/>
                  <a:gd name="adj2" fmla="val 21390388"/>
                </a:avLst>
              </a:prstGeom>
              <a:ln>
                <a:solidFill>
                  <a:srgbClr val="FF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</p:grpSp>
        <p:grpSp>
          <p:nvGrpSpPr>
            <p:cNvPr id="233" name="Group 232"/>
            <p:cNvGrpSpPr/>
            <p:nvPr/>
          </p:nvGrpSpPr>
          <p:grpSpPr>
            <a:xfrm flipH="1">
              <a:off x="6759223" y="3977831"/>
              <a:ext cx="176679" cy="172023"/>
              <a:chOff x="6038850" y="1933703"/>
              <a:chExt cx="971550" cy="886270"/>
            </a:xfrm>
          </p:grpSpPr>
          <p:sp>
            <p:nvSpPr>
              <p:cNvPr id="234" name="Oval 233"/>
              <p:cNvSpPr/>
              <p:nvPr/>
            </p:nvSpPr>
            <p:spPr>
              <a:xfrm>
                <a:off x="6324600" y="2419350"/>
                <a:ext cx="228600" cy="228600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  <p:sp>
            <p:nvSpPr>
              <p:cNvPr id="235" name="Arc 234"/>
              <p:cNvSpPr/>
              <p:nvPr/>
            </p:nvSpPr>
            <p:spPr>
              <a:xfrm>
                <a:off x="6172200" y="2266950"/>
                <a:ext cx="533400" cy="553023"/>
              </a:xfrm>
              <a:prstGeom prst="arc">
                <a:avLst>
                  <a:gd name="adj1" fmla="val 16300337"/>
                  <a:gd name="adj2" fmla="val 21390388"/>
                </a:avLst>
              </a:prstGeom>
              <a:ln>
                <a:solidFill>
                  <a:srgbClr val="FF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  <p:sp>
            <p:nvSpPr>
              <p:cNvPr id="236" name="Arc 235"/>
              <p:cNvSpPr/>
              <p:nvPr/>
            </p:nvSpPr>
            <p:spPr>
              <a:xfrm>
                <a:off x="6134100" y="2105726"/>
                <a:ext cx="723900" cy="714247"/>
              </a:xfrm>
              <a:prstGeom prst="arc">
                <a:avLst>
                  <a:gd name="adj1" fmla="val 16300337"/>
                  <a:gd name="adj2" fmla="val 21390388"/>
                </a:avLst>
              </a:prstGeom>
              <a:ln>
                <a:solidFill>
                  <a:srgbClr val="FF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  <p:sp>
            <p:nvSpPr>
              <p:cNvPr id="237" name="Arc 236"/>
              <p:cNvSpPr/>
              <p:nvPr/>
            </p:nvSpPr>
            <p:spPr>
              <a:xfrm>
                <a:off x="6038850" y="1933703"/>
                <a:ext cx="971550" cy="886270"/>
              </a:xfrm>
              <a:prstGeom prst="arc">
                <a:avLst>
                  <a:gd name="adj1" fmla="val 16300337"/>
                  <a:gd name="adj2" fmla="val 21390388"/>
                </a:avLst>
              </a:prstGeom>
              <a:ln>
                <a:solidFill>
                  <a:srgbClr val="FF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</p:grpSp>
        <p:sp>
          <p:nvSpPr>
            <p:cNvPr id="238" name="Round Same Side Corner Rectangle 237"/>
            <p:cNvSpPr/>
            <p:nvPr/>
          </p:nvSpPr>
          <p:spPr>
            <a:xfrm flipV="1">
              <a:off x="4549424" y="2749218"/>
              <a:ext cx="4114799" cy="1037927"/>
            </a:xfrm>
            <a:prstGeom prst="round2SameRect">
              <a:avLst/>
            </a:prstGeom>
            <a:solidFill>
              <a:srgbClr val="3A67AB">
                <a:alpha val="48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239" name="Freeform 238"/>
            <p:cNvSpPr/>
            <p:nvPr/>
          </p:nvSpPr>
          <p:spPr>
            <a:xfrm flipH="1">
              <a:off x="7905792" y="3549004"/>
              <a:ext cx="259576" cy="323453"/>
            </a:xfrm>
            <a:custGeom>
              <a:avLst/>
              <a:gdLst>
                <a:gd name="connsiteX0" fmla="*/ 218285 w 218285"/>
                <a:gd name="connsiteY0" fmla="*/ 0 h 515921"/>
                <a:gd name="connsiteX1" fmla="*/ 138908 w 218285"/>
                <a:gd name="connsiteY1" fmla="*/ 92601 h 515921"/>
                <a:gd name="connsiteX2" fmla="*/ 79376 w 218285"/>
                <a:gd name="connsiteY2" fmla="*/ 231503 h 515921"/>
                <a:gd name="connsiteX3" fmla="*/ 0 w 218285"/>
                <a:gd name="connsiteY3" fmla="*/ 515921 h 515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285" h="515921">
                  <a:moveTo>
                    <a:pt x="218285" y="0"/>
                  </a:moveTo>
                  <a:cubicBezTo>
                    <a:pt x="190172" y="27008"/>
                    <a:pt x="162059" y="54017"/>
                    <a:pt x="138908" y="92601"/>
                  </a:cubicBezTo>
                  <a:cubicBezTo>
                    <a:pt x="115757" y="131185"/>
                    <a:pt x="102527" y="160950"/>
                    <a:pt x="79376" y="231503"/>
                  </a:cubicBezTo>
                  <a:cubicBezTo>
                    <a:pt x="56225" y="302056"/>
                    <a:pt x="0" y="515921"/>
                    <a:pt x="0" y="515921"/>
                  </a:cubicBezTo>
                </a:path>
              </a:pathLst>
            </a:custGeom>
            <a:ln w="12700" cmpd="sng">
              <a:solidFill>
                <a:srgbClr val="6D6F7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>
                <a:defRPr/>
              </a:pPr>
              <a:endParaRPr lang="en-US">
                <a:latin typeface="HelvNeue for IBM Medium"/>
              </a:endParaRPr>
            </a:p>
          </p:txBody>
        </p:sp>
        <p:sp>
          <p:nvSpPr>
            <p:cNvPr id="240" name="Freeform 239"/>
            <p:cNvSpPr/>
            <p:nvPr/>
          </p:nvSpPr>
          <p:spPr>
            <a:xfrm>
              <a:off x="4878674" y="3504946"/>
              <a:ext cx="204149" cy="375415"/>
            </a:xfrm>
            <a:custGeom>
              <a:avLst/>
              <a:gdLst>
                <a:gd name="connsiteX0" fmla="*/ 218285 w 218285"/>
                <a:gd name="connsiteY0" fmla="*/ 0 h 515921"/>
                <a:gd name="connsiteX1" fmla="*/ 138908 w 218285"/>
                <a:gd name="connsiteY1" fmla="*/ 92601 h 515921"/>
                <a:gd name="connsiteX2" fmla="*/ 79376 w 218285"/>
                <a:gd name="connsiteY2" fmla="*/ 231503 h 515921"/>
                <a:gd name="connsiteX3" fmla="*/ 0 w 218285"/>
                <a:gd name="connsiteY3" fmla="*/ 515921 h 515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285" h="515921">
                  <a:moveTo>
                    <a:pt x="218285" y="0"/>
                  </a:moveTo>
                  <a:cubicBezTo>
                    <a:pt x="190172" y="27008"/>
                    <a:pt x="162059" y="54017"/>
                    <a:pt x="138908" y="92601"/>
                  </a:cubicBezTo>
                  <a:cubicBezTo>
                    <a:pt x="115757" y="131185"/>
                    <a:pt x="102527" y="160950"/>
                    <a:pt x="79376" y="231503"/>
                  </a:cubicBezTo>
                  <a:cubicBezTo>
                    <a:pt x="56225" y="302056"/>
                    <a:pt x="0" y="515921"/>
                    <a:pt x="0" y="515921"/>
                  </a:cubicBezTo>
                </a:path>
              </a:pathLst>
            </a:custGeom>
            <a:ln w="12700" cmpd="sng">
              <a:solidFill>
                <a:srgbClr val="6D6F7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>
                <a:defRPr/>
              </a:pPr>
              <a:endParaRPr lang="en-US">
                <a:latin typeface="HelvNeue for IBM Medium"/>
              </a:endParaRPr>
            </a:p>
          </p:txBody>
        </p:sp>
        <p:pic>
          <p:nvPicPr>
            <p:cNvPr id="241" name="Picture 240"/>
            <p:cNvPicPr>
              <a:picLocks noChangeAspect="1"/>
            </p:cNvPicPr>
            <p:nvPr/>
          </p:nvPicPr>
          <p:blipFill>
            <a:blip r:embed="rId8">
              <a:lum bright="70000" contrast="-70000"/>
            </a:blip>
            <a:stretch>
              <a:fillRect/>
            </a:stretch>
          </p:blipFill>
          <p:spPr>
            <a:xfrm>
              <a:off x="4778024" y="2849484"/>
              <a:ext cx="3756024" cy="930045"/>
            </a:xfrm>
            <a:prstGeom prst="rect">
              <a:avLst/>
            </a:prstGeom>
          </p:spPr>
        </p:pic>
        <p:sp>
          <p:nvSpPr>
            <p:cNvPr id="242" name="TextBox 23"/>
            <p:cNvSpPr txBox="1">
              <a:spLocks noChangeArrowheads="1"/>
            </p:cNvSpPr>
            <p:nvPr/>
          </p:nvSpPr>
          <p:spPr bwMode="auto">
            <a:xfrm>
              <a:off x="5554907" y="2980551"/>
              <a:ext cx="222055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sz="1200" dirty="0" smtClean="0">
                  <a:latin typeface="HelvNeue for IBM Medium"/>
                </a:rPr>
                <a:t>IBM Watson IoT Platform</a:t>
              </a:r>
              <a:endParaRPr lang="en-US" sz="1200" dirty="0">
                <a:latin typeface="HelvNeue for IBM Medium"/>
              </a:endParaRPr>
            </a:p>
          </p:txBody>
        </p:sp>
        <p:pic>
          <p:nvPicPr>
            <p:cNvPr id="243" name="Picture 242"/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5412" b="89691" l="20656" r="79537">
                          <a14:foregroundMark x1="50579" y1="19330" x2="50579" y2="19330"/>
                          <a14:foregroundMark x1="62548" y1="22938" x2="62548" y2="22938"/>
                          <a14:foregroundMark x1="74903" y1="33247" x2="74903" y2="33247"/>
                          <a14:foregroundMark x1="36680" y1="22165" x2="36680" y2="22165"/>
                          <a14:foregroundMark x1="27992" y1="35309" x2="27992" y2="35309"/>
                          <a14:backgroundMark x1="36873" y1="42010" x2="36873" y2="42010"/>
                          <a14:backgroundMark x1="40347" y1="51031" x2="40347" y2="51031"/>
                          <a14:backgroundMark x1="40541" y1="58505" x2="40541" y2="58505"/>
                          <a14:backgroundMark x1="37452" y1="68814" x2="37452" y2="68814"/>
                          <a14:backgroundMark x1="48649" y1="70361" x2="48649" y2="70361"/>
                          <a14:backgroundMark x1="50193" y1="57990" x2="50193" y2="57990"/>
                          <a14:backgroundMark x1="50772" y1="44845" x2="50772" y2="44845"/>
                          <a14:backgroundMark x1="59846" y1="43299" x2="59846" y2="43299"/>
                          <a14:backgroundMark x1="59073" y1="56443" x2="59073" y2="56443"/>
                          <a14:backgroundMark x1="55212" y1="66753" x2="55212" y2="66753"/>
                          <a14:backgroundMark x1="60618" y1="72165" x2="60618" y2="72165"/>
                          <a14:backgroundMark x1="52317" y1="79897" x2="52317" y2="79897"/>
                          <a14:backgroundMark x1="46139" y1="79897" x2="46139" y2="79897"/>
                          <a14:backgroundMark x1="68147" y1="61340" x2="68147" y2="61340"/>
                          <a14:backgroundMark x1="48069" y1="33247" x2="48069" y2="33247"/>
                          <a14:backgroundMark x1="53861" y1="35309" x2="53861" y2="35309"/>
                          <a14:backgroundMark x1="53668" y1="39433" x2="53668" y2="39433"/>
                          <a14:backgroundMark x1="32239" y1="52320" x2="32239" y2="52320"/>
                          <a14:backgroundMark x1="32239" y1="59794" x2="32239" y2="59794"/>
                          <a14:backgroundMark x1="45174" y1="75258" x2="45174" y2="75258"/>
                          <a14:backgroundMark x1="42085" y1="66237" x2="42085" y2="66237"/>
                          <a14:backgroundMark x1="42471" y1="79381" x2="42471" y2="79381"/>
                          <a14:backgroundMark x1="64479" y1="53093" x2="64479" y2="53093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857838" y="3304805"/>
              <a:ext cx="476926" cy="357235"/>
            </a:xfrm>
            <a:prstGeom prst="rect">
              <a:avLst/>
            </a:prstGeom>
          </p:spPr>
        </p:pic>
        <p:pic>
          <p:nvPicPr>
            <p:cNvPr id="244" name="Picture 243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594144" y="3381356"/>
              <a:ext cx="239415" cy="239415"/>
            </a:xfrm>
            <a:prstGeom prst="rect">
              <a:avLst/>
            </a:prstGeom>
          </p:spPr>
        </p:pic>
        <p:pic>
          <p:nvPicPr>
            <p:cNvPr id="245" name="Picture 244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149623" y="3335375"/>
              <a:ext cx="291592" cy="291592"/>
            </a:xfrm>
            <a:prstGeom prst="rect">
              <a:avLst/>
            </a:prstGeom>
          </p:spPr>
        </p:pic>
        <p:pic>
          <p:nvPicPr>
            <p:cNvPr id="246" name="Picture 245"/>
            <p:cNvPicPr>
              <a:picLocks noChangeAspect="1"/>
            </p:cNvPicPr>
            <p:nvPr/>
          </p:nvPicPr>
          <p:blipFill>
            <a:blip r:embed="rId8"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5242815" y="3277484"/>
              <a:ext cx="705845" cy="329855"/>
            </a:xfrm>
            <a:prstGeom prst="rect">
              <a:avLst/>
            </a:prstGeom>
          </p:spPr>
        </p:pic>
        <p:pic>
          <p:nvPicPr>
            <p:cNvPr id="247" name="Picture 246"/>
            <p:cNvPicPr>
              <a:picLocks noChangeAspect="1"/>
            </p:cNvPicPr>
            <p:nvPr/>
          </p:nvPicPr>
          <p:blipFill>
            <a:blip r:embed="rId8">
              <a:duotone>
                <a:prstClr val="black"/>
                <a:schemeClr val="accent5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7521221" y="3254063"/>
              <a:ext cx="690619" cy="329855"/>
            </a:xfrm>
            <a:prstGeom prst="rect">
              <a:avLst/>
            </a:prstGeom>
          </p:spPr>
        </p:pic>
        <p:sp>
          <p:nvSpPr>
            <p:cNvPr id="248" name="Rounded Rectangle 247"/>
            <p:cNvSpPr/>
            <p:nvPr/>
          </p:nvSpPr>
          <p:spPr>
            <a:xfrm>
              <a:off x="4549423" y="745927"/>
              <a:ext cx="4114800" cy="3024496"/>
            </a:xfrm>
            <a:prstGeom prst="roundRect">
              <a:avLst>
                <a:gd name="adj" fmla="val 6986"/>
              </a:avLst>
            </a:prstGeom>
            <a:noFill/>
            <a:ln>
              <a:solidFill>
                <a:schemeClr val="tx2">
                  <a:lumMod val="40000"/>
                  <a:lumOff val="60000"/>
                </a:schemeClr>
              </a:solidFill>
              <a:prstDash val="sys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solidFill>
                  <a:srgbClr val="FFFFFF"/>
                </a:solidFill>
                <a:latin typeface="HelvNeue for IBM Medium"/>
              </a:endParaRPr>
            </a:p>
          </p:txBody>
        </p:sp>
        <p:sp>
          <p:nvSpPr>
            <p:cNvPr id="249" name="Round Same Side Corner Rectangle 248"/>
            <p:cNvSpPr/>
            <p:nvPr/>
          </p:nvSpPr>
          <p:spPr>
            <a:xfrm>
              <a:off x="4549424" y="745927"/>
              <a:ext cx="4114800" cy="1131580"/>
            </a:xfrm>
            <a:prstGeom prst="round2SameRect">
              <a:avLst/>
            </a:prstGeom>
            <a:solidFill>
              <a:srgbClr val="4BB099">
                <a:alpha val="5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pic>
          <p:nvPicPr>
            <p:cNvPr id="250" name="Picture 67" descr="3-blue2.ai-01.eps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5222" y="1255713"/>
              <a:ext cx="623887" cy="554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1" name="Picture 68" descr="4-blue2.ai-01.eps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84225" y="1015353"/>
              <a:ext cx="625475" cy="554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2" name="Picture 71" descr="7-blue2.ai-01.eps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4816" y="1255713"/>
              <a:ext cx="623887" cy="554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3" name="Picture 79" descr="15-blue2.ai-01.eps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3818" y="1015353"/>
              <a:ext cx="625475" cy="554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4" name="Picture 83" descr="19-blue2.ai-01.eps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44631" y="1015353"/>
              <a:ext cx="625475" cy="554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5" name="Picture 89" descr="25-blue2.ai-01.eps"/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24040" y="1240554"/>
              <a:ext cx="625475" cy="554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56" name="Group 255"/>
            <p:cNvGrpSpPr/>
            <p:nvPr/>
          </p:nvGrpSpPr>
          <p:grpSpPr>
            <a:xfrm>
              <a:off x="5006624" y="1013765"/>
              <a:ext cx="622300" cy="557212"/>
              <a:chOff x="5416550" y="2798763"/>
              <a:chExt cx="622300" cy="557212"/>
            </a:xfrm>
          </p:grpSpPr>
          <p:pic>
            <p:nvPicPr>
              <p:cNvPr id="257" name="Picture 61" descr="1-blue hex.ai-01.eps"/>
              <p:cNvPicPr>
                <a:picLocks noChangeAspect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16550" y="2798763"/>
                <a:ext cx="622300" cy="5572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58" name="Picture 50" descr="SP_Picto_White_E&amp;U_OilDrill"/>
              <p:cNvPicPr>
                <a:picLocks noChangeAspect="1" noChangeArrowheads="1"/>
              </p:cNvPicPr>
              <p:nvPr/>
            </p:nvPicPr>
            <p:blipFill>
              <a:blip r:embed="rId2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67363" y="2917825"/>
                <a:ext cx="320675" cy="3190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59" name="TextBox 258"/>
            <p:cNvSpPr txBox="1"/>
            <p:nvPr/>
          </p:nvSpPr>
          <p:spPr>
            <a:xfrm>
              <a:off x="5442276" y="742950"/>
              <a:ext cx="239530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 smtClean="0">
                  <a:latin typeface="HelvNeue for IBM Medium"/>
                  <a:cs typeface="Gill Sans"/>
                </a:rPr>
                <a:t>IBM Watson IoT Solutions</a:t>
              </a:r>
              <a:endParaRPr lang="en-US" sz="1400" dirty="0">
                <a:latin typeface="HelvNeue for IBM Medium"/>
                <a:cs typeface="Gill Sans"/>
              </a:endParaRPr>
            </a:p>
          </p:txBody>
        </p:sp>
        <p:sp>
          <p:nvSpPr>
            <p:cNvPr id="260" name="Rectangle 259"/>
            <p:cNvSpPr/>
            <p:nvPr/>
          </p:nvSpPr>
          <p:spPr>
            <a:xfrm>
              <a:off x="4543327" y="1877506"/>
              <a:ext cx="4114799" cy="868896"/>
            </a:xfrm>
            <a:prstGeom prst="rect">
              <a:avLst/>
            </a:prstGeom>
            <a:solidFill>
              <a:srgbClr val="90C119">
                <a:alpha val="5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grpSp>
          <p:nvGrpSpPr>
            <p:cNvPr id="261" name="Group 260"/>
            <p:cNvGrpSpPr/>
            <p:nvPr/>
          </p:nvGrpSpPr>
          <p:grpSpPr>
            <a:xfrm>
              <a:off x="4432303" y="1877506"/>
              <a:ext cx="4379825" cy="925821"/>
              <a:chOff x="4689577" y="1456551"/>
              <a:chExt cx="4379825" cy="925821"/>
            </a:xfrm>
          </p:grpSpPr>
          <p:sp>
            <p:nvSpPr>
              <p:cNvPr id="262" name="TextBox 261"/>
              <p:cNvSpPr txBox="1"/>
              <p:nvPr/>
            </p:nvSpPr>
            <p:spPr>
              <a:xfrm>
                <a:off x="7768774" y="1572951"/>
                <a:ext cx="1300628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 smtClean="0">
                    <a:latin typeface="HelvNeue for IBM Medium"/>
                  </a:rPr>
                  <a:t> Facilities </a:t>
                </a:r>
                <a:r>
                  <a:rPr lang="en-US" sz="1100" dirty="0" err="1" smtClean="0">
                    <a:latin typeface="HelvNeue for IBM Medium"/>
                  </a:rPr>
                  <a:t>Mgmt</a:t>
                </a:r>
                <a:endParaRPr lang="en-US" sz="1100" dirty="0">
                  <a:latin typeface="HelvNeue for IBM Medium"/>
                </a:endParaRPr>
              </a:p>
            </p:txBody>
          </p:sp>
          <p:sp>
            <p:nvSpPr>
              <p:cNvPr id="263" name="TextBox 262"/>
              <p:cNvSpPr txBox="1"/>
              <p:nvPr/>
            </p:nvSpPr>
            <p:spPr>
              <a:xfrm>
                <a:off x="6422834" y="1472195"/>
                <a:ext cx="1478481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 smtClean="0">
                    <a:latin typeface="HelvNeue for IBM Medium"/>
                  </a:rPr>
                  <a:t>Asset Performance</a:t>
                </a:r>
                <a:endParaRPr lang="en-US" sz="1100" dirty="0">
                  <a:latin typeface="HelvNeue for IBM Medium"/>
                </a:endParaRPr>
              </a:p>
            </p:txBody>
          </p:sp>
          <p:sp>
            <p:nvSpPr>
              <p:cNvPr id="264" name="TextBox 263"/>
              <p:cNvSpPr txBox="1"/>
              <p:nvPr/>
            </p:nvSpPr>
            <p:spPr>
              <a:xfrm>
                <a:off x="6383629" y="2027185"/>
                <a:ext cx="1574199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 smtClean="0">
                    <a:latin typeface="HelvNeue for IBM Medium"/>
                  </a:rPr>
                  <a:t>Connected Products</a:t>
                </a:r>
                <a:endParaRPr lang="en-US" sz="1100" dirty="0">
                  <a:latin typeface="HelvNeue for IBM Medium"/>
                </a:endParaRPr>
              </a:p>
            </p:txBody>
          </p:sp>
          <p:sp>
            <p:nvSpPr>
              <p:cNvPr id="265" name="TextBox 264"/>
              <p:cNvSpPr txBox="1"/>
              <p:nvPr/>
            </p:nvSpPr>
            <p:spPr>
              <a:xfrm>
                <a:off x="7648674" y="1891903"/>
                <a:ext cx="979347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 smtClean="0">
                    <a:latin typeface="HelvNeue for IBM Medium"/>
                  </a:rPr>
                  <a:t>Work </a:t>
                </a:r>
                <a:r>
                  <a:rPr lang="en-US" sz="1100" dirty="0" err="1" smtClean="0">
                    <a:latin typeface="HelvNeue for IBM Medium"/>
                  </a:rPr>
                  <a:t>Mgmt</a:t>
                </a:r>
                <a:endParaRPr lang="en-US" sz="1100" dirty="0">
                  <a:latin typeface="HelvNeue for IBM Medium"/>
                </a:endParaRPr>
              </a:p>
            </p:txBody>
          </p:sp>
          <p:sp>
            <p:nvSpPr>
              <p:cNvPr id="266" name="TextBox 265"/>
              <p:cNvSpPr txBox="1"/>
              <p:nvPr/>
            </p:nvSpPr>
            <p:spPr>
              <a:xfrm>
                <a:off x="6826602" y="1724373"/>
                <a:ext cx="1322766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 smtClean="0">
                    <a:latin typeface="HelvNeue for IBM Medium"/>
                  </a:rPr>
                  <a:t>Health &amp; Safety</a:t>
                </a:r>
                <a:endParaRPr lang="en-US" sz="1100" dirty="0">
                  <a:latin typeface="HelvNeue for IBM Medium"/>
                </a:endParaRPr>
              </a:p>
            </p:txBody>
          </p:sp>
          <p:cxnSp>
            <p:nvCxnSpPr>
              <p:cNvPr id="267" name="Straight Connector 266"/>
              <p:cNvCxnSpPr/>
              <p:nvPr/>
            </p:nvCxnSpPr>
            <p:spPr>
              <a:xfrm flipV="1">
                <a:off x="6015150" y="1650995"/>
                <a:ext cx="457200" cy="2401"/>
              </a:xfrm>
              <a:prstGeom prst="line">
                <a:avLst/>
              </a:prstGeom>
              <a:ln>
                <a:solidFill>
                  <a:srgbClr val="4BB099"/>
                </a:solidFill>
                <a:tailEnd type="diamon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Straight Connector 267"/>
              <p:cNvCxnSpPr/>
              <p:nvPr/>
            </p:nvCxnSpPr>
            <p:spPr>
              <a:xfrm>
                <a:off x="6101905" y="1860395"/>
                <a:ext cx="761043" cy="0"/>
              </a:xfrm>
              <a:prstGeom prst="line">
                <a:avLst/>
              </a:prstGeom>
              <a:ln>
                <a:solidFill>
                  <a:srgbClr val="4BB099"/>
                </a:solidFill>
                <a:tailEnd type="diamon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Straight Connector 268"/>
              <p:cNvCxnSpPr/>
              <p:nvPr/>
            </p:nvCxnSpPr>
            <p:spPr>
              <a:xfrm flipV="1">
                <a:off x="6087150" y="2087313"/>
                <a:ext cx="365760" cy="2401"/>
              </a:xfrm>
              <a:prstGeom prst="line">
                <a:avLst/>
              </a:prstGeom>
              <a:ln>
                <a:solidFill>
                  <a:srgbClr val="4BB099"/>
                </a:solidFill>
                <a:tailEnd type="diamon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0" name="Straight Connector 269"/>
              <p:cNvCxnSpPr/>
              <p:nvPr/>
            </p:nvCxnSpPr>
            <p:spPr>
              <a:xfrm flipV="1">
                <a:off x="6087150" y="1993700"/>
                <a:ext cx="1596935" cy="2402"/>
              </a:xfrm>
              <a:prstGeom prst="line">
                <a:avLst/>
              </a:prstGeom>
              <a:ln>
                <a:solidFill>
                  <a:srgbClr val="4BB099"/>
                </a:solidFill>
                <a:tailEnd type="diamon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1" name="Straight Connector 270"/>
              <p:cNvCxnSpPr/>
              <p:nvPr/>
            </p:nvCxnSpPr>
            <p:spPr>
              <a:xfrm>
                <a:off x="6087150" y="1740362"/>
                <a:ext cx="1761448" cy="1"/>
              </a:xfrm>
              <a:prstGeom prst="line">
                <a:avLst/>
              </a:prstGeom>
              <a:ln>
                <a:solidFill>
                  <a:srgbClr val="4BB099"/>
                </a:solidFill>
                <a:tailEnd type="diamon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272" name="Picture 271"/>
              <p:cNvPicPr>
                <a:picLocks noChangeAspect="1"/>
              </p:cNvPicPr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5776323" y="1627239"/>
                <a:ext cx="487311" cy="487311"/>
              </a:xfrm>
              <a:prstGeom prst="rect">
                <a:avLst/>
              </a:prstGeom>
            </p:spPr>
          </p:pic>
          <p:sp>
            <p:nvSpPr>
              <p:cNvPr id="273" name="Arc 272"/>
              <p:cNvSpPr/>
              <p:nvPr/>
            </p:nvSpPr>
            <p:spPr>
              <a:xfrm rot="15844068">
                <a:off x="5691202" y="1700923"/>
                <a:ext cx="460074" cy="351794"/>
              </a:xfrm>
              <a:prstGeom prst="arc">
                <a:avLst>
                  <a:gd name="adj1" fmla="val 16953931"/>
                  <a:gd name="adj2" fmla="val 21023047"/>
                </a:avLst>
              </a:prstGeom>
              <a:ln>
                <a:solidFill>
                  <a:srgbClr val="4BB099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  <p:sp>
            <p:nvSpPr>
              <p:cNvPr id="274" name="Arc 273"/>
              <p:cNvSpPr/>
              <p:nvPr/>
            </p:nvSpPr>
            <p:spPr>
              <a:xfrm rot="12239832">
                <a:off x="5744762" y="1786329"/>
                <a:ext cx="460074" cy="351794"/>
              </a:xfrm>
              <a:prstGeom prst="arc">
                <a:avLst>
                  <a:gd name="adj1" fmla="val 16953931"/>
                  <a:gd name="adj2" fmla="val 21023047"/>
                </a:avLst>
              </a:prstGeom>
              <a:ln>
                <a:solidFill>
                  <a:srgbClr val="4BB099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  <p:cxnSp>
            <p:nvCxnSpPr>
              <p:cNvPr id="275" name="Straight Connector 274"/>
              <p:cNvCxnSpPr/>
              <p:nvPr/>
            </p:nvCxnSpPr>
            <p:spPr>
              <a:xfrm flipH="1" flipV="1">
                <a:off x="5647016" y="1682750"/>
                <a:ext cx="129307" cy="42488"/>
              </a:xfrm>
              <a:prstGeom prst="line">
                <a:avLst/>
              </a:prstGeom>
              <a:ln w="28575" cmpd="sng">
                <a:solidFill>
                  <a:srgbClr val="4BB099"/>
                </a:solidFill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276" name="Straight Connector 275"/>
              <p:cNvCxnSpPr/>
              <p:nvPr/>
            </p:nvCxnSpPr>
            <p:spPr>
              <a:xfrm flipH="1">
                <a:off x="5671266" y="2008803"/>
                <a:ext cx="112988" cy="78510"/>
              </a:xfrm>
              <a:prstGeom prst="line">
                <a:avLst/>
              </a:prstGeom>
              <a:ln w="28575" cmpd="sng">
                <a:solidFill>
                  <a:srgbClr val="4BB099"/>
                </a:solidFill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277" name="TextBox 276"/>
              <p:cNvSpPr txBox="1"/>
              <p:nvPr/>
            </p:nvSpPr>
            <p:spPr>
              <a:xfrm>
                <a:off x="4689577" y="1456551"/>
                <a:ext cx="1009403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200" dirty="0" smtClean="0">
                    <a:latin typeface="HelvNeue for IBM Medium"/>
                  </a:rPr>
                  <a:t>Operations</a:t>
                </a:r>
                <a:endParaRPr lang="en-US" sz="1200" dirty="0">
                  <a:latin typeface="HelvNeue for IBM Medium"/>
                </a:endParaRPr>
              </a:p>
            </p:txBody>
          </p:sp>
          <p:sp>
            <p:nvSpPr>
              <p:cNvPr id="278" name="TextBox 277"/>
              <p:cNvSpPr txBox="1"/>
              <p:nvPr/>
            </p:nvSpPr>
            <p:spPr>
              <a:xfrm>
                <a:off x="4693002" y="1920707"/>
                <a:ext cx="1078689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200" dirty="0" smtClean="0">
                    <a:latin typeface="HelvNeue for IBM Medium"/>
                  </a:rPr>
                  <a:t>Product</a:t>
                </a:r>
              </a:p>
              <a:p>
                <a:pPr algn="r"/>
                <a:r>
                  <a:rPr lang="en-US" sz="1200" dirty="0" smtClean="0">
                    <a:latin typeface="HelvNeue for IBM Medium"/>
                  </a:rPr>
                  <a:t>Development</a:t>
                </a:r>
                <a:endParaRPr lang="en-US" sz="1200" dirty="0">
                  <a:latin typeface="HelvNeue for IBM Medium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467222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5" name="Picture 36" descr="chart_041810_cl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51"/>
          <a:stretch>
            <a:fillRect/>
          </a:stretch>
        </p:blipFill>
        <p:spPr bwMode="auto">
          <a:xfrm>
            <a:off x="359700" y="483394"/>
            <a:ext cx="8801100" cy="439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5475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76238" y="147638"/>
            <a:ext cx="6477000" cy="403466"/>
          </a:xfrm>
        </p:spPr>
        <p:txBody>
          <a:bodyPr/>
          <a:lstStyle/>
          <a:p>
            <a:pPr>
              <a:defRPr/>
            </a:pPr>
            <a:r>
              <a:rPr lang="en-US" sz="2400" dirty="0" smtClean="0">
                <a:latin typeface="HelvNeue for IBM Medium"/>
              </a:rPr>
              <a:t>3 Steps to enable value</a:t>
            </a:r>
            <a:endParaRPr lang="en-US" sz="2400" i="1" dirty="0">
              <a:latin typeface="HelvNeue for IBM Medium"/>
            </a:endParaRPr>
          </a:p>
        </p:txBody>
      </p:sp>
      <p:sp>
        <p:nvSpPr>
          <p:cNvPr id="11267" name="Text Box 9"/>
          <p:cNvSpPr txBox="1">
            <a:spLocks noChangeArrowheads="1"/>
          </p:cNvSpPr>
          <p:nvPr/>
        </p:nvSpPr>
        <p:spPr bwMode="auto">
          <a:xfrm rot="-5400000">
            <a:off x="-1135261" y="2470746"/>
            <a:ext cx="2775347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sz="1600" b="1">
                <a:solidFill>
                  <a:schemeClr val="tx1"/>
                </a:solidFill>
                <a:latin typeface="HelvNeue for IBM Medium"/>
                <a:ea typeface="MS PGothic" charset="0"/>
                <a:cs typeface="MS PGothic" charset="0"/>
              </a:rPr>
              <a:t>Unique value delivered</a:t>
            </a:r>
          </a:p>
        </p:txBody>
      </p:sp>
      <p:sp>
        <p:nvSpPr>
          <p:cNvPr id="11268" name="Text Box 10"/>
          <p:cNvSpPr txBox="1">
            <a:spLocks noChangeArrowheads="1"/>
          </p:cNvSpPr>
          <p:nvPr/>
        </p:nvSpPr>
        <p:spPr bwMode="auto">
          <a:xfrm>
            <a:off x="2160588" y="4760119"/>
            <a:ext cx="47307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sz="1600" b="1" dirty="0">
                <a:solidFill>
                  <a:schemeClr val="tx1"/>
                </a:solidFill>
                <a:latin typeface="HelvNeue for IBM Medium"/>
                <a:ea typeface="MS PGothic" charset="0"/>
                <a:cs typeface="MS PGothic" charset="0"/>
              </a:rPr>
              <a:t>Time, Maturity and Scale of  Adoption</a:t>
            </a:r>
          </a:p>
        </p:txBody>
      </p:sp>
      <p:pic>
        <p:nvPicPr>
          <p:cNvPr id="11269" name="Picture 44" descr="slope1_041310_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763" y="844154"/>
            <a:ext cx="95250" cy="3792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70" name="Picture 45" descr="slope2_0413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50" y="4601766"/>
            <a:ext cx="8497888" cy="71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71" name="Rectangle 4"/>
          <p:cNvSpPr>
            <a:spLocks noChangeArrowheads="1"/>
          </p:cNvSpPr>
          <p:nvPr/>
        </p:nvSpPr>
        <p:spPr bwMode="auto">
          <a:xfrm>
            <a:off x="6396039" y="1321171"/>
            <a:ext cx="2471737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20000"/>
              </a:spcBef>
              <a:buClr>
                <a:schemeClr val="tx1"/>
              </a:buClr>
            </a:pPr>
            <a:r>
              <a:rPr lang="en-US" sz="1200" dirty="0">
                <a:solidFill>
                  <a:srgbClr val="1C1C1C"/>
                </a:solidFill>
                <a:latin typeface="HelvNeue for IBM Medium"/>
              </a:rPr>
              <a:t>Transform </a:t>
            </a:r>
            <a:r>
              <a:rPr lang="en-US" sz="1200" dirty="0" smtClean="0">
                <a:solidFill>
                  <a:srgbClr val="1C1C1C"/>
                </a:solidFill>
                <a:latin typeface="HelvNeue for IBM Medium"/>
              </a:rPr>
              <a:t>the </a:t>
            </a:r>
            <a:r>
              <a:rPr lang="en-US" sz="1200" dirty="0">
                <a:solidFill>
                  <a:srgbClr val="1C1C1C"/>
                </a:solidFill>
                <a:latin typeface="HelvNeue for IBM Medium"/>
              </a:rPr>
              <a:t>way business gets done as a Cognitive </a:t>
            </a:r>
            <a:r>
              <a:rPr lang="en-US" sz="1200" dirty="0" smtClean="0">
                <a:solidFill>
                  <a:srgbClr val="1C1C1C"/>
                </a:solidFill>
                <a:latin typeface="HelvNeue for IBM Medium"/>
              </a:rPr>
              <a:t>enterprise.  Connect businesses to their clients.</a:t>
            </a:r>
            <a:endParaRPr lang="en-US" sz="1200" dirty="0">
              <a:solidFill>
                <a:srgbClr val="1C1C1C"/>
              </a:solidFill>
              <a:latin typeface="HelvNeue for IBM Medium"/>
            </a:endParaRPr>
          </a:p>
          <a:p>
            <a:pPr>
              <a:buClr>
                <a:schemeClr val="tx1"/>
              </a:buClr>
            </a:pPr>
            <a:endParaRPr kumimoji="1" lang="en-US" sz="1200" b="1" dirty="0">
              <a:latin typeface="HelvNeue for IBM Medium"/>
            </a:endParaRPr>
          </a:p>
        </p:txBody>
      </p:sp>
      <p:sp>
        <p:nvSpPr>
          <p:cNvPr id="11272" name="Rectangle 8"/>
          <p:cNvSpPr>
            <a:spLocks noChangeArrowheads="1"/>
          </p:cNvSpPr>
          <p:nvPr/>
        </p:nvSpPr>
        <p:spPr bwMode="gray">
          <a:xfrm>
            <a:off x="3941762" y="947316"/>
            <a:ext cx="2206625" cy="252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432" tIns="27432" rIns="27432" bIns="27432" anchor="ctr">
            <a:spAutoFit/>
          </a:bodyPr>
          <a:lstStyle/>
          <a:p>
            <a:pPr>
              <a:lnSpc>
                <a:spcPct val="90000"/>
              </a:lnSpc>
              <a:buFont typeface="Wingdings" charset="0"/>
              <a:buNone/>
            </a:pPr>
            <a:r>
              <a:rPr lang="en-US" sz="1400" b="1" dirty="0" smtClean="0">
                <a:solidFill>
                  <a:srgbClr val="00649D"/>
                </a:solidFill>
                <a:latin typeface="HelvNeue for IBM Medium"/>
              </a:rPr>
              <a:t>Packaged Apps</a:t>
            </a:r>
            <a:endParaRPr lang="en-US" sz="1400" b="1" dirty="0">
              <a:solidFill>
                <a:srgbClr val="00649D"/>
              </a:solidFill>
              <a:latin typeface="HelvNeue for IBM Medium"/>
            </a:endParaRPr>
          </a:p>
        </p:txBody>
      </p:sp>
      <p:sp>
        <p:nvSpPr>
          <p:cNvPr id="11273" name="Rectangle 9"/>
          <p:cNvSpPr>
            <a:spLocks noChangeArrowheads="1"/>
          </p:cNvSpPr>
          <p:nvPr/>
        </p:nvSpPr>
        <p:spPr bwMode="gray">
          <a:xfrm>
            <a:off x="6526214" y="985142"/>
            <a:ext cx="2076448" cy="249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7432" tIns="27432" rIns="27432" bIns="27432" anchor="ctr">
            <a:spAutoFit/>
          </a:bodyPr>
          <a:lstStyle/>
          <a:p>
            <a:pPr>
              <a:lnSpc>
                <a:spcPct val="90000"/>
              </a:lnSpc>
              <a:buFont typeface="Wingdings" charset="0"/>
              <a:buNone/>
            </a:pPr>
            <a:r>
              <a:rPr lang="en-US" sz="1400" b="1" dirty="0" smtClean="0">
                <a:solidFill>
                  <a:srgbClr val="00649D"/>
                </a:solidFill>
                <a:latin typeface="HelvNeue for IBM Medium"/>
              </a:rPr>
              <a:t>Transforming Business</a:t>
            </a:r>
            <a:endParaRPr lang="en-US" sz="1400" b="1" dirty="0">
              <a:solidFill>
                <a:srgbClr val="00649D"/>
              </a:solidFill>
              <a:latin typeface="HelvNeue for IBM Medium"/>
            </a:endParaRPr>
          </a:p>
        </p:txBody>
      </p:sp>
      <p:sp>
        <p:nvSpPr>
          <p:cNvPr id="11274" name="Rectangle 15"/>
          <p:cNvSpPr>
            <a:spLocks noChangeArrowheads="1"/>
          </p:cNvSpPr>
          <p:nvPr/>
        </p:nvSpPr>
        <p:spPr bwMode="gray">
          <a:xfrm>
            <a:off x="993775" y="936600"/>
            <a:ext cx="2108200" cy="252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432" tIns="27432" rIns="27432" bIns="27432" anchor="ctr">
            <a:spAutoFit/>
          </a:bodyPr>
          <a:lstStyle/>
          <a:p>
            <a:pPr>
              <a:lnSpc>
                <a:spcPct val="90000"/>
              </a:lnSpc>
              <a:buFont typeface="Wingdings" charset="0"/>
              <a:buNone/>
            </a:pPr>
            <a:r>
              <a:rPr lang="en-US" sz="1400" b="1" dirty="0" smtClean="0">
                <a:solidFill>
                  <a:srgbClr val="00649D"/>
                </a:solidFill>
                <a:latin typeface="HelvNeue for IBM Medium"/>
              </a:rPr>
              <a:t>Platform</a:t>
            </a:r>
            <a:endParaRPr lang="en-US" sz="1400" b="1" dirty="0">
              <a:solidFill>
                <a:srgbClr val="00649D"/>
              </a:solidFill>
              <a:latin typeface="HelvNeue for IBM Medium"/>
            </a:endParaRPr>
          </a:p>
        </p:txBody>
      </p:sp>
      <p:sp>
        <p:nvSpPr>
          <p:cNvPr id="11278" name="Text Box 10"/>
          <p:cNvSpPr txBox="1">
            <a:spLocks noChangeArrowheads="1"/>
          </p:cNvSpPr>
          <p:nvPr/>
        </p:nvSpPr>
        <p:spPr bwMode="auto">
          <a:xfrm>
            <a:off x="7772400" y="2930628"/>
            <a:ext cx="1146174" cy="830997"/>
          </a:xfrm>
          <a:prstGeom prst="rect">
            <a:avLst/>
          </a:prstGeom>
          <a:noFill/>
          <a:ln>
            <a:noFill/>
          </a:ln>
          <a:scene3d>
            <a:camera prst="isometricBottomDown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sz="1600" b="1" dirty="0">
                <a:solidFill>
                  <a:srgbClr val="003F69"/>
                </a:solidFill>
                <a:latin typeface="HelvNeue for IBM Medium"/>
                <a:ea typeface="MS PGothic" charset="0"/>
                <a:cs typeface="MS PGothic" charset="0"/>
              </a:rPr>
              <a:t>Client value realized</a:t>
            </a:r>
          </a:p>
        </p:txBody>
      </p:sp>
      <p:sp>
        <p:nvSpPr>
          <p:cNvPr id="105488" name="Rectangle 16"/>
          <p:cNvSpPr>
            <a:spLocks noChangeArrowheads="1"/>
          </p:cNvSpPr>
          <p:nvPr/>
        </p:nvSpPr>
        <p:spPr bwMode="auto">
          <a:xfrm>
            <a:off x="589935" y="1317600"/>
            <a:ext cx="2837477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buClr>
                <a:schemeClr val="tx1"/>
              </a:buClr>
              <a:defRPr/>
            </a:pPr>
            <a:r>
              <a:rPr lang="en-US" sz="1200" dirty="0" smtClean="0">
                <a:solidFill>
                  <a:srgbClr val="1C1C1C"/>
                </a:solidFill>
                <a:latin typeface="HelvNeue for IBM Medium"/>
              </a:rPr>
              <a:t>Connect your devices simply and securely to the Watson IoT Platform.  Use the API’s in the Platform to bring in Cognitive, Weather, Analytics, Security, and data streaming capabilities.</a:t>
            </a:r>
            <a:endParaRPr lang="en-US" sz="1200" dirty="0">
              <a:solidFill>
                <a:srgbClr val="1C1C1C"/>
              </a:solidFill>
              <a:latin typeface="HelvNeue for IBM Medium"/>
            </a:endParaRPr>
          </a:p>
        </p:txBody>
      </p:sp>
      <p:sp>
        <p:nvSpPr>
          <p:cNvPr id="11280" name="Rectangle 3"/>
          <p:cNvSpPr>
            <a:spLocks noChangeArrowheads="1"/>
          </p:cNvSpPr>
          <p:nvPr/>
        </p:nvSpPr>
        <p:spPr bwMode="auto">
          <a:xfrm>
            <a:off x="3692524" y="1339031"/>
            <a:ext cx="2455863" cy="758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buClr>
                <a:schemeClr val="tx1"/>
              </a:buClr>
            </a:pPr>
            <a:r>
              <a:rPr lang="en-US" sz="1200" dirty="0" smtClean="0">
                <a:solidFill>
                  <a:srgbClr val="1C1C1C"/>
                </a:solidFill>
                <a:latin typeface="HelvNeue for IBM Medium"/>
              </a:rPr>
              <a:t>Push platform data into packaged IBM applications that optimize your operations and drive better business outcomes such as reliability, productivity, and risk.</a:t>
            </a:r>
            <a:endParaRPr kumimoji="1" lang="en-US" sz="1200" b="1" dirty="0">
              <a:solidFill>
                <a:srgbClr val="003F69"/>
              </a:solidFill>
              <a:latin typeface="HelvNeue for IBM Medium"/>
              <a:cs typeface="Arial Unicode MS" charset="0"/>
            </a:endParaRPr>
          </a:p>
        </p:txBody>
      </p:sp>
      <p:sp>
        <p:nvSpPr>
          <p:cNvPr id="11281" name="Text Box 18"/>
          <p:cNvSpPr txBox="1">
            <a:spLocks noChangeArrowheads="1"/>
          </p:cNvSpPr>
          <p:nvPr/>
        </p:nvSpPr>
        <p:spPr bwMode="auto">
          <a:xfrm>
            <a:off x="693738" y="4068202"/>
            <a:ext cx="2811462" cy="484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12713" indent="-112713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buFont typeface="Wingdings" charset="0"/>
              <a:buChar char="§"/>
            </a:pPr>
            <a:r>
              <a:rPr lang="en-US" sz="1050" dirty="0">
                <a:solidFill>
                  <a:schemeClr val="tx1"/>
                </a:solidFill>
                <a:latin typeface="HelvNeue for IBM Medium"/>
                <a:ea typeface="MS PGothic" charset="0"/>
                <a:cs typeface="MS PGothic" charset="0"/>
              </a:rPr>
              <a:t>Visibility into product usage</a:t>
            </a:r>
          </a:p>
          <a:p>
            <a:pPr>
              <a:buFont typeface="Wingdings" charset="0"/>
              <a:buChar char="§"/>
            </a:pPr>
            <a:r>
              <a:rPr lang="en-US" sz="1050" dirty="0">
                <a:solidFill>
                  <a:schemeClr val="tx1"/>
                </a:solidFill>
                <a:latin typeface="HelvNeue for IBM Medium"/>
                <a:ea typeface="MS PGothic" charset="0"/>
                <a:cs typeface="MS PGothic" charset="0"/>
              </a:rPr>
              <a:t>Rapid innovation / experimentation</a:t>
            </a:r>
          </a:p>
          <a:p>
            <a:pPr>
              <a:buFont typeface="Wingdings" charset="0"/>
              <a:buChar char="§"/>
            </a:pPr>
            <a:r>
              <a:rPr lang="en-US" sz="1050" dirty="0">
                <a:solidFill>
                  <a:schemeClr val="tx1"/>
                </a:solidFill>
                <a:latin typeface="HelvNeue for IBM Medium"/>
                <a:ea typeface="MS PGothic" charset="0"/>
                <a:cs typeface="MS PGothic" charset="0"/>
              </a:rPr>
              <a:t>Improved </a:t>
            </a:r>
            <a:r>
              <a:rPr lang="en-US" sz="1050" dirty="0" smtClean="0">
                <a:solidFill>
                  <a:schemeClr val="tx1"/>
                </a:solidFill>
                <a:latin typeface="HelvNeue for IBM Medium"/>
                <a:ea typeface="MS PGothic" charset="0"/>
                <a:cs typeface="MS PGothic" charset="0"/>
              </a:rPr>
              <a:t>operational </a:t>
            </a:r>
            <a:r>
              <a:rPr lang="en-US" sz="1050" dirty="0">
                <a:solidFill>
                  <a:schemeClr val="tx1"/>
                </a:solidFill>
                <a:latin typeface="HelvNeue for IBM Medium"/>
                <a:ea typeface="MS PGothic" charset="0"/>
                <a:cs typeface="MS PGothic" charset="0"/>
              </a:rPr>
              <a:t>efficiency</a:t>
            </a:r>
          </a:p>
        </p:txBody>
      </p:sp>
      <p:sp>
        <p:nvSpPr>
          <p:cNvPr id="11282" name="Text Box 20"/>
          <p:cNvSpPr txBox="1">
            <a:spLocks noChangeArrowheads="1"/>
          </p:cNvSpPr>
          <p:nvPr/>
        </p:nvSpPr>
        <p:spPr bwMode="auto">
          <a:xfrm>
            <a:off x="3651249" y="3790950"/>
            <a:ext cx="2673351" cy="969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15888" indent="-115888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buFont typeface="Wingdings" charset="0"/>
              <a:buChar char="§"/>
            </a:pPr>
            <a:r>
              <a:rPr lang="en-US" sz="1050" dirty="0">
                <a:solidFill>
                  <a:schemeClr val="tx1"/>
                </a:solidFill>
                <a:latin typeface="HelvNeue for IBM Medium"/>
                <a:ea typeface="MS PGothic" charset="0"/>
                <a:cs typeface="MS PGothic" charset="0"/>
              </a:rPr>
              <a:t>Decision support for usage drive design, warranty </a:t>
            </a:r>
            <a:r>
              <a:rPr lang="en-US" sz="1050" dirty="0" smtClean="0">
                <a:solidFill>
                  <a:schemeClr val="tx1"/>
                </a:solidFill>
                <a:latin typeface="HelvNeue for IBM Medium"/>
                <a:ea typeface="MS PGothic" charset="0"/>
                <a:cs typeface="MS PGothic" charset="0"/>
              </a:rPr>
              <a:t>management, </a:t>
            </a:r>
            <a:r>
              <a:rPr lang="en-US" sz="1050" dirty="0">
                <a:solidFill>
                  <a:schemeClr val="tx1"/>
                </a:solidFill>
                <a:latin typeface="HelvNeue for IBM Medium"/>
                <a:ea typeface="MS PGothic" charset="0"/>
                <a:cs typeface="MS PGothic" charset="0"/>
              </a:rPr>
              <a:t>client up-sell</a:t>
            </a:r>
          </a:p>
          <a:p>
            <a:pPr>
              <a:buFont typeface="Wingdings" charset="0"/>
              <a:buChar char="§"/>
            </a:pPr>
            <a:r>
              <a:rPr lang="en-US" sz="1050" dirty="0">
                <a:solidFill>
                  <a:schemeClr val="tx1"/>
                </a:solidFill>
                <a:latin typeface="HelvNeue for IBM Medium"/>
                <a:ea typeface="MS PGothic" charset="0"/>
                <a:cs typeface="MS PGothic" charset="0"/>
              </a:rPr>
              <a:t>Improved client experience</a:t>
            </a:r>
          </a:p>
          <a:p>
            <a:pPr>
              <a:buFont typeface="Wingdings" charset="0"/>
              <a:buChar char="§"/>
            </a:pPr>
            <a:r>
              <a:rPr lang="en-US" sz="1050" dirty="0">
                <a:solidFill>
                  <a:schemeClr val="tx1"/>
                </a:solidFill>
                <a:latin typeface="HelvNeue for IBM Medium"/>
                <a:ea typeface="MS PGothic" charset="0"/>
                <a:cs typeface="MS PGothic" charset="0"/>
              </a:rPr>
              <a:t>Reduced operational costs</a:t>
            </a:r>
          </a:p>
          <a:p>
            <a:pPr>
              <a:buFont typeface="Wingdings" charset="0"/>
              <a:buChar char="§"/>
            </a:pPr>
            <a:r>
              <a:rPr lang="en-US" sz="1050" dirty="0">
                <a:solidFill>
                  <a:schemeClr val="tx1"/>
                </a:solidFill>
                <a:latin typeface="HelvNeue for IBM Medium"/>
                <a:ea typeface="MS PGothic" charset="0"/>
                <a:cs typeface="MS PGothic" charset="0"/>
              </a:rPr>
              <a:t>Reduced health / safety risk</a:t>
            </a:r>
          </a:p>
          <a:p>
            <a:pPr>
              <a:buFont typeface="Wingdings" charset="0"/>
              <a:buChar char="§"/>
            </a:pPr>
            <a:endParaRPr lang="en-US" sz="1050" dirty="0">
              <a:solidFill>
                <a:schemeClr val="tx1"/>
              </a:solidFill>
              <a:latin typeface="HelvNeue for IBM Medium"/>
              <a:ea typeface="MS PGothic" charset="0"/>
              <a:cs typeface="MS PGothic" charset="0"/>
            </a:endParaRPr>
          </a:p>
        </p:txBody>
      </p:sp>
      <p:sp>
        <p:nvSpPr>
          <p:cNvPr id="11283" name="Text Box 21"/>
          <p:cNvSpPr txBox="1">
            <a:spLocks noChangeArrowheads="1"/>
          </p:cNvSpPr>
          <p:nvPr/>
        </p:nvSpPr>
        <p:spPr bwMode="auto">
          <a:xfrm>
            <a:off x="6526214" y="3696891"/>
            <a:ext cx="2212975" cy="80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15888" indent="-115888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>
              <a:buFont typeface="Wingdings" charset="0"/>
              <a:buChar char="§"/>
            </a:pPr>
            <a:r>
              <a:rPr lang="en-US" sz="1050" dirty="0">
                <a:solidFill>
                  <a:schemeClr val="tx1"/>
                </a:solidFill>
                <a:latin typeface="HelvNeue for IBM Medium"/>
                <a:ea typeface="MS PGothic" charset="0"/>
                <a:cs typeface="MS PGothic" charset="0"/>
              </a:rPr>
              <a:t>Capture new revenue opportunity </a:t>
            </a:r>
          </a:p>
          <a:p>
            <a:pPr>
              <a:buFont typeface="Wingdings" charset="0"/>
              <a:buChar char="§"/>
            </a:pPr>
            <a:r>
              <a:rPr lang="en-US" sz="1050" dirty="0">
                <a:solidFill>
                  <a:schemeClr val="tx1"/>
                </a:solidFill>
                <a:latin typeface="HelvNeue for IBM Medium"/>
                <a:ea typeface="MS PGothic" charset="0"/>
                <a:cs typeface="MS PGothic" charset="0"/>
              </a:rPr>
              <a:t>Transform client </a:t>
            </a:r>
            <a:r>
              <a:rPr lang="en-US" sz="1050" dirty="0" smtClean="0">
                <a:solidFill>
                  <a:schemeClr val="tx1"/>
                </a:solidFill>
                <a:latin typeface="HelvNeue for IBM Medium"/>
                <a:ea typeface="MS PGothic" charset="0"/>
                <a:cs typeface="MS PGothic" charset="0"/>
              </a:rPr>
              <a:t>experience and engagement</a:t>
            </a:r>
            <a:endParaRPr lang="en-US" sz="1050" dirty="0">
              <a:solidFill>
                <a:schemeClr val="tx1"/>
              </a:solidFill>
              <a:latin typeface="HelvNeue for IBM Medium"/>
              <a:ea typeface="MS PGothic" charset="0"/>
              <a:cs typeface="MS PGothic" charset="0"/>
            </a:endParaRPr>
          </a:p>
          <a:p>
            <a:pPr>
              <a:buFont typeface="Wingdings" charset="0"/>
              <a:buChar char="§"/>
            </a:pPr>
            <a:r>
              <a:rPr lang="en-US" sz="1050" dirty="0">
                <a:solidFill>
                  <a:schemeClr val="tx1"/>
                </a:solidFill>
                <a:latin typeface="HelvNeue for IBM Medium"/>
                <a:ea typeface="MS PGothic" charset="0"/>
                <a:cs typeface="MS PGothic" charset="0"/>
              </a:rPr>
              <a:t>Lead / participate in industry re-ordering</a:t>
            </a:r>
          </a:p>
        </p:txBody>
      </p:sp>
      <p:pic>
        <p:nvPicPr>
          <p:cNvPr id="11284" name="Picture 37" descr="divider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8687" y="879872"/>
            <a:ext cx="182562" cy="3646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85" name="Picture 38" descr="divider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8713" y="885826"/>
            <a:ext cx="182562" cy="364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5503" name="Text Box 31"/>
          <p:cNvSpPr txBox="1">
            <a:spLocks noChangeArrowheads="1"/>
          </p:cNvSpPr>
          <p:nvPr/>
        </p:nvSpPr>
        <p:spPr bwMode="auto">
          <a:xfrm>
            <a:off x="1087425" y="3028950"/>
            <a:ext cx="80289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889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A0A0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 anchorCtr="1">
            <a:spAutoFit/>
          </a:bodyPr>
          <a:lstStyle>
            <a:defPPr>
              <a:defRPr lang="en-US"/>
            </a:defPPr>
            <a:lvl1pPr algn="ctr">
              <a:buFont typeface="Wingdings" charset="0"/>
              <a:buNone/>
              <a:defRPr sz="800" b="1">
                <a:solidFill>
                  <a:srgbClr val="339C96"/>
                </a:solidFill>
                <a:latin typeface="HelvNeue for IBM Medium"/>
                <a:ea typeface="MS PGothic" charset="0"/>
                <a:cs typeface="Arial" charset="0"/>
              </a:defRPr>
            </a:lvl1pPr>
          </a:lstStyle>
          <a:p>
            <a:r>
              <a:rPr lang="en-US" sz="1000" b="0" dirty="0" err="1"/>
              <a:t>IoT</a:t>
            </a:r>
            <a:r>
              <a:rPr lang="en-US" sz="1000" b="0" dirty="0"/>
              <a:t> Platform Connect</a:t>
            </a:r>
          </a:p>
        </p:txBody>
      </p:sp>
      <p:sp>
        <p:nvSpPr>
          <p:cNvPr id="105506" name="Text Box 34"/>
          <p:cNvSpPr txBox="1">
            <a:spLocks noChangeArrowheads="1"/>
          </p:cNvSpPr>
          <p:nvPr/>
        </p:nvSpPr>
        <p:spPr bwMode="auto">
          <a:xfrm>
            <a:off x="1928829" y="3496923"/>
            <a:ext cx="110094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889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A0A0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 anchorCtr="1">
            <a:spAutoFit/>
          </a:bodyPr>
          <a:lstStyle>
            <a:defPPr>
              <a:defRPr lang="en-US"/>
            </a:defPPr>
            <a:lvl1pPr algn="ctr">
              <a:buFont typeface="Wingdings" charset="0"/>
              <a:buNone/>
              <a:defRPr sz="800" b="1">
                <a:solidFill>
                  <a:srgbClr val="339C96"/>
                </a:solidFill>
                <a:latin typeface="HelvNeue for IBM Medium"/>
                <a:ea typeface="MS PGothic" charset="0"/>
                <a:cs typeface="Arial" charset="0"/>
              </a:defRPr>
            </a:lvl1pPr>
          </a:lstStyle>
          <a:p>
            <a:r>
              <a:rPr lang="en-US" sz="1000" b="0" dirty="0"/>
              <a:t>IoT </a:t>
            </a:r>
            <a:r>
              <a:rPr lang="en-US" sz="1000" b="0" dirty="0" smtClean="0"/>
              <a:t>Platform     Risk </a:t>
            </a:r>
            <a:r>
              <a:rPr lang="en-US" sz="1000" b="0" dirty="0"/>
              <a:t>Management</a:t>
            </a:r>
          </a:p>
        </p:txBody>
      </p:sp>
      <p:sp>
        <p:nvSpPr>
          <p:cNvPr id="105507" name="Text Box 35"/>
          <p:cNvSpPr txBox="1">
            <a:spLocks noChangeArrowheads="1"/>
          </p:cNvSpPr>
          <p:nvPr/>
        </p:nvSpPr>
        <p:spPr bwMode="auto">
          <a:xfrm>
            <a:off x="1961116" y="2910040"/>
            <a:ext cx="1478072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889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A0A0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 anchorCtr="1">
            <a:spAutoFit/>
          </a:bodyPr>
          <a:lstStyle>
            <a:defPPr>
              <a:defRPr lang="en-US"/>
            </a:defPPr>
            <a:lvl1pPr algn="ctr">
              <a:buFont typeface="Wingdings" charset="0"/>
              <a:buNone/>
              <a:defRPr sz="800" b="1">
                <a:solidFill>
                  <a:srgbClr val="339C96"/>
                </a:solidFill>
                <a:latin typeface="HelvNeue for IBM Medium"/>
                <a:ea typeface="MS PGothic" charset="0"/>
                <a:cs typeface="Arial" charset="0"/>
              </a:defRPr>
            </a:lvl1pPr>
          </a:lstStyle>
          <a:p>
            <a:r>
              <a:rPr lang="en-US" sz="1000" b="0" dirty="0"/>
              <a:t>IoT Platform </a:t>
            </a:r>
            <a:r>
              <a:rPr lang="en-US" sz="1000" b="0" dirty="0" smtClean="0"/>
              <a:t>    Information Management (incl</a:t>
            </a:r>
            <a:r>
              <a:rPr lang="en-US" sz="1000" b="0" dirty="0"/>
              <a:t>. Weather APIs)</a:t>
            </a:r>
          </a:p>
        </p:txBody>
      </p:sp>
      <p:sp>
        <p:nvSpPr>
          <p:cNvPr id="105509" name="Text Box 37"/>
          <p:cNvSpPr txBox="1">
            <a:spLocks noChangeArrowheads="1"/>
          </p:cNvSpPr>
          <p:nvPr/>
        </p:nvSpPr>
        <p:spPr bwMode="auto">
          <a:xfrm>
            <a:off x="3887135" y="2713214"/>
            <a:ext cx="10170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889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A0A0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 anchorCtr="1">
            <a:spAutoFit/>
          </a:bodyPr>
          <a:lstStyle>
            <a:defPPr>
              <a:defRPr lang="en-US"/>
            </a:defPPr>
            <a:lvl1pPr algn="ctr">
              <a:buFont typeface="Wingdings" charset="0"/>
              <a:buNone/>
              <a:defRPr sz="800" b="1">
                <a:solidFill>
                  <a:srgbClr val="339C96"/>
                </a:solidFill>
                <a:latin typeface="HelvNeue for IBM Medium"/>
                <a:ea typeface="MS PGothic" charset="0"/>
                <a:cs typeface="Arial" charset="0"/>
              </a:defRPr>
            </a:lvl1pPr>
          </a:lstStyle>
          <a:p>
            <a:r>
              <a:rPr lang="en-US" sz="1000" b="0" dirty="0"/>
              <a:t>Enterprise Asset </a:t>
            </a:r>
            <a:r>
              <a:rPr lang="en-US" sz="1000" b="0" dirty="0" smtClean="0"/>
              <a:t>Management</a:t>
            </a:r>
            <a:endParaRPr lang="en-US" sz="1000" b="0" dirty="0"/>
          </a:p>
        </p:txBody>
      </p:sp>
      <p:sp>
        <p:nvSpPr>
          <p:cNvPr id="105511" name="Text Box 39"/>
          <p:cNvSpPr txBox="1">
            <a:spLocks noChangeArrowheads="1"/>
          </p:cNvSpPr>
          <p:nvPr/>
        </p:nvSpPr>
        <p:spPr bwMode="auto">
          <a:xfrm>
            <a:off x="5191107" y="2468050"/>
            <a:ext cx="7524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889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A0A0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 anchorCtr="1">
            <a:spAutoFit/>
          </a:bodyPr>
          <a:lstStyle/>
          <a:p>
            <a:pPr algn="ctr">
              <a:buFont typeface="Wingdings" charset="0"/>
              <a:buNone/>
              <a:defRPr/>
            </a:pPr>
            <a:r>
              <a:rPr lang="en-US" sz="1000" dirty="0" smtClean="0">
                <a:solidFill>
                  <a:srgbClr val="339C96"/>
                </a:solidFill>
                <a:latin typeface="HelvNeue for IBM Medium"/>
                <a:ea typeface="MS PGothic" charset="0"/>
                <a:cs typeface="Arial" charset="0"/>
              </a:rPr>
              <a:t>Predictive Maintenance </a:t>
            </a:r>
            <a:endParaRPr lang="en-US" sz="1000" spc="-50" dirty="0">
              <a:solidFill>
                <a:srgbClr val="339C96"/>
              </a:solidFill>
              <a:latin typeface="HelvNeue for IBM Medium"/>
              <a:ea typeface="MS PGothic" pitchFamily="34" charset="-128"/>
              <a:cs typeface="HelvNeue for IBM Light"/>
            </a:endParaRPr>
          </a:p>
        </p:txBody>
      </p:sp>
      <p:sp>
        <p:nvSpPr>
          <p:cNvPr id="105513" name="Text Box 41"/>
          <p:cNvSpPr txBox="1">
            <a:spLocks noChangeArrowheads="1"/>
          </p:cNvSpPr>
          <p:nvPr/>
        </p:nvSpPr>
        <p:spPr bwMode="auto">
          <a:xfrm>
            <a:off x="5032374" y="2925250"/>
            <a:ext cx="84915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889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A0A0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 anchorCtr="1">
            <a:spAutoFit/>
          </a:bodyPr>
          <a:lstStyle>
            <a:defPPr>
              <a:defRPr lang="en-US"/>
            </a:defPPr>
            <a:lvl1pPr algn="ctr">
              <a:buFont typeface="Wingdings" charset="0"/>
              <a:buNone/>
              <a:defRPr sz="800" b="1">
                <a:solidFill>
                  <a:srgbClr val="339C96"/>
                </a:solidFill>
                <a:latin typeface="HelvNeue for IBM Medium"/>
                <a:ea typeface="MS PGothic" charset="0"/>
                <a:cs typeface="Arial" charset="0"/>
              </a:defRPr>
            </a:lvl1pPr>
          </a:lstStyle>
          <a:p>
            <a:r>
              <a:rPr lang="en-US" sz="1000" b="0" dirty="0" smtClean="0"/>
              <a:t>Continuous </a:t>
            </a:r>
            <a:r>
              <a:rPr lang="en-US" sz="1000" b="0" dirty="0"/>
              <a:t>Engineering</a:t>
            </a:r>
          </a:p>
        </p:txBody>
      </p:sp>
      <p:sp>
        <p:nvSpPr>
          <p:cNvPr id="105515" name="Text Box 43"/>
          <p:cNvSpPr txBox="1">
            <a:spLocks noChangeArrowheads="1"/>
          </p:cNvSpPr>
          <p:nvPr/>
        </p:nvSpPr>
        <p:spPr bwMode="auto">
          <a:xfrm>
            <a:off x="7695816" y="2316230"/>
            <a:ext cx="885824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 anchorCtr="1">
            <a:spAutoFit/>
          </a:bodyPr>
          <a:lstStyle>
            <a:defPPr>
              <a:defRPr lang="en-US"/>
            </a:defPPr>
            <a:lvl1pPr algn="ctr">
              <a:buFont typeface="Wingdings" charset="0"/>
              <a:buNone/>
              <a:defRPr sz="800" b="1">
                <a:solidFill>
                  <a:srgbClr val="339C96"/>
                </a:solidFill>
                <a:latin typeface="HelvNeue for IBM Medium"/>
                <a:ea typeface="MS PGothic" charset="0"/>
                <a:cs typeface="Arial" charset="0"/>
              </a:defRPr>
            </a:lvl1pPr>
          </a:lstStyle>
          <a:p>
            <a:r>
              <a:rPr lang="en-US" sz="1000" b="0" dirty="0"/>
              <a:t>Additional Cognitive  Offerings</a:t>
            </a:r>
          </a:p>
        </p:txBody>
      </p:sp>
      <p:sp>
        <p:nvSpPr>
          <p:cNvPr id="37" name="Text Box 39"/>
          <p:cNvSpPr txBox="1">
            <a:spLocks noChangeArrowheads="1"/>
          </p:cNvSpPr>
          <p:nvPr/>
        </p:nvSpPr>
        <p:spPr bwMode="auto">
          <a:xfrm>
            <a:off x="6696060" y="2316229"/>
            <a:ext cx="841375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889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A0A0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 anchorCtr="1">
            <a:spAutoFit/>
          </a:bodyPr>
          <a:lstStyle>
            <a:defPPr>
              <a:defRPr lang="en-US"/>
            </a:defPPr>
            <a:lvl1pPr algn="ctr">
              <a:buFont typeface="Wingdings" charset="0"/>
              <a:buNone/>
              <a:defRPr sz="800" b="1">
                <a:solidFill>
                  <a:srgbClr val="339C96"/>
                </a:solidFill>
                <a:latin typeface="HelvNeue for IBM Medium"/>
                <a:ea typeface="MS PGothic" charset="0"/>
                <a:cs typeface="Arial" charset="0"/>
              </a:defRPr>
            </a:lvl1pPr>
          </a:lstStyle>
          <a:p>
            <a:r>
              <a:rPr lang="en-US" sz="1000" b="0" dirty="0" smtClean="0"/>
              <a:t>IoT</a:t>
            </a:r>
            <a:endParaRPr lang="en-US" sz="1000" b="0" dirty="0"/>
          </a:p>
          <a:p>
            <a:r>
              <a:rPr lang="en-US" sz="1000" b="0" dirty="0" smtClean="0"/>
              <a:t>Industry </a:t>
            </a:r>
            <a:r>
              <a:rPr lang="en-US" sz="1000" b="0" dirty="0"/>
              <a:t>Offerings</a:t>
            </a:r>
          </a:p>
        </p:txBody>
      </p:sp>
      <p:sp>
        <p:nvSpPr>
          <p:cNvPr id="39" name="Text Box 39"/>
          <p:cNvSpPr txBox="1">
            <a:spLocks noChangeArrowheads="1"/>
          </p:cNvSpPr>
          <p:nvPr/>
        </p:nvSpPr>
        <p:spPr bwMode="auto">
          <a:xfrm>
            <a:off x="685802" y="3367956"/>
            <a:ext cx="1039428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889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A0A0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 anchorCtr="1">
            <a:spAutoFit/>
          </a:bodyPr>
          <a:lstStyle>
            <a:defPPr>
              <a:defRPr lang="en-US"/>
            </a:defPPr>
            <a:lvl1pPr algn="ctr">
              <a:buFont typeface="Wingdings" charset="0"/>
              <a:buNone/>
              <a:defRPr sz="800" b="1">
                <a:solidFill>
                  <a:srgbClr val="339C96"/>
                </a:solidFill>
                <a:latin typeface="HelvNeue for IBM Medium"/>
                <a:ea typeface="MS PGothic" charset="0"/>
                <a:cs typeface="Arial" charset="0"/>
              </a:defRPr>
            </a:lvl1pPr>
          </a:lstStyle>
          <a:p>
            <a:r>
              <a:rPr lang="en-US" sz="1000" b="0" dirty="0" err="1"/>
              <a:t>IoT</a:t>
            </a:r>
            <a:r>
              <a:rPr lang="en-US" sz="1000" b="0" dirty="0"/>
              <a:t> Platform Analytics (incl. Cognitive APIs)</a:t>
            </a:r>
          </a:p>
        </p:txBody>
      </p:sp>
      <p:sp>
        <p:nvSpPr>
          <p:cNvPr id="33" name="Text Box 10"/>
          <p:cNvSpPr txBox="1">
            <a:spLocks noChangeArrowheads="1"/>
          </p:cNvSpPr>
          <p:nvPr/>
        </p:nvSpPr>
        <p:spPr bwMode="auto">
          <a:xfrm>
            <a:off x="435078" y="2363775"/>
            <a:ext cx="677108" cy="1066800"/>
          </a:xfrm>
          <a:prstGeom prst="rect">
            <a:avLst/>
          </a:prstGeom>
          <a:noFill/>
          <a:ln>
            <a:noFill/>
          </a:ln>
          <a:scene3d>
            <a:camera prst="isometricBottomDown"/>
            <a:lightRig rig="threePt" dir="t"/>
          </a:scene3d>
          <a:sp3d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vert270" wrap="square">
            <a:spAutoFit/>
          </a:bodyPr>
          <a:lstStyle>
            <a:lvl1pPr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sz="1600" b="1" dirty="0" err="1">
                <a:solidFill>
                  <a:srgbClr val="003F69"/>
                </a:solidFill>
                <a:latin typeface="HelvNeue for IBM Medium"/>
                <a:ea typeface="+mn-ea"/>
                <a:cs typeface="+mn-cs"/>
              </a:rPr>
              <a:t>IoT</a:t>
            </a:r>
            <a:r>
              <a:rPr lang="en-US" sz="1600" b="1" dirty="0" smtClean="0">
                <a:solidFill>
                  <a:srgbClr val="003F69"/>
                </a:solidFill>
                <a:latin typeface="HelvNeue for IBM Medium"/>
                <a:ea typeface="MS PGothic" charset="0"/>
                <a:cs typeface="MS PGothic" charset="0"/>
              </a:rPr>
              <a:t> </a:t>
            </a:r>
            <a:r>
              <a:rPr lang="en-US" sz="1600" b="1" dirty="0">
                <a:solidFill>
                  <a:srgbClr val="003F69"/>
                </a:solidFill>
                <a:latin typeface="HelvNeue for IBM Medium"/>
                <a:ea typeface="+mn-ea"/>
                <a:cs typeface="+mn-cs"/>
              </a:rPr>
              <a:t>Offerings</a:t>
            </a:r>
          </a:p>
        </p:txBody>
      </p:sp>
      <p:sp>
        <p:nvSpPr>
          <p:cNvPr id="34" name="Text Box 37"/>
          <p:cNvSpPr txBox="1">
            <a:spLocks noChangeArrowheads="1"/>
          </p:cNvSpPr>
          <p:nvPr/>
        </p:nvSpPr>
        <p:spPr bwMode="auto">
          <a:xfrm>
            <a:off x="3664974" y="3143998"/>
            <a:ext cx="116261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889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A0A0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 anchorCtr="1">
            <a:spAutoFit/>
          </a:bodyPr>
          <a:lstStyle>
            <a:defPPr>
              <a:defRPr lang="en-US"/>
            </a:defPPr>
            <a:lvl1pPr algn="ctr">
              <a:buFont typeface="Wingdings" charset="0"/>
              <a:buNone/>
              <a:defRPr sz="800" b="1">
                <a:solidFill>
                  <a:srgbClr val="339C96"/>
                </a:solidFill>
                <a:latin typeface="HelvNeue for IBM Medium"/>
                <a:ea typeface="MS PGothic" charset="0"/>
                <a:cs typeface="Arial" charset="0"/>
              </a:defRPr>
            </a:lvl1pPr>
          </a:lstStyle>
          <a:p>
            <a:r>
              <a:rPr lang="en-US" sz="1000" b="0" dirty="0"/>
              <a:t>Facility &amp; Real Estate </a:t>
            </a:r>
            <a:r>
              <a:rPr lang="en-US" sz="1000" b="0" dirty="0" smtClean="0"/>
              <a:t>Management</a:t>
            </a:r>
            <a:endParaRPr lang="en-US" sz="1000" b="0" dirty="0"/>
          </a:p>
        </p:txBody>
      </p:sp>
    </p:spTree>
    <p:extLst>
      <p:ext uri="{BB962C8B-B14F-4D97-AF65-F5344CB8AC3E}">
        <p14:creationId xmlns:p14="http://schemas.microsoft.com/office/powerpoint/2010/main" val="524875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34104"/>
            <a:ext cx="7543800" cy="403466"/>
          </a:xfrm>
        </p:spPr>
        <p:txBody>
          <a:bodyPr/>
          <a:lstStyle/>
          <a:p>
            <a:r>
              <a:rPr lang="en-US" sz="2400" dirty="0" smtClean="0">
                <a:latin typeface="HelvNeue for IBM Medium"/>
              </a:rPr>
              <a:t>IoT value </a:t>
            </a:r>
            <a:r>
              <a:rPr lang="en-US" sz="2400" dirty="0">
                <a:latin typeface="HelvNeue for IBM Medium"/>
              </a:rPr>
              <a:t>s</a:t>
            </a:r>
            <a:r>
              <a:rPr lang="en-US" sz="2400" dirty="0" smtClean="0">
                <a:latin typeface="HelvNeue for IBM Medium"/>
              </a:rPr>
              <a:t>trategy</a:t>
            </a:r>
            <a:endParaRPr lang="en-US" sz="2400" dirty="0">
              <a:latin typeface="HelvNeue for IBM Medium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28600" y="742950"/>
            <a:ext cx="4495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latin typeface="HelvNeue for IBM Medium"/>
              </a:rPr>
              <a:t>Looking to connect…</a:t>
            </a:r>
            <a:endParaRPr lang="en-US" sz="1600" dirty="0" smtClean="0">
              <a:latin typeface="HelvNeue for IBM Medium"/>
            </a:endParaRPr>
          </a:p>
          <a:p>
            <a:r>
              <a:rPr lang="en-US" sz="1600" dirty="0">
                <a:latin typeface="HelvNeue for IBM Medium"/>
              </a:rPr>
              <a:t>	</a:t>
            </a:r>
            <a:r>
              <a:rPr lang="en-US" sz="1600" dirty="0" smtClean="0">
                <a:latin typeface="HelvNeue for IBM Medium"/>
              </a:rPr>
              <a:t>Devices?  Equipment?  People?</a:t>
            </a:r>
            <a:r>
              <a:rPr lang="en-US" dirty="0" smtClean="0">
                <a:latin typeface="HelvNeue for IBM Medium"/>
              </a:rPr>
              <a:t>	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85800" y="1428750"/>
            <a:ext cx="35284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5799F2"/>
                </a:solidFill>
                <a:latin typeface="HelvNeue for IBM Medium"/>
              </a:rPr>
              <a:t>Start with the Watson IoT Platform</a:t>
            </a:r>
            <a:endParaRPr lang="en-US" sz="1600" b="1" dirty="0">
              <a:solidFill>
                <a:srgbClr val="5799F2"/>
              </a:solidFill>
              <a:latin typeface="HelvNeue for IBM Medium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727057" y="1829638"/>
            <a:ext cx="151515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HelvNeue for IBM Medium"/>
              </a:rPr>
              <a:t>Connect to…</a:t>
            </a:r>
          </a:p>
          <a:p>
            <a:r>
              <a:rPr lang="en-US" sz="1200" dirty="0" smtClean="0">
                <a:latin typeface="HelvNeue for IBM Medium"/>
              </a:rPr>
              <a:t>Secure connectivity</a:t>
            </a:r>
          </a:p>
          <a:p>
            <a:r>
              <a:rPr lang="en-US" sz="1200" dirty="0" smtClean="0">
                <a:latin typeface="HelvNeue for IBM Medium"/>
              </a:rPr>
              <a:t>Manage device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727057" y="2565343"/>
            <a:ext cx="200247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HelvNeue for IBM Medium"/>
              </a:rPr>
              <a:t>Store and archive data</a:t>
            </a:r>
          </a:p>
          <a:p>
            <a:r>
              <a:rPr lang="en-US" sz="1200" dirty="0" smtClean="0">
                <a:latin typeface="HelvNeue for IBM Medium"/>
              </a:rPr>
              <a:t>Weather APIs</a:t>
            </a:r>
          </a:p>
          <a:p>
            <a:r>
              <a:rPr lang="en-US" sz="1200" dirty="0" smtClean="0">
                <a:latin typeface="HelvNeue for IBM Medium"/>
              </a:rPr>
              <a:t>Structure and unstructured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727057" y="3269428"/>
            <a:ext cx="8579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HelvNeue for IBM Medium"/>
              </a:rPr>
              <a:t>Real time</a:t>
            </a:r>
          </a:p>
          <a:p>
            <a:r>
              <a:rPr lang="en-US" sz="1200" dirty="0" smtClean="0">
                <a:latin typeface="HelvNeue for IBM Medium"/>
              </a:rPr>
              <a:t>Predictive</a:t>
            </a:r>
          </a:p>
          <a:p>
            <a:r>
              <a:rPr lang="en-US" sz="1200" dirty="0" smtClean="0">
                <a:latin typeface="HelvNeue for IBM Medium"/>
              </a:rPr>
              <a:t>Cognitiv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727057" y="4011283"/>
            <a:ext cx="138203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HelvNeue for IBM Medium"/>
              </a:rPr>
              <a:t>Data protection</a:t>
            </a:r>
          </a:p>
          <a:p>
            <a:r>
              <a:rPr lang="en-US" sz="1200" dirty="0" smtClean="0">
                <a:latin typeface="HelvNeue for IBM Medium"/>
              </a:rPr>
              <a:t>Security analytics</a:t>
            </a:r>
            <a:endParaRPr lang="en-US" sz="1200" dirty="0">
              <a:latin typeface="HelvNeue for IBM Medium"/>
            </a:endParaRPr>
          </a:p>
          <a:p>
            <a:r>
              <a:rPr lang="en-US" sz="1200" dirty="0" err="1" smtClean="0">
                <a:latin typeface="HelvNeue for IBM Medium"/>
              </a:rPr>
              <a:t>Blockchain</a:t>
            </a:r>
            <a:endParaRPr lang="en-US" sz="1200" dirty="0" smtClean="0">
              <a:latin typeface="HelvNeue for IBM Medium"/>
            </a:endParaRPr>
          </a:p>
        </p:txBody>
      </p:sp>
      <p:sp>
        <p:nvSpPr>
          <p:cNvPr id="19" name="Freeform 18"/>
          <p:cNvSpPr/>
          <p:nvPr/>
        </p:nvSpPr>
        <p:spPr>
          <a:xfrm>
            <a:off x="6167458" y="3549005"/>
            <a:ext cx="134566" cy="504259"/>
          </a:xfrm>
          <a:custGeom>
            <a:avLst/>
            <a:gdLst>
              <a:gd name="connsiteX0" fmla="*/ 218285 w 218285"/>
              <a:gd name="connsiteY0" fmla="*/ 0 h 515921"/>
              <a:gd name="connsiteX1" fmla="*/ 138908 w 218285"/>
              <a:gd name="connsiteY1" fmla="*/ 92601 h 515921"/>
              <a:gd name="connsiteX2" fmla="*/ 79376 w 218285"/>
              <a:gd name="connsiteY2" fmla="*/ 231503 h 515921"/>
              <a:gd name="connsiteX3" fmla="*/ 0 w 218285"/>
              <a:gd name="connsiteY3" fmla="*/ 515921 h 51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85" h="515921">
                <a:moveTo>
                  <a:pt x="218285" y="0"/>
                </a:moveTo>
                <a:cubicBezTo>
                  <a:pt x="190172" y="27008"/>
                  <a:pt x="162059" y="54017"/>
                  <a:pt x="138908" y="92601"/>
                </a:cubicBezTo>
                <a:cubicBezTo>
                  <a:pt x="115757" y="131185"/>
                  <a:pt x="102527" y="160950"/>
                  <a:pt x="79376" y="231503"/>
                </a:cubicBezTo>
                <a:cubicBezTo>
                  <a:pt x="56225" y="302056"/>
                  <a:pt x="0" y="515921"/>
                  <a:pt x="0" y="515921"/>
                </a:cubicBezTo>
              </a:path>
            </a:pathLst>
          </a:custGeom>
          <a:ln w="12700" cmpd="sng">
            <a:solidFill>
              <a:srgbClr val="6D6F7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>
              <a:defRPr/>
            </a:pPr>
            <a:endParaRPr lang="en-US">
              <a:latin typeface="HelvNeue for IBM Medium"/>
            </a:endParaRPr>
          </a:p>
        </p:txBody>
      </p:sp>
      <p:sp>
        <p:nvSpPr>
          <p:cNvPr id="20" name="Freeform 19"/>
          <p:cNvSpPr/>
          <p:nvPr/>
        </p:nvSpPr>
        <p:spPr>
          <a:xfrm flipH="1">
            <a:off x="6806557" y="3549005"/>
            <a:ext cx="135140" cy="448449"/>
          </a:xfrm>
          <a:custGeom>
            <a:avLst/>
            <a:gdLst>
              <a:gd name="connsiteX0" fmla="*/ 218285 w 218285"/>
              <a:gd name="connsiteY0" fmla="*/ 0 h 515921"/>
              <a:gd name="connsiteX1" fmla="*/ 138908 w 218285"/>
              <a:gd name="connsiteY1" fmla="*/ 92601 h 515921"/>
              <a:gd name="connsiteX2" fmla="*/ 79376 w 218285"/>
              <a:gd name="connsiteY2" fmla="*/ 231503 h 515921"/>
              <a:gd name="connsiteX3" fmla="*/ 0 w 218285"/>
              <a:gd name="connsiteY3" fmla="*/ 515921 h 51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85" h="515921">
                <a:moveTo>
                  <a:pt x="218285" y="0"/>
                </a:moveTo>
                <a:cubicBezTo>
                  <a:pt x="190172" y="27008"/>
                  <a:pt x="162059" y="54017"/>
                  <a:pt x="138908" y="92601"/>
                </a:cubicBezTo>
                <a:cubicBezTo>
                  <a:pt x="115757" y="131185"/>
                  <a:pt x="102527" y="160950"/>
                  <a:pt x="79376" y="231503"/>
                </a:cubicBezTo>
                <a:cubicBezTo>
                  <a:pt x="56225" y="302056"/>
                  <a:pt x="0" y="515921"/>
                  <a:pt x="0" y="515921"/>
                </a:cubicBezTo>
              </a:path>
            </a:pathLst>
          </a:custGeom>
          <a:ln w="12700" cmpd="sng">
            <a:solidFill>
              <a:srgbClr val="6D6F7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>
              <a:defRPr/>
            </a:pPr>
            <a:endParaRPr lang="en-US">
              <a:latin typeface="HelvNeue for IBM Medium"/>
            </a:endParaRPr>
          </a:p>
        </p:txBody>
      </p:sp>
      <p:sp>
        <p:nvSpPr>
          <p:cNvPr id="21" name="Freeform 20"/>
          <p:cNvSpPr/>
          <p:nvPr/>
        </p:nvSpPr>
        <p:spPr>
          <a:xfrm>
            <a:off x="5494037" y="3520464"/>
            <a:ext cx="435076" cy="584358"/>
          </a:xfrm>
          <a:custGeom>
            <a:avLst/>
            <a:gdLst>
              <a:gd name="connsiteX0" fmla="*/ 218285 w 218285"/>
              <a:gd name="connsiteY0" fmla="*/ 0 h 515921"/>
              <a:gd name="connsiteX1" fmla="*/ 138908 w 218285"/>
              <a:gd name="connsiteY1" fmla="*/ 92601 h 515921"/>
              <a:gd name="connsiteX2" fmla="*/ 79376 w 218285"/>
              <a:gd name="connsiteY2" fmla="*/ 231503 h 515921"/>
              <a:gd name="connsiteX3" fmla="*/ 0 w 218285"/>
              <a:gd name="connsiteY3" fmla="*/ 515921 h 51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85" h="515921">
                <a:moveTo>
                  <a:pt x="218285" y="0"/>
                </a:moveTo>
                <a:cubicBezTo>
                  <a:pt x="190172" y="27008"/>
                  <a:pt x="162059" y="54017"/>
                  <a:pt x="138908" y="92601"/>
                </a:cubicBezTo>
                <a:cubicBezTo>
                  <a:pt x="115757" y="131185"/>
                  <a:pt x="102527" y="160950"/>
                  <a:pt x="79376" y="231503"/>
                </a:cubicBezTo>
                <a:cubicBezTo>
                  <a:pt x="56225" y="302056"/>
                  <a:pt x="0" y="515921"/>
                  <a:pt x="0" y="515921"/>
                </a:cubicBezTo>
              </a:path>
            </a:pathLst>
          </a:custGeom>
          <a:ln w="12700" cmpd="sng">
            <a:solidFill>
              <a:srgbClr val="6D6F7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>
              <a:defRPr/>
            </a:pPr>
            <a:endParaRPr lang="en-US">
              <a:latin typeface="HelvNeue for IBM Medium"/>
            </a:endParaRPr>
          </a:p>
        </p:txBody>
      </p:sp>
      <p:sp>
        <p:nvSpPr>
          <p:cNvPr id="22" name="Freeform 21"/>
          <p:cNvSpPr/>
          <p:nvPr/>
        </p:nvSpPr>
        <p:spPr>
          <a:xfrm flipH="1">
            <a:off x="7158805" y="3520464"/>
            <a:ext cx="394160" cy="584358"/>
          </a:xfrm>
          <a:custGeom>
            <a:avLst/>
            <a:gdLst>
              <a:gd name="connsiteX0" fmla="*/ 218285 w 218285"/>
              <a:gd name="connsiteY0" fmla="*/ 0 h 515921"/>
              <a:gd name="connsiteX1" fmla="*/ 138908 w 218285"/>
              <a:gd name="connsiteY1" fmla="*/ 92601 h 515921"/>
              <a:gd name="connsiteX2" fmla="*/ 79376 w 218285"/>
              <a:gd name="connsiteY2" fmla="*/ 231503 h 515921"/>
              <a:gd name="connsiteX3" fmla="*/ 0 w 218285"/>
              <a:gd name="connsiteY3" fmla="*/ 515921 h 51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85" h="515921">
                <a:moveTo>
                  <a:pt x="218285" y="0"/>
                </a:moveTo>
                <a:cubicBezTo>
                  <a:pt x="190172" y="27008"/>
                  <a:pt x="162059" y="54017"/>
                  <a:pt x="138908" y="92601"/>
                </a:cubicBezTo>
                <a:cubicBezTo>
                  <a:pt x="115757" y="131185"/>
                  <a:pt x="102527" y="160950"/>
                  <a:pt x="79376" y="231503"/>
                </a:cubicBezTo>
                <a:cubicBezTo>
                  <a:pt x="56225" y="302056"/>
                  <a:pt x="0" y="515921"/>
                  <a:pt x="0" y="515921"/>
                </a:cubicBezTo>
              </a:path>
            </a:pathLst>
          </a:custGeom>
          <a:ln w="12700" cmpd="sng">
            <a:solidFill>
              <a:srgbClr val="6D6F7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>
              <a:defRPr/>
            </a:pPr>
            <a:endParaRPr lang="en-US">
              <a:latin typeface="HelvNeue for IBM Medium"/>
            </a:endParaRPr>
          </a:p>
        </p:txBody>
      </p:sp>
      <p:sp>
        <p:nvSpPr>
          <p:cNvPr id="23" name="Freeform 22"/>
          <p:cNvSpPr/>
          <p:nvPr/>
        </p:nvSpPr>
        <p:spPr>
          <a:xfrm flipH="1">
            <a:off x="7905792" y="3549004"/>
            <a:ext cx="259576" cy="323453"/>
          </a:xfrm>
          <a:custGeom>
            <a:avLst/>
            <a:gdLst>
              <a:gd name="connsiteX0" fmla="*/ 218285 w 218285"/>
              <a:gd name="connsiteY0" fmla="*/ 0 h 515921"/>
              <a:gd name="connsiteX1" fmla="*/ 138908 w 218285"/>
              <a:gd name="connsiteY1" fmla="*/ 92601 h 515921"/>
              <a:gd name="connsiteX2" fmla="*/ 79376 w 218285"/>
              <a:gd name="connsiteY2" fmla="*/ 231503 h 515921"/>
              <a:gd name="connsiteX3" fmla="*/ 0 w 218285"/>
              <a:gd name="connsiteY3" fmla="*/ 515921 h 51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85" h="515921">
                <a:moveTo>
                  <a:pt x="218285" y="0"/>
                </a:moveTo>
                <a:cubicBezTo>
                  <a:pt x="190172" y="27008"/>
                  <a:pt x="162059" y="54017"/>
                  <a:pt x="138908" y="92601"/>
                </a:cubicBezTo>
                <a:cubicBezTo>
                  <a:pt x="115757" y="131185"/>
                  <a:pt x="102527" y="160950"/>
                  <a:pt x="79376" y="231503"/>
                </a:cubicBezTo>
                <a:cubicBezTo>
                  <a:pt x="56225" y="302056"/>
                  <a:pt x="0" y="515921"/>
                  <a:pt x="0" y="515921"/>
                </a:cubicBezTo>
              </a:path>
            </a:pathLst>
          </a:custGeom>
          <a:ln w="12700" cmpd="sng">
            <a:solidFill>
              <a:srgbClr val="6D6F7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>
              <a:defRPr/>
            </a:pPr>
            <a:endParaRPr lang="en-US">
              <a:latin typeface="HelvNeue for IBM Medium"/>
            </a:endParaRPr>
          </a:p>
        </p:txBody>
      </p:sp>
      <p:sp>
        <p:nvSpPr>
          <p:cNvPr id="24" name="Freeform 23"/>
          <p:cNvSpPr/>
          <p:nvPr/>
        </p:nvSpPr>
        <p:spPr>
          <a:xfrm>
            <a:off x="4878674" y="3504946"/>
            <a:ext cx="204149" cy="375415"/>
          </a:xfrm>
          <a:custGeom>
            <a:avLst/>
            <a:gdLst>
              <a:gd name="connsiteX0" fmla="*/ 218285 w 218285"/>
              <a:gd name="connsiteY0" fmla="*/ 0 h 515921"/>
              <a:gd name="connsiteX1" fmla="*/ 138908 w 218285"/>
              <a:gd name="connsiteY1" fmla="*/ 92601 h 515921"/>
              <a:gd name="connsiteX2" fmla="*/ 79376 w 218285"/>
              <a:gd name="connsiteY2" fmla="*/ 231503 h 515921"/>
              <a:gd name="connsiteX3" fmla="*/ 0 w 218285"/>
              <a:gd name="connsiteY3" fmla="*/ 515921 h 51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85" h="515921">
                <a:moveTo>
                  <a:pt x="218285" y="0"/>
                </a:moveTo>
                <a:cubicBezTo>
                  <a:pt x="190172" y="27008"/>
                  <a:pt x="162059" y="54017"/>
                  <a:pt x="138908" y="92601"/>
                </a:cubicBezTo>
                <a:cubicBezTo>
                  <a:pt x="115757" y="131185"/>
                  <a:pt x="102527" y="160950"/>
                  <a:pt x="79376" y="231503"/>
                </a:cubicBezTo>
                <a:cubicBezTo>
                  <a:pt x="56225" y="302056"/>
                  <a:pt x="0" y="515921"/>
                  <a:pt x="0" y="515921"/>
                </a:cubicBezTo>
              </a:path>
            </a:pathLst>
          </a:custGeom>
          <a:ln w="12700" cmpd="sng">
            <a:solidFill>
              <a:srgbClr val="6D6F7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>
              <a:defRPr/>
            </a:pPr>
            <a:endParaRPr lang="en-US">
              <a:latin typeface="HelvNeue for IBM Medium"/>
            </a:endParaRPr>
          </a:p>
        </p:txBody>
      </p:sp>
      <p:pic>
        <p:nvPicPr>
          <p:cNvPr id="25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859716" y="3804553"/>
            <a:ext cx="673868" cy="510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618543" y="4064415"/>
            <a:ext cx="569410" cy="431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824844" y="4039902"/>
            <a:ext cx="601378" cy="455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230919" y="4104822"/>
            <a:ext cx="505631" cy="382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extBox 14"/>
          <p:cNvSpPr txBox="1">
            <a:spLocks noChangeArrowheads="1"/>
          </p:cNvSpPr>
          <p:nvPr/>
        </p:nvSpPr>
        <p:spPr bwMode="auto">
          <a:xfrm>
            <a:off x="4363549" y="4274403"/>
            <a:ext cx="736441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sz="1050" dirty="0" smtClean="0">
                <a:solidFill>
                  <a:schemeClr val="tx1"/>
                </a:solidFill>
                <a:latin typeface="HelvNeue for IBM Medium"/>
              </a:rPr>
              <a:t>Facilities</a:t>
            </a:r>
            <a:endParaRPr lang="en-US" sz="1050" dirty="0">
              <a:solidFill>
                <a:schemeClr val="tx1"/>
              </a:solidFill>
              <a:latin typeface="HelvNeue for IBM Medium"/>
            </a:endParaRPr>
          </a:p>
        </p:txBody>
      </p:sp>
      <p:sp>
        <p:nvSpPr>
          <p:cNvPr id="30" name="TextBox 15"/>
          <p:cNvSpPr txBox="1">
            <a:spLocks noChangeArrowheads="1"/>
          </p:cNvSpPr>
          <p:nvPr/>
        </p:nvSpPr>
        <p:spPr bwMode="auto">
          <a:xfrm>
            <a:off x="5019538" y="4420155"/>
            <a:ext cx="736441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sz="1050" dirty="0" smtClean="0">
                <a:solidFill>
                  <a:schemeClr val="tx1"/>
                </a:solidFill>
                <a:latin typeface="HelvNeue for IBM Medium"/>
              </a:rPr>
              <a:t>Vehicles</a:t>
            </a:r>
            <a:endParaRPr lang="en-US" sz="1050" dirty="0">
              <a:solidFill>
                <a:schemeClr val="tx1"/>
              </a:solidFill>
              <a:latin typeface="HelvNeue for IBM Medium"/>
            </a:endParaRPr>
          </a:p>
        </p:txBody>
      </p:sp>
      <p:sp>
        <p:nvSpPr>
          <p:cNvPr id="31" name="TextBox 16"/>
          <p:cNvSpPr txBox="1">
            <a:spLocks noChangeArrowheads="1"/>
          </p:cNvSpPr>
          <p:nvPr/>
        </p:nvSpPr>
        <p:spPr bwMode="auto">
          <a:xfrm>
            <a:off x="5757227" y="4440233"/>
            <a:ext cx="815408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sz="1050" dirty="0" smtClean="0">
                <a:solidFill>
                  <a:schemeClr val="tx1"/>
                </a:solidFill>
                <a:latin typeface="HelvNeue for IBM Medium"/>
              </a:rPr>
              <a:t>Home</a:t>
            </a:r>
            <a:endParaRPr lang="en-US" sz="1050" dirty="0">
              <a:solidFill>
                <a:schemeClr val="tx1"/>
              </a:solidFill>
              <a:latin typeface="HelvNeue for IBM Medium"/>
            </a:endParaRPr>
          </a:p>
        </p:txBody>
      </p:sp>
      <p:sp>
        <p:nvSpPr>
          <p:cNvPr id="32" name="TextBox 17"/>
          <p:cNvSpPr txBox="1">
            <a:spLocks noChangeArrowheads="1"/>
          </p:cNvSpPr>
          <p:nvPr/>
        </p:nvSpPr>
        <p:spPr bwMode="auto">
          <a:xfrm>
            <a:off x="6553396" y="4465513"/>
            <a:ext cx="815407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sz="1050" dirty="0" smtClean="0">
                <a:solidFill>
                  <a:schemeClr val="tx1"/>
                </a:solidFill>
                <a:latin typeface="HelvNeue for IBM Medium"/>
              </a:rPr>
              <a:t>Health</a:t>
            </a:r>
            <a:endParaRPr lang="en-US" sz="1050" dirty="0">
              <a:solidFill>
                <a:schemeClr val="tx1"/>
              </a:solidFill>
              <a:latin typeface="HelvNeue for IBM Medium"/>
            </a:endParaRPr>
          </a:p>
        </p:txBody>
      </p:sp>
      <p:sp>
        <p:nvSpPr>
          <p:cNvPr id="33" name="TextBox 18"/>
          <p:cNvSpPr txBox="1">
            <a:spLocks noChangeArrowheads="1"/>
          </p:cNvSpPr>
          <p:nvPr/>
        </p:nvSpPr>
        <p:spPr bwMode="auto">
          <a:xfrm>
            <a:off x="8029550" y="4210208"/>
            <a:ext cx="744724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sz="1050" dirty="0" smtClean="0">
                <a:solidFill>
                  <a:schemeClr val="tx1"/>
                </a:solidFill>
                <a:latin typeface="HelvNeue for IBM Medium"/>
              </a:rPr>
              <a:t>Factories</a:t>
            </a:r>
            <a:endParaRPr lang="en-US" sz="1050" dirty="0">
              <a:solidFill>
                <a:schemeClr val="tx1"/>
              </a:solidFill>
              <a:latin typeface="HelvNeue for IBM Medium"/>
            </a:endParaRPr>
          </a:p>
        </p:txBody>
      </p:sp>
      <p:sp>
        <p:nvSpPr>
          <p:cNvPr id="34" name="TextBox 20"/>
          <p:cNvSpPr txBox="1">
            <a:spLocks noChangeArrowheads="1"/>
          </p:cNvSpPr>
          <p:nvPr/>
        </p:nvSpPr>
        <p:spPr bwMode="auto">
          <a:xfrm>
            <a:off x="7301651" y="4449203"/>
            <a:ext cx="1211254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sz="1050" dirty="0" smtClean="0">
                <a:solidFill>
                  <a:schemeClr val="tx1"/>
                </a:solidFill>
                <a:latin typeface="HelvNeue for IBM Medium"/>
              </a:rPr>
              <a:t>Transport</a:t>
            </a:r>
            <a:endParaRPr lang="en-US" sz="1050" dirty="0">
              <a:solidFill>
                <a:schemeClr val="tx1"/>
              </a:solidFill>
              <a:latin typeface="HelvNeue for IBM Medium"/>
            </a:endParaRPr>
          </a:p>
        </p:txBody>
      </p:sp>
      <p:pic>
        <p:nvPicPr>
          <p:cNvPr id="35" name="Pictur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8259" y="4204042"/>
            <a:ext cx="388728" cy="293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25656" y="3889079"/>
            <a:ext cx="483906" cy="470647"/>
          </a:xfrm>
          <a:prstGeom prst="rect">
            <a:avLst/>
          </a:prstGeom>
        </p:spPr>
      </p:pic>
      <p:grpSp>
        <p:nvGrpSpPr>
          <p:cNvPr id="37" name="Group 36"/>
          <p:cNvGrpSpPr/>
          <p:nvPr/>
        </p:nvGrpSpPr>
        <p:grpSpPr>
          <a:xfrm>
            <a:off x="5319639" y="4156990"/>
            <a:ext cx="176679" cy="172023"/>
            <a:chOff x="6038850" y="1933703"/>
            <a:chExt cx="971550" cy="886270"/>
          </a:xfrm>
        </p:grpSpPr>
        <p:sp>
          <p:nvSpPr>
            <p:cNvPr id="38" name="Oval 37"/>
            <p:cNvSpPr/>
            <p:nvPr/>
          </p:nvSpPr>
          <p:spPr>
            <a:xfrm>
              <a:off x="6324600" y="2419350"/>
              <a:ext cx="228600" cy="2286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39" name="Arc 38"/>
            <p:cNvSpPr/>
            <p:nvPr/>
          </p:nvSpPr>
          <p:spPr>
            <a:xfrm>
              <a:off x="6172200" y="2266950"/>
              <a:ext cx="533400" cy="553023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40" name="Arc 39"/>
            <p:cNvSpPr/>
            <p:nvPr/>
          </p:nvSpPr>
          <p:spPr>
            <a:xfrm>
              <a:off x="6134100" y="2105726"/>
              <a:ext cx="723900" cy="714247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41" name="Arc 40"/>
            <p:cNvSpPr/>
            <p:nvPr/>
          </p:nvSpPr>
          <p:spPr>
            <a:xfrm>
              <a:off x="6038850" y="1933703"/>
              <a:ext cx="971550" cy="886270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 flipH="1">
            <a:off x="7521223" y="4145869"/>
            <a:ext cx="176679" cy="156385"/>
            <a:chOff x="6038850" y="1933703"/>
            <a:chExt cx="971550" cy="886270"/>
          </a:xfrm>
        </p:grpSpPr>
        <p:sp>
          <p:nvSpPr>
            <p:cNvPr id="43" name="Oval 42"/>
            <p:cNvSpPr/>
            <p:nvPr/>
          </p:nvSpPr>
          <p:spPr>
            <a:xfrm>
              <a:off x="6324600" y="2419350"/>
              <a:ext cx="228600" cy="2286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44" name="Arc 43"/>
            <p:cNvSpPr/>
            <p:nvPr/>
          </p:nvSpPr>
          <p:spPr>
            <a:xfrm>
              <a:off x="6172200" y="2266950"/>
              <a:ext cx="533400" cy="553023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45" name="Arc 44"/>
            <p:cNvSpPr/>
            <p:nvPr/>
          </p:nvSpPr>
          <p:spPr>
            <a:xfrm>
              <a:off x="6134100" y="2105726"/>
              <a:ext cx="723900" cy="714247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46" name="Arc 45"/>
            <p:cNvSpPr/>
            <p:nvPr/>
          </p:nvSpPr>
          <p:spPr>
            <a:xfrm>
              <a:off x="6038850" y="1933703"/>
              <a:ext cx="971550" cy="886270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4929640" y="3839069"/>
            <a:ext cx="176679" cy="172023"/>
            <a:chOff x="6038850" y="1933703"/>
            <a:chExt cx="971550" cy="886270"/>
          </a:xfrm>
        </p:grpSpPr>
        <p:sp>
          <p:nvSpPr>
            <p:cNvPr id="48" name="Oval 47"/>
            <p:cNvSpPr/>
            <p:nvPr/>
          </p:nvSpPr>
          <p:spPr>
            <a:xfrm>
              <a:off x="6324600" y="2419350"/>
              <a:ext cx="228600" cy="2286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49" name="Arc 48"/>
            <p:cNvSpPr/>
            <p:nvPr/>
          </p:nvSpPr>
          <p:spPr>
            <a:xfrm>
              <a:off x="6172200" y="2266950"/>
              <a:ext cx="533400" cy="553023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50" name="Arc 49"/>
            <p:cNvSpPr/>
            <p:nvPr/>
          </p:nvSpPr>
          <p:spPr>
            <a:xfrm>
              <a:off x="6134100" y="2105726"/>
              <a:ext cx="723900" cy="714247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51" name="Arc 50"/>
            <p:cNvSpPr/>
            <p:nvPr/>
          </p:nvSpPr>
          <p:spPr>
            <a:xfrm>
              <a:off x="6038850" y="1933703"/>
              <a:ext cx="971550" cy="886270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6224519" y="3977831"/>
            <a:ext cx="176679" cy="172023"/>
            <a:chOff x="6038850" y="1933703"/>
            <a:chExt cx="971550" cy="886270"/>
          </a:xfrm>
        </p:grpSpPr>
        <p:sp>
          <p:nvSpPr>
            <p:cNvPr id="53" name="Oval 52"/>
            <p:cNvSpPr/>
            <p:nvPr/>
          </p:nvSpPr>
          <p:spPr>
            <a:xfrm>
              <a:off x="6324600" y="2419350"/>
              <a:ext cx="228600" cy="2286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54" name="Arc 53"/>
            <p:cNvSpPr/>
            <p:nvPr/>
          </p:nvSpPr>
          <p:spPr>
            <a:xfrm>
              <a:off x="6172200" y="2266950"/>
              <a:ext cx="533400" cy="553023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55" name="Arc 54"/>
            <p:cNvSpPr/>
            <p:nvPr/>
          </p:nvSpPr>
          <p:spPr>
            <a:xfrm>
              <a:off x="6134100" y="2105726"/>
              <a:ext cx="723900" cy="714247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56" name="Arc 55"/>
            <p:cNvSpPr/>
            <p:nvPr/>
          </p:nvSpPr>
          <p:spPr>
            <a:xfrm>
              <a:off x="6038850" y="1933703"/>
              <a:ext cx="971550" cy="886270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</p:grpSp>
      <p:grpSp>
        <p:nvGrpSpPr>
          <p:cNvPr id="57" name="Group 56"/>
          <p:cNvGrpSpPr/>
          <p:nvPr/>
        </p:nvGrpSpPr>
        <p:grpSpPr>
          <a:xfrm flipH="1">
            <a:off x="7878079" y="3905844"/>
            <a:ext cx="176679" cy="156385"/>
            <a:chOff x="6038850" y="1933703"/>
            <a:chExt cx="971550" cy="886270"/>
          </a:xfrm>
        </p:grpSpPr>
        <p:sp>
          <p:nvSpPr>
            <p:cNvPr id="58" name="Oval 57"/>
            <p:cNvSpPr/>
            <p:nvPr/>
          </p:nvSpPr>
          <p:spPr>
            <a:xfrm>
              <a:off x="6324600" y="2419350"/>
              <a:ext cx="228600" cy="2286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59" name="Arc 58"/>
            <p:cNvSpPr/>
            <p:nvPr/>
          </p:nvSpPr>
          <p:spPr>
            <a:xfrm>
              <a:off x="6172200" y="2266950"/>
              <a:ext cx="533400" cy="553023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60" name="Arc 59"/>
            <p:cNvSpPr/>
            <p:nvPr/>
          </p:nvSpPr>
          <p:spPr>
            <a:xfrm>
              <a:off x="6134100" y="2105726"/>
              <a:ext cx="723900" cy="714247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61" name="Arc 60"/>
            <p:cNvSpPr/>
            <p:nvPr/>
          </p:nvSpPr>
          <p:spPr>
            <a:xfrm>
              <a:off x="6038850" y="1933703"/>
              <a:ext cx="971550" cy="886270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</p:grpSp>
      <p:grpSp>
        <p:nvGrpSpPr>
          <p:cNvPr id="62" name="Group 61"/>
          <p:cNvGrpSpPr/>
          <p:nvPr/>
        </p:nvGrpSpPr>
        <p:grpSpPr>
          <a:xfrm flipH="1">
            <a:off x="6759223" y="3977831"/>
            <a:ext cx="176679" cy="172023"/>
            <a:chOff x="6038850" y="1933703"/>
            <a:chExt cx="971550" cy="886270"/>
          </a:xfrm>
        </p:grpSpPr>
        <p:sp>
          <p:nvSpPr>
            <p:cNvPr id="63" name="Oval 62"/>
            <p:cNvSpPr/>
            <p:nvPr/>
          </p:nvSpPr>
          <p:spPr>
            <a:xfrm>
              <a:off x="6324600" y="2419350"/>
              <a:ext cx="228600" cy="2286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64" name="Arc 63"/>
            <p:cNvSpPr/>
            <p:nvPr/>
          </p:nvSpPr>
          <p:spPr>
            <a:xfrm>
              <a:off x="6172200" y="2266950"/>
              <a:ext cx="533400" cy="553023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65" name="Arc 64"/>
            <p:cNvSpPr/>
            <p:nvPr/>
          </p:nvSpPr>
          <p:spPr>
            <a:xfrm>
              <a:off x="6134100" y="2105726"/>
              <a:ext cx="723900" cy="714247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66" name="Arc 65"/>
            <p:cNvSpPr/>
            <p:nvPr/>
          </p:nvSpPr>
          <p:spPr>
            <a:xfrm>
              <a:off x="6038850" y="1933703"/>
              <a:ext cx="971550" cy="886270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</p:grpSp>
      <p:sp>
        <p:nvSpPr>
          <p:cNvPr id="67" name="Round Same Side Corner Rectangle 66"/>
          <p:cNvSpPr/>
          <p:nvPr/>
        </p:nvSpPr>
        <p:spPr>
          <a:xfrm flipV="1">
            <a:off x="4549424" y="2749218"/>
            <a:ext cx="4114799" cy="1037927"/>
          </a:xfrm>
          <a:prstGeom prst="round2SameRect">
            <a:avLst/>
          </a:prstGeom>
          <a:solidFill>
            <a:srgbClr val="3A67AB">
              <a:alpha val="4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Neue for IBM Medium"/>
            </a:endParaRPr>
          </a:p>
        </p:txBody>
      </p:sp>
      <p:sp>
        <p:nvSpPr>
          <p:cNvPr id="68" name="Freeform 67"/>
          <p:cNvSpPr/>
          <p:nvPr/>
        </p:nvSpPr>
        <p:spPr>
          <a:xfrm flipH="1">
            <a:off x="7905792" y="3549004"/>
            <a:ext cx="259576" cy="323453"/>
          </a:xfrm>
          <a:custGeom>
            <a:avLst/>
            <a:gdLst>
              <a:gd name="connsiteX0" fmla="*/ 218285 w 218285"/>
              <a:gd name="connsiteY0" fmla="*/ 0 h 515921"/>
              <a:gd name="connsiteX1" fmla="*/ 138908 w 218285"/>
              <a:gd name="connsiteY1" fmla="*/ 92601 h 515921"/>
              <a:gd name="connsiteX2" fmla="*/ 79376 w 218285"/>
              <a:gd name="connsiteY2" fmla="*/ 231503 h 515921"/>
              <a:gd name="connsiteX3" fmla="*/ 0 w 218285"/>
              <a:gd name="connsiteY3" fmla="*/ 515921 h 51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85" h="515921">
                <a:moveTo>
                  <a:pt x="218285" y="0"/>
                </a:moveTo>
                <a:cubicBezTo>
                  <a:pt x="190172" y="27008"/>
                  <a:pt x="162059" y="54017"/>
                  <a:pt x="138908" y="92601"/>
                </a:cubicBezTo>
                <a:cubicBezTo>
                  <a:pt x="115757" y="131185"/>
                  <a:pt x="102527" y="160950"/>
                  <a:pt x="79376" y="231503"/>
                </a:cubicBezTo>
                <a:cubicBezTo>
                  <a:pt x="56225" y="302056"/>
                  <a:pt x="0" y="515921"/>
                  <a:pt x="0" y="515921"/>
                </a:cubicBezTo>
              </a:path>
            </a:pathLst>
          </a:custGeom>
          <a:ln w="12700" cmpd="sng">
            <a:solidFill>
              <a:srgbClr val="6D6F7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>
              <a:defRPr/>
            </a:pPr>
            <a:endParaRPr lang="en-US">
              <a:latin typeface="HelvNeue for IBM Medium"/>
            </a:endParaRPr>
          </a:p>
        </p:txBody>
      </p:sp>
      <p:sp>
        <p:nvSpPr>
          <p:cNvPr id="69" name="Freeform 68"/>
          <p:cNvSpPr/>
          <p:nvPr/>
        </p:nvSpPr>
        <p:spPr>
          <a:xfrm>
            <a:off x="4878674" y="3504946"/>
            <a:ext cx="204149" cy="375415"/>
          </a:xfrm>
          <a:custGeom>
            <a:avLst/>
            <a:gdLst>
              <a:gd name="connsiteX0" fmla="*/ 218285 w 218285"/>
              <a:gd name="connsiteY0" fmla="*/ 0 h 515921"/>
              <a:gd name="connsiteX1" fmla="*/ 138908 w 218285"/>
              <a:gd name="connsiteY1" fmla="*/ 92601 h 515921"/>
              <a:gd name="connsiteX2" fmla="*/ 79376 w 218285"/>
              <a:gd name="connsiteY2" fmla="*/ 231503 h 515921"/>
              <a:gd name="connsiteX3" fmla="*/ 0 w 218285"/>
              <a:gd name="connsiteY3" fmla="*/ 515921 h 51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85" h="515921">
                <a:moveTo>
                  <a:pt x="218285" y="0"/>
                </a:moveTo>
                <a:cubicBezTo>
                  <a:pt x="190172" y="27008"/>
                  <a:pt x="162059" y="54017"/>
                  <a:pt x="138908" y="92601"/>
                </a:cubicBezTo>
                <a:cubicBezTo>
                  <a:pt x="115757" y="131185"/>
                  <a:pt x="102527" y="160950"/>
                  <a:pt x="79376" y="231503"/>
                </a:cubicBezTo>
                <a:cubicBezTo>
                  <a:pt x="56225" y="302056"/>
                  <a:pt x="0" y="515921"/>
                  <a:pt x="0" y="515921"/>
                </a:cubicBezTo>
              </a:path>
            </a:pathLst>
          </a:custGeom>
          <a:ln w="12700" cmpd="sng">
            <a:solidFill>
              <a:srgbClr val="6D6F7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>
              <a:defRPr/>
            </a:pPr>
            <a:endParaRPr lang="en-US">
              <a:latin typeface="HelvNeue for IBM Medium"/>
            </a:endParaRPr>
          </a:p>
        </p:txBody>
      </p:sp>
      <p:pic>
        <p:nvPicPr>
          <p:cNvPr id="70" name="Picture 69"/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4778024" y="2849484"/>
            <a:ext cx="3756024" cy="930045"/>
          </a:xfrm>
          <a:prstGeom prst="rect">
            <a:avLst/>
          </a:prstGeom>
        </p:spPr>
      </p:pic>
      <p:sp>
        <p:nvSpPr>
          <p:cNvPr id="71" name="TextBox 23"/>
          <p:cNvSpPr txBox="1">
            <a:spLocks noChangeArrowheads="1"/>
          </p:cNvSpPr>
          <p:nvPr/>
        </p:nvSpPr>
        <p:spPr bwMode="auto">
          <a:xfrm>
            <a:off x="5554907" y="2974872"/>
            <a:ext cx="222055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sz="1200" dirty="0" smtClean="0">
                <a:latin typeface="HelvNeue for IBM Medium"/>
              </a:rPr>
              <a:t>IBM Watson IoT Platform</a:t>
            </a:r>
            <a:endParaRPr lang="en-US" sz="1200" dirty="0">
              <a:latin typeface="HelvNeue for IBM Medium"/>
            </a:endParaRPr>
          </a:p>
        </p:txBody>
      </p:sp>
      <p:pic>
        <p:nvPicPr>
          <p:cNvPr id="72" name="Picture 71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5412" b="89691" l="20656" r="79537">
                        <a14:foregroundMark x1="50579" y1="19330" x2="50579" y2="19330"/>
                        <a14:foregroundMark x1="62548" y1="22938" x2="62548" y2="22938"/>
                        <a14:foregroundMark x1="74903" y1="33247" x2="74903" y2="33247"/>
                        <a14:foregroundMark x1="36680" y1="22165" x2="36680" y2="22165"/>
                        <a14:foregroundMark x1="27992" y1="35309" x2="27992" y2="35309"/>
                        <a14:backgroundMark x1="36873" y1="42010" x2="36873" y2="42010"/>
                        <a14:backgroundMark x1="40347" y1="51031" x2="40347" y2="51031"/>
                        <a14:backgroundMark x1="40541" y1="58505" x2="40541" y2="58505"/>
                        <a14:backgroundMark x1="37452" y1="68814" x2="37452" y2="68814"/>
                        <a14:backgroundMark x1="48649" y1="70361" x2="48649" y2="70361"/>
                        <a14:backgroundMark x1="50193" y1="57990" x2="50193" y2="57990"/>
                        <a14:backgroundMark x1="50772" y1="44845" x2="50772" y2="44845"/>
                        <a14:backgroundMark x1="59846" y1="43299" x2="59846" y2="43299"/>
                        <a14:backgroundMark x1="59073" y1="56443" x2="59073" y2="56443"/>
                        <a14:backgroundMark x1="55212" y1="66753" x2="55212" y2="66753"/>
                        <a14:backgroundMark x1="60618" y1="72165" x2="60618" y2="72165"/>
                        <a14:backgroundMark x1="52317" y1="79897" x2="52317" y2="79897"/>
                        <a14:backgroundMark x1="46139" y1="79897" x2="46139" y2="79897"/>
                        <a14:backgroundMark x1="68147" y1="61340" x2="68147" y2="61340"/>
                        <a14:backgroundMark x1="48069" y1="33247" x2="48069" y2="33247"/>
                        <a14:backgroundMark x1="53861" y1="35309" x2="53861" y2="35309"/>
                        <a14:backgroundMark x1="53668" y1="39433" x2="53668" y2="39433"/>
                        <a14:backgroundMark x1="32239" y1="52320" x2="32239" y2="52320"/>
                        <a14:backgroundMark x1="32239" y1="59794" x2="32239" y2="59794"/>
                        <a14:backgroundMark x1="45174" y1="75258" x2="45174" y2="75258"/>
                        <a14:backgroundMark x1="42085" y1="66237" x2="42085" y2="66237"/>
                        <a14:backgroundMark x1="42471" y1="79381" x2="42471" y2="79381"/>
                        <a14:backgroundMark x1="64479" y1="53093" x2="64479" y2="5309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857838" y="3304805"/>
            <a:ext cx="476926" cy="357235"/>
          </a:xfrm>
          <a:prstGeom prst="rect">
            <a:avLst/>
          </a:prstGeom>
        </p:spPr>
      </p:pic>
      <p:pic>
        <p:nvPicPr>
          <p:cNvPr id="73" name="Picture 7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94144" y="3381356"/>
            <a:ext cx="239415" cy="239415"/>
          </a:xfrm>
          <a:prstGeom prst="rect">
            <a:avLst/>
          </a:prstGeom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149623" y="3335375"/>
            <a:ext cx="291592" cy="291592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5242815" y="3277484"/>
            <a:ext cx="705845" cy="329855"/>
          </a:xfrm>
          <a:prstGeom prst="rect">
            <a:avLst/>
          </a:prstGeom>
        </p:spPr>
      </p:pic>
      <p:pic>
        <p:nvPicPr>
          <p:cNvPr id="76" name="Picture 75"/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521221" y="3254063"/>
            <a:ext cx="690619" cy="329855"/>
          </a:xfrm>
          <a:prstGeom prst="rect">
            <a:avLst/>
          </a:prstGeom>
        </p:spPr>
      </p:pic>
      <p:sp>
        <p:nvSpPr>
          <p:cNvPr id="77" name="Rounded Rectangle 76"/>
          <p:cNvSpPr/>
          <p:nvPr/>
        </p:nvSpPr>
        <p:spPr>
          <a:xfrm>
            <a:off x="4549423" y="745927"/>
            <a:ext cx="4114800" cy="3024496"/>
          </a:xfrm>
          <a:prstGeom prst="roundRect">
            <a:avLst>
              <a:gd name="adj" fmla="val 6986"/>
            </a:avLst>
          </a:prstGeom>
          <a:noFill/>
          <a:ln>
            <a:solidFill>
              <a:schemeClr val="tx2">
                <a:lumMod val="40000"/>
                <a:lumOff val="6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  <a:solidFill>
                <a:srgbClr val="FFFFFF"/>
              </a:solidFill>
              <a:latin typeface="HelvNeue for IBM Medium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707847" y="1827108"/>
            <a:ext cx="986274" cy="656061"/>
          </a:xfrm>
          <a:prstGeom prst="roundRect">
            <a:avLst/>
          </a:prstGeom>
          <a:solidFill>
            <a:srgbClr val="2594C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HelvNeue for IBM Medium"/>
              </a:rPr>
              <a:t>Connect</a:t>
            </a:r>
            <a:endParaRPr lang="en-US" sz="1000" dirty="0">
              <a:latin typeface="HelvNeue for IBM Medium"/>
            </a:endParaRPr>
          </a:p>
        </p:txBody>
      </p:sp>
      <p:sp>
        <p:nvSpPr>
          <p:cNvPr id="78" name="Rounded Rectangle 77"/>
          <p:cNvSpPr/>
          <p:nvPr/>
        </p:nvSpPr>
        <p:spPr>
          <a:xfrm>
            <a:off x="707847" y="2551673"/>
            <a:ext cx="986274" cy="656061"/>
          </a:xfrm>
          <a:prstGeom prst="roundRect">
            <a:avLst/>
          </a:prstGeom>
          <a:solidFill>
            <a:srgbClr val="2F7E9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HelvNeue for IBM Medium"/>
              </a:rPr>
              <a:t>Information Management</a:t>
            </a:r>
            <a:endParaRPr lang="en-US" sz="1000" dirty="0">
              <a:latin typeface="HelvNeue for IBM Medium"/>
            </a:endParaRPr>
          </a:p>
        </p:txBody>
      </p:sp>
      <p:sp>
        <p:nvSpPr>
          <p:cNvPr id="79" name="Rounded Rectangle 78"/>
          <p:cNvSpPr/>
          <p:nvPr/>
        </p:nvSpPr>
        <p:spPr>
          <a:xfrm>
            <a:off x="707847" y="3261797"/>
            <a:ext cx="986274" cy="656061"/>
          </a:xfrm>
          <a:prstGeom prst="roundRect">
            <a:avLst/>
          </a:prstGeom>
          <a:solidFill>
            <a:srgbClr val="1677A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HelvNeue for IBM Medium"/>
              </a:rPr>
              <a:t>Analytics</a:t>
            </a:r>
            <a:endParaRPr lang="en-US" sz="1000" dirty="0">
              <a:latin typeface="HelvNeue for IBM Medium"/>
            </a:endParaRPr>
          </a:p>
        </p:txBody>
      </p:sp>
      <p:sp>
        <p:nvSpPr>
          <p:cNvPr id="80" name="Rounded Rectangle 79"/>
          <p:cNvSpPr/>
          <p:nvPr/>
        </p:nvSpPr>
        <p:spPr>
          <a:xfrm>
            <a:off x="707847" y="4001553"/>
            <a:ext cx="986274" cy="656061"/>
          </a:xfrm>
          <a:prstGeom prst="roundRect">
            <a:avLst/>
          </a:prstGeom>
          <a:solidFill>
            <a:srgbClr val="328F8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HelvNeue for IBM Medium"/>
              </a:rPr>
              <a:t>Risk Management</a:t>
            </a:r>
            <a:endParaRPr lang="en-US" sz="1000" dirty="0">
              <a:latin typeface="HelvNeue for IBM Medium"/>
            </a:endParaRPr>
          </a:p>
        </p:txBody>
      </p:sp>
    </p:spTree>
    <p:extLst>
      <p:ext uri="{BB962C8B-B14F-4D97-AF65-F5344CB8AC3E}">
        <p14:creationId xmlns:p14="http://schemas.microsoft.com/office/powerpoint/2010/main" val="30237326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34104"/>
            <a:ext cx="7543800" cy="403466"/>
          </a:xfrm>
        </p:spPr>
        <p:txBody>
          <a:bodyPr/>
          <a:lstStyle/>
          <a:p>
            <a:r>
              <a:rPr lang="en-US" sz="2400" dirty="0" smtClean="0">
                <a:latin typeface="HelvNeue for IBM Medium"/>
              </a:rPr>
              <a:t>IoT value strategy</a:t>
            </a:r>
            <a:endParaRPr lang="en-US" sz="2400" dirty="0">
              <a:latin typeface="HelvNeue for IBM Medium"/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228600" y="742950"/>
            <a:ext cx="4495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latin typeface="HelvNeue for IBM Medium"/>
              </a:rPr>
              <a:t>Looking to optimize…</a:t>
            </a:r>
            <a:endParaRPr lang="en-US" sz="1600" dirty="0" smtClean="0">
              <a:latin typeface="HelvNeue for IBM Medium"/>
            </a:endParaRPr>
          </a:p>
          <a:p>
            <a:r>
              <a:rPr lang="en-US" sz="1600" dirty="0">
                <a:latin typeface="HelvNeue for IBM Medium"/>
              </a:rPr>
              <a:t>	</a:t>
            </a:r>
            <a:r>
              <a:rPr lang="en-US" sz="1600" dirty="0" smtClean="0">
                <a:latin typeface="HelvNeue for IBM Medium"/>
              </a:rPr>
              <a:t>Assets?  Product Development?  Safety	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913470" y="1428750"/>
            <a:ext cx="31345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5799F2"/>
                </a:solidFill>
                <a:latin typeface="HelvNeue for IBM Medium"/>
              </a:rPr>
              <a:t>Start with the </a:t>
            </a:r>
            <a:r>
              <a:rPr lang="en-US" sz="1600" b="1" dirty="0" err="1" smtClean="0">
                <a:solidFill>
                  <a:srgbClr val="5799F2"/>
                </a:solidFill>
                <a:latin typeface="HelvNeue for IBM Medium"/>
              </a:rPr>
              <a:t>IoT</a:t>
            </a:r>
            <a:r>
              <a:rPr lang="en-US" sz="1600" b="1" dirty="0" smtClean="0">
                <a:solidFill>
                  <a:srgbClr val="5799F2"/>
                </a:solidFill>
                <a:latin typeface="HelvNeue for IBM Medium"/>
              </a:rPr>
              <a:t> Applications</a:t>
            </a:r>
            <a:endParaRPr lang="en-US" sz="1600" b="1" dirty="0">
              <a:solidFill>
                <a:srgbClr val="5799F2"/>
              </a:solidFill>
              <a:latin typeface="HelvNeue for IBM Medium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2056470" y="1827108"/>
            <a:ext cx="18726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HelvNeue for IBM Medium"/>
              </a:rPr>
              <a:t>Improve space utilization</a:t>
            </a:r>
          </a:p>
          <a:p>
            <a:r>
              <a:rPr lang="en-US" sz="1200" dirty="0" smtClean="0">
                <a:latin typeface="HelvNeue for IBM Medium"/>
              </a:rPr>
              <a:t>Reduce energy usage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2056470" y="2387874"/>
            <a:ext cx="208582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HelvNeue for IBM Medium"/>
              </a:rPr>
              <a:t>Reduce time to value</a:t>
            </a:r>
          </a:p>
          <a:p>
            <a:r>
              <a:rPr lang="en-US" sz="1200" dirty="0" smtClean="0">
                <a:latin typeface="HelvNeue for IBM Medium"/>
              </a:rPr>
              <a:t>Improve lease management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2078664" y="2952750"/>
            <a:ext cx="17313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HelvNeue for IBM Medium"/>
              </a:rPr>
              <a:t>Optimize resources</a:t>
            </a:r>
          </a:p>
          <a:p>
            <a:r>
              <a:rPr lang="en-US" sz="1200" dirty="0" smtClean="0">
                <a:latin typeface="HelvNeue for IBM Medium"/>
              </a:rPr>
              <a:t>Increase ‘re-use’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2060060" y="4091285"/>
            <a:ext cx="20329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HelvNeue for IBM Medium"/>
              </a:rPr>
              <a:t>Life cycle management</a:t>
            </a:r>
          </a:p>
          <a:p>
            <a:r>
              <a:rPr lang="en-US" sz="1200" dirty="0" smtClean="0">
                <a:latin typeface="HelvNeue for IBM Medium"/>
              </a:rPr>
              <a:t>Configuration management</a:t>
            </a:r>
          </a:p>
        </p:txBody>
      </p:sp>
      <p:pic>
        <p:nvPicPr>
          <p:cNvPr id="112" name="Picture 90" descr="MC900431502.PNG"/>
          <p:cNvPicPr>
            <a:picLocks noChangeAspect="1"/>
          </p:cNvPicPr>
          <p:nvPr/>
        </p:nvPicPr>
        <p:blipFill>
          <a:blip r:embed="rId2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9081" y="1840731"/>
            <a:ext cx="482910" cy="377458"/>
          </a:xfrm>
          <a:prstGeom prst="rect">
            <a:avLst/>
          </a:prstGeom>
        </p:spPr>
      </p:pic>
      <p:pic>
        <p:nvPicPr>
          <p:cNvPr id="113" name="Picture 93" descr="MC900431495.PNG"/>
          <p:cNvPicPr>
            <a:picLocks noChangeAspect="1"/>
          </p:cNvPicPr>
          <p:nvPr/>
        </p:nvPicPr>
        <p:blipFill>
          <a:blip r:embed="rId3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745" y="2377864"/>
            <a:ext cx="483583" cy="377768"/>
          </a:xfrm>
          <a:prstGeom prst="rect">
            <a:avLst/>
          </a:prstGeom>
        </p:spPr>
      </p:pic>
      <p:sp>
        <p:nvSpPr>
          <p:cNvPr id="114" name="TextBox 102"/>
          <p:cNvSpPr txBox="1">
            <a:spLocks noChangeArrowheads="1"/>
          </p:cNvSpPr>
          <p:nvPr/>
        </p:nvSpPr>
        <p:spPr bwMode="auto">
          <a:xfrm>
            <a:off x="789150" y="2105624"/>
            <a:ext cx="109998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1000" dirty="0">
                <a:latin typeface="HelvNeue for IBM Medium"/>
                <a:cs typeface="Arial" charset="0"/>
              </a:rPr>
              <a:t>Facility &amp; Space</a:t>
            </a:r>
          </a:p>
        </p:txBody>
      </p:sp>
      <p:sp>
        <p:nvSpPr>
          <p:cNvPr id="115" name="TextBox 103"/>
          <p:cNvSpPr txBox="1">
            <a:spLocks noChangeArrowheads="1"/>
          </p:cNvSpPr>
          <p:nvPr/>
        </p:nvSpPr>
        <p:spPr bwMode="auto">
          <a:xfrm>
            <a:off x="931880" y="2675820"/>
            <a:ext cx="84350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1000" dirty="0">
                <a:latin typeface="HelvNeue for IBM Medium"/>
                <a:cs typeface="Arial" charset="0"/>
              </a:rPr>
              <a:t>Real Estate</a:t>
            </a:r>
          </a:p>
        </p:txBody>
      </p:sp>
      <p:pic>
        <p:nvPicPr>
          <p:cNvPr id="116" name="Picture 115" descr="MC900431522.PNG"/>
          <p:cNvPicPr>
            <a:picLocks noChangeAspect="1"/>
          </p:cNvPicPr>
          <p:nvPr/>
        </p:nvPicPr>
        <p:blipFill>
          <a:blip r:embed="rId4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681" y="2986053"/>
            <a:ext cx="486290" cy="379882"/>
          </a:xfrm>
          <a:prstGeom prst="rect">
            <a:avLst/>
          </a:prstGeom>
        </p:spPr>
      </p:pic>
      <p:pic>
        <p:nvPicPr>
          <p:cNvPr id="117" name="Picture 116" descr="MC900431509.PNG"/>
          <p:cNvPicPr>
            <a:picLocks noChangeAspect="1"/>
          </p:cNvPicPr>
          <p:nvPr/>
        </p:nvPicPr>
        <p:blipFill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223" y="3554955"/>
            <a:ext cx="486290" cy="379882"/>
          </a:xfrm>
          <a:prstGeom prst="rect">
            <a:avLst/>
          </a:prstGeom>
        </p:spPr>
      </p:pic>
      <p:sp>
        <p:nvSpPr>
          <p:cNvPr id="118" name="TextBox 106"/>
          <p:cNvSpPr txBox="1">
            <a:spLocks noChangeArrowheads="1"/>
          </p:cNvSpPr>
          <p:nvPr/>
        </p:nvSpPr>
        <p:spPr bwMode="auto">
          <a:xfrm>
            <a:off x="672352" y="3247591"/>
            <a:ext cx="141096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1000" dirty="0" smtClean="0">
                <a:latin typeface="HelvNeue for IBM Medium"/>
                <a:cs typeface="Arial" charset="0"/>
              </a:rPr>
              <a:t>Product Development</a:t>
            </a:r>
            <a:endParaRPr lang="en-US" sz="1000" dirty="0">
              <a:latin typeface="HelvNeue for IBM Medium"/>
              <a:cs typeface="Arial" charset="0"/>
            </a:endParaRPr>
          </a:p>
        </p:txBody>
      </p:sp>
      <p:sp>
        <p:nvSpPr>
          <p:cNvPr id="119" name="TextBox 108"/>
          <p:cNvSpPr txBox="1">
            <a:spLocks noChangeArrowheads="1"/>
          </p:cNvSpPr>
          <p:nvPr/>
        </p:nvSpPr>
        <p:spPr bwMode="auto">
          <a:xfrm>
            <a:off x="692137" y="3825736"/>
            <a:ext cx="151766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1000" dirty="0" smtClean="0">
                <a:latin typeface="HelvNeue for IBM Medium"/>
                <a:cs typeface="Arial" charset="0"/>
              </a:rPr>
              <a:t>Predictive Maintenance</a:t>
            </a:r>
            <a:endParaRPr lang="en-US" sz="1000" dirty="0">
              <a:latin typeface="HelvNeue for IBM Medium"/>
              <a:cs typeface="Arial" charset="0"/>
            </a:endParaRPr>
          </a:p>
        </p:txBody>
      </p:sp>
      <p:pic>
        <p:nvPicPr>
          <p:cNvPr id="120" name="Picture 119" descr="MC900431505.PNG"/>
          <p:cNvPicPr>
            <a:picLocks noChangeAspect="1"/>
          </p:cNvPicPr>
          <p:nvPr/>
        </p:nvPicPr>
        <p:blipFill>
          <a:blip r:embed="rId6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4045" y="4054493"/>
            <a:ext cx="486290" cy="379882"/>
          </a:xfrm>
          <a:prstGeom prst="rect">
            <a:avLst/>
          </a:prstGeom>
        </p:spPr>
      </p:pic>
      <p:sp>
        <p:nvSpPr>
          <p:cNvPr id="121" name="TextBox 111"/>
          <p:cNvSpPr txBox="1">
            <a:spLocks noChangeArrowheads="1"/>
          </p:cNvSpPr>
          <p:nvPr/>
        </p:nvSpPr>
        <p:spPr bwMode="auto">
          <a:xfrm>
            <a:off x="675716" y="4346572"/>
            <a:ext cx="128272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1000">
                <a:latin typeface="HelvNeue for IBM Medium"/>
                <a:cs typeface="Arial" charset="0"/>
              </a:rPr>
              <a:t>Asset Management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2078664" y="3562350"/>
            <a:ext cx="17313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HelvNeue for IBM Medium"/>
              </a:rPr>
              <a:t>Operational risk</a:t>
            </a:r>
          </a:p>
          <a:p>
            <a:r>
              <a:rPr lang="en-US" sz="1200" dirty="0" smtClean="0">
                <a:latin typeface="HelvNeue for IBM Medium"/>
              </a:rPr>
              <a:t>Increase reliability</a:t>
            </a:r>
          </a:p>
        </p:txBody>
      </p:sp>
      <p:sp>
        <p:nvSpPr>
          <p:cNvPr id="124" name="Freeform 123"/>
          <p:cNvSpPr/>
          <p:nvPr/>
        </p:nvSpPr>
        <p:spPr>
          <a:xfrm>
            <a:off x="6167458" y="3549005"/>
            <a:ext cx="134566" cy="504259"/>
          </a:xfrm>
          <a:custGeom>
            <a:avLst/>
            <a:gdLst>
              <a:gd name="connsiteX0" fmla="*/ 218285 w 218285"/>
              <a:gd name="connsiteY0" fmla="*/ 0 h 515921"/>
              <a:gd name="connsiteX1" fmla="*/ 138908 w 218285"/>
              <a:gd name="connsiteY1" fmla="*/ 92601 h 515921"/>
              <a:gd name="connsiteX2" fmla="*/ 79376 w 218285"/>
              <a:gd name="connsiteY2" fmla="*/ 231503 h 515921"/>
              <a:gd name="connsiteX3" fmla="*/ 0 w 218285"/>
              <a:gd name="connsiteY3" fmla="*/ 515921 h 51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85" h="515921">
                <a:moveTo>
                  <a:pt x="218285" y="0"/>
                </a:moveTo>
                <a:cubicBezTo>
                  <a:pt x="190172" y="27008"/>
                  <a:pt x="162059" y="54017"/>
                  <a:pt x="138908" y="92601"/>
                </a:cubicBezTo>
                <a:cubicBezTo>
                  <a:pt x="115757" y="131185"/>
                  <a:pt x="102527" y="160950"/>
                  <a:pt x="79376" y="231503"/>
                </a:cubicBezTo>
                <a:cubicBezTo>
                  <a:pt x="56225" y="302056"/>
                  <a:pt x="0" y="515921"/>
                  <a:pt x="0" y="515921"/>
                </a:cubicBezTo>
              </a:path>
            </a:pathLst>
          </a:custGeom>
          <a:ln w="12700" cmpd="sng">
            <a:solidFill>
              <a:srgbClr val="6D6F7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>
              <a:defRPr/>
            </a:pPr>
            <a:endParaRPr lang="en-US">
              <a:latin typeface="HelvNeue for IBM Medium"/>
            </a:endParaRPr>
          </a:p>
        </p:txBody>
      </p:sp>
      <p:sp>
        <p:nvSpPr>
          <p:cNvPr id="125" name="Freeform 124"/>
          <p:cNvSpPr/>
          <p:nvPr/>
        </p:nvSpPr>
        <p:spPr>
          <a:xfrm flipH="1">
            <a:off x="6806557" y="3549005"/>
            <a:ext cx="135140" cy="448449"/>
          </a:xfrm>
          <a:custGeom>
            <a:avLst/>
            <a:gdLst>
              <a:gd name="connsiteX0" fmla="*/ 218285 w 218285"/>
              <a:gd name="connsiteY0" fmla="*/ 0 h 515921"/>
              <a:gd name="connsiteX1" fmla="*/ 138908 w 218285"/>
              <a:gd name="connsiteY1" fmla="*/ 92601 h 515921"/>
              <a:gd name="connsiteX2" fmla="*/ 79376 w 218285"/>
              <a:gd name="connsiteY2" fmla="*/ 231503 h 515921"/>
              <a:gd name="connsiteX3" fmla="*/ 0 w 218285"/>
              <a:gd name="connsiteY3" fmla="*/ 515921 h 51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85" h="515921">
                <a:moveTo>
                  <a:pt x="218285" y="0"/>
                </a:moveTo>
                <a:cubicBezTo>
                  <a:pt x="190172" y="27008"/>
                  <a:pt x="162059" y="54017"/>
                  <a:pt x="138908" y="92601"/>
                </a:cubicBezTo>
                <a:cubicBezTo>
                  <a:pt x="115757" y="131185"/>
                  <a:pt x="102527" y="160950"/>
                  <a:pt x="79376" y="231503"/>
                </a:cubicBezTo>
                <a:cubicBezTo>
                  <a:pt x="56225" y="302056"/>
                  <a:pt x="0" y="515921"/>
                  <a:pt x="0" y="515921"/>
                </a:cubicBezTo>
              </a:path>
            </a:pathLst>
          </a:custGeom>
          <a:ln w="12700" cmpd="sng">
            <a:solidFill>
              <a:srgbClr val="6D6F7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>
              <a:defRPr/>
            </a:pPr>
            <a:endParaRPr lang="en-US">
              <a:latin typeface="HelvNeue for IBM Medium"/>
            </a:endParaRPr>
          </a:p>
        </p:txBody>
      </p:sp>
      <p:sp>
        <p:nvSpPr>
          <p:cNvPr id="126" name="Freeform 125"/>
          <p:cNvSpPr/>
          <p:nvPr/>
        </p:nvSpPr>
        <p:spPr>
          <a:xfrm>
            <a:off x="5494037" y="3520464"/>
            <a:ext cx="435076" cy="584358"/>
          </a:xfrm>
          <a:custGeom>
            <a:avLst/>
            <a:gdLst>
              <a:gd name="connsiteX0" fmla="*/ 218285 w 218285"/>
              <a:gd name="connsiteY0" fmla="*/ 0 h 515921"/>
              <a:gd name="connsiteX1" fmla="*/ 138908 w 218285"/>
              <a:gd name="connsiteY1" fmla="*/ 92601 h 515921"/>
              <a:gd name="connsiteX2" fmla="*/ 79376 w 218285"/>
              <a:gd name="connsiteY2" fmla="*/ 231503 h 515921"/>
              <a:gd name="connsiteX3" fmla="*/ 0 w 218285"/>
              <a:gd name="connsiteY3" fmla="*/ 515921 h 51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85" h="515921">
                <a:moveTo>
                  <a:pt x="218285" y="0"/>
                </a:moveTo>
                <a:cubicBezTo>
                  <a:pt x="190172" y="27008"/>
                  <a:pt x="162059" y="54017"/>
                  <a:pt x="138908" y="92601"/>
                </a:cubicBezTo>
                <a:cubicBezTo>
                  <a:pt x="115757" y="131185"/>
                  <a:pt x="102527" y="160950"/>
                  <a:pt x="79376" y="231503"/>
                </a:cubicBezTo>
                <a:cubicBezTo>
                  <a:pt x="56225" y="302056"/>
                  <a:pt x="0" y="515921"/>
                  <a:pt x="0" y="515921"/>
                </a:cubicBezTo>
              </a:path>
            </a:pathLst>
          </a:custGeom>
          <a:ln w="12700" cmpd="sng">
            <a:solidFill>
              <a:srgbClr val="6D6F7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>
              <a:defRPr/>
            </a:pPr>
            <a:endParaRPr lang="en-US">
              <a:latin typeface="HelvNeue for IBM Medium"/>
            </a:endParaRPr>
          </a:p>
        </p:txBody>
      </p:sp>
      <p:sp>
        <p:nvSpPr>
          <p:cNvPr id="127" name="Freeform 126"/>
          <p:cNvSpPr/>
          <p:nvPr/>
        </p:nvSpPr>
        <p:spPr>
          <a:xfrm flipH="1">
            <a:off x="7158805" y="3520464"/>
            <a:ext cx="394160" cy="584358"/>
          </a:xfrm>
          <a:custGeom>
            <a:avLst/>
            <a:gdLst>
              <a:gd name="connsiteX0" fmla="*/ 218285 w 218285"/>
              <a:gd name="connsiteY0" fmla="*/ 0 h 515921"/>
              <a:gd name="connsiteX1" fmla="*/ 138908 w 218285"/>
              <a:gd name="connsiteY1" fmla="*/ 92601 h 515921"/>
              <a:gd name="connsiteX2" fmla="*/ 79376 w 218285"/>
              <a:gd name="connsiteY2" fmla="*/ 231503 h 515921"/>
              <a:gd name="connsiteX3" fmla="*/ 0 w 218285"/>
              <a:gd name="connsiteY3" fmla="*/ 515921 h 51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85" h="515921">
                <a:moveTo>
                  <a:pt x="218285" y="0"/>
                </a:moveTo>
                <a:cubicBezTo>
                  <a:pt x="190172" y="27008"/>
                  <a:pt x="162059" y="54017"/>
                  <a:pt x="138908" y="92601"/>
                </a:cubicBezTo>
                <a:cubicBezTo>
                  <a:pt x="115757" y="131185"/>
                  <a:pt x="102527" y="160950"/>
                  <a:pt x="79376" y="231503"/>
                </a:cubicBezTo>
                <a:cubicBezTo>
                  <a:pt x="56225" y="302056"/>
                  <a:pt x="0" y="515921"/>
                  <a:pt x="0" y="515921"/>
                </a:cubicBezTo>
              </a:path>
            </a:pathLst>
          </a:custGeom>
          <a:ln w="12700" cmpd="sng">
            <a:solidFill>
              <a:srgbClr val="6D6F7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>
              <a:defRPr/>
            </a:pPr>
            <a:endParaRPr lang="en-US">
              <a:latin typeface="HelvNeue for IBM Medium"/>
            </a:endParaRPr>
          </a:p>
        </p:txBody>
      </p:sp>
      <p:sp>
        <p:nvSpPr>
          <p:cNvPr id="128" name="Freeform 127"/>
          <p:cNvSpPr/>
          <p:nvPr/>
        </p:nvSpPr>
        <p:spPr>
          <a:xfrm flipH="1">
            <a:off x="7905792" y="3549004"/>
            <a:ext cx="259576" cy="323453"/>
          </a:xfrm>
          <a:custGeom>
            <a:avLst/>
            <a:gdLst>
              <a:gd name="connsiteX0" fmla="*/ 218285 w 218285"/>
              <a:gd name="connsiteY0" fmla="*/ 0 h 515921"/>
              <a:gd name="connsiteX1" fmla="*/ 138908 w 218285"/>
              <a:gd name="connsiteY1" fmla="*/ 92601 h 515921"/>
              <a:gd name="connsiteX2" fmla="*/ 79376 w 218285"/>
              <a:gd name="connsiteY2" fmla="*/ 231503 h 515921"/>
              <a:gd name="connsiteX3" fmla="*/ 0 w 218285"/>
              <a:gd name="connsiteY3" fmla="*/ 515921 h 51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85" h="515921">
                <a:moveTo>
                  <a:pt x="218285" y="0"/>
                </a:moveTo>
                <a:cubicBezTo>
                  <a:pt x="190172" y="27008"/>
                  <a:pt x="162059" y="54017"/>
                  <a:pt x="138908" y="92601"/>
                </a:cubicBezTo>
                <a:cubicBezTo>
                  <a:pt x="115757" y="131185"/>
                  <a:pt x="102527" y="160950"/>
                  <a:pt x="79376" y="231503"/>
                </a:cubicBezTo>
                <a:cubicBezTo>
                  <a:pt x="56225" y="302056"/>
                  <a:pt x="0" y="515921"/>
                  <a:pt x="0" y="515921"/>
                </a:cubicBezTo>
              </a:path>
            </a:pathLst>
          </a:custGeom>
          <a:ln w="12700" cmpd="sng">
            <a:solidFill>
              <a:srgbClr val="6D6F7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>
              <a:defRPr/>
            </a:pPr>
            <a:endParaRPr lang="en-US">
              <a:latin typeface="HelvNeue for IBM Medium"/>
            </a:endParaRPr>
          </a:p>
        </p:txBody>
      </p:sp>
      <p:sp>
        <p:nvSpPr>
          <p:cNvPr id="129" name="Freeform 128"/>
          <p:cNvSpPr/>
          <p:nvPr/>
        </p:nvSpPr>
        <p:spPr>
          <a:xfrm>
            <a:off x="4878674" y="3504946"/>
            <a:ext cx="204149" cy="375415"/>
          </a:xfrm>
          <a:custGeom>
            <a:avLst/>
            <a:gdLst>
              <a:gd name="connsiteX0" fmla="*/ 218285 w 218285"/>
              <a:gd name="connsiteY0" fmla="*/ 0 h 515921"/>
              <a:gd name="connsiteX1" fmla="*/ 138908 w 218285"/>
              <a:gd name="connsiteY1" fmla="*/ 92601 h 515921"/>
              <a:gd name="connsiteX2" fmla="*/ 79376 w 218285"/>
              <a:gd name="connsiteY2" fmla="*/ 231503 h 515921"/>
              <a:gd name="connsiteX3" fmla="*/ 0 w 218285"/>
              <a:gd name="connsiteY3" fmla="*/ 515921 h 51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85" h="515921">
                <a:moveTo>
                  <a:pt x="218285" y="0"/>
                </a:moveTo>
                <a:cubicBezTo>
                  <a:pt x="190172" y="27008"/>
                  <a:pt x="162059" y="54017"/>
                  <a:pt x="138908" y="92601"/>
                </a:cubicBezTo>
                <a:cubicBezTo>
                  <a:pt x="115757" y="131185"/>
                  <a:pt x="102527" y="160950"/>
                  <a:pt x="79376" y="231503"/>
                </a:cubicBezTo>
                <a:cubicBezTo>
                  <a:pt x="56225" y="302056"/>
                  <a:pt x="0" y="515921"/>
                  <a:pt x="0" y="515921"/>
                </a:cubicBezTo>
              </a:path>
            </a:pathLst>
          </a:custGeom>
          <a:ln w="12700" cmpd="sng">
            <a:solidFill>
              <a:srgbClr val="6D6F7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>
              <a:defRPr/>
            </a:pPr>
            <a:endParaRPr lang="en-US">
              <a:latin typeface="HelvNeue for IBM Medium"/>
            </a:endParaRPr>
          </a:p>
        </p:txBody>
      </p:sp>
      <p:pic>
        <p:nvPicPr>
          <p:cNvPr id="13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859716" y="3804553"/>
            <a:ext cx="673868" cy="510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1" name="Picture 1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618543" y="4064415"/>
            <a:ext cx="569410" cy="431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2" name="Picture 1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824844" y="4039902"/>
            <a:ext cx="601378" cy="455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" name="Picture 1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230919" y="4104822"/>
            <a:ext cx="505631" cy="382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4" name="TextBox 14"/>
          <p:cNvSpPr txBox="1">
            <a:spLocks noChangeArrowheads="1"/>
          </p:cNvSpPr>
          <p:nvPr/>
        </p:nvSpPr>
        <p:spPr bwMode="auto">
          <a:xfrm>
            <a:off x="4363549" y="4274403"/>
            <a:ext cx="736441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sz="1050" dirty="0" smtClean="0">
                <a:solidFill>
                  <a:schemeClr val="tx1"/>
                </a:solidFill>
                <a:latin typeface="HelvNeue for IBM Medium"/>
              </a:rPr>
              <a:t>Facilities</a:t>
            </a:r>
            <a:endParaRPr lang="en-US" sz="1050" dirty="0">
              <a:solidFill>
                <a:schemeClr val="tx1"/>
              </a:solidFill>
              <a:latin typeface="HelvNeue for IBM Medium"/>
            </a:endParaRPr>
          </a:p>
        </p:txBody>
      </p:sp>
      <p:sp>
        <p:nvSpPr>
          <p:cNvPr id="135" name="TextBox 15"/>
          <p:cNvSpPr txBox="1">
            <a:spLocks noChangeArrowheads="1"/>
          </p:cNvSpPr>
          <p:nvPr/>
        </p:nvSpPr>
        <p:spPr bwMode="auto">
          <a:xfrm>
            <a:off x="5019538" y="4420155"/>
            <a:ext cx="736441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sz="1050" dirty="0" smtClean="0">
                <a:solidFill>
                  <a:schemeClr val="tx1"/>
                </a:solidFill>
                <a:latin typeface="HelvNeue for IBM Medium"/>
              </a:rPr>
              <a:t>Vehicles</a:t>
            </a:r>
            <a:endParaRPr lang="en-US" sz="1050" dirty="0">
              <a:solidFill>
                <a:schemeClr val="tx1"/>
              </a:solidFill>
              <a:latin typeface="HelvNeue for IBM Medium"/>
            </a:endParaRPr>
          </a:p>
        </p:txBody>
      </p:sp>
      <p:sp>
        <p:nvSpPr>
          <p:cNvPr id="136" name="TextBox 16"/>
          <p:cNvSpPr txBox="1">
            <a:spLocks noChangeArrowheads="1"/>
          </p:cNvSpPr>
          <p:nvPr/>
        </p:nvSpPr>
        <p:spPr bwMode="auto">
          <a:xfrm>
            <a:off x="5757227" y="4440233"/>
            <a:ext cx="815408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sz="1050" dirty="0" smtClean="0">
                <a:solidFill>
                  <a:schemeClr val="tx1"/>
                </a:solidFill>
                <a:latin typeface="HelvNeue for IBM Medium"/>
              </a:rPr>
              <a:t>Home</a:t>
            </a:r>
            <a:endParaRPr lang="en-US" sz="1050" dirty="0">
              <a:solidFill>
                <a:schemeClr val="tx1"/>
              </a:solidFill>
              <a:latin typeface="HelvNeue for IBM Medium"/>
            </a:endParaRPr>
          </a:p>
        </p:txBody>
      </p:sp>
      <p:sp>
        <p:nvSpPr>
          <p:cNvPr id="137" name="TextBox 17"/>
          <p:cNvSpPr txBox="1">
            <a:spLocks noChangeArrowheads="1"/>
          </p:cNvSpPr>
          <p:nvPr/>
        </p:nvSpPr>
        <p:spPr bwMode="auto">
          <a:xfrm>
            <a:off x="6553396" y="4465513"/>
            <a:ext cx="815407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sz="1050" dirty="0" smtClean="0">
                <a:solidFill>
                  <a:schemeClr val="tx1"/>
                </a:solidFill>
                <a:latin typeface="HelvNeue for IBM Medium"/>
              </a:rPr>
              <a:t>Health</a:t>
            </a:r>
            <a:endParaRPr lang="en-US" sz="1050" dirty="0">
              <a:solidFill>
                <a:schemeClr val="tx1"/>
              </a:solidFill>
              <a:latin typeface="HelvNeue for IBM Medium"/>
            </a:endParaRPr>
          </a:p>
        </p:txBody>
      </p:sp>
      <p:sp>
        <p:nvSpPr>
          <p:cNvPr id="138" name="TextBox 18"/>
          <p:cNvSpPr txBox="1">
            <a:spLocks noChangeArrowheads="1"/>
          </p:cNvSpPr>
          <p:nvPr/>
        </p:nvSpPr>
        <p:spPr bwMode="auto">
          <a:xfrm>
            <a:off x="8029550" y="4210208"/>
            <a:ext cx="744724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sz="1050" dirty="0" smtClean="0">
                <a:solidFill>
                  <a:schemeClr val="tx1"/>
                </a:solidFill>
                <a:latin typeface="HelvNeue for IBM Medium"/>
              </a:rPr>
              <a:t>Factories</a:t>
            </a:r>
            <a:endParaRPr lang="en-US" sz="1050" dirty="0">
              <a:solidFill>
                <a:schemeClr val="tx1"/>
              </a:solidFill>
              <a:latin typeface="HelvNeue for IBM Medium"/>
            </a:endParaRPr>
          </a:p>
        </p:txBody>
      </p:sp>
      <p:sp>
        <p:nvSpPr>
          <p:cNvPr id="139" name="TextBox 20"/>
          <p:cNvSpPr txBox="1">
            <a:spLocks noChangeArrowheads="1"/>
          </p:cNvSpPr>
          <p:nvPr/>
        </p:nvSpPr>
        <p:spPr bwMode="auto">
          <a:xfrm>
            <a:off x="7301651" y="4449203"/>
            <a:ext cx="1211254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sz="1050" dirty="0" smtClean="0">
                <a:solidFill>
                  <a:schemeClr val="tx1"/>
                </a:solidFill>
                <a:latin typeface="HelvNeue for IBM Medium"/>
              </a:rPr>
              <a:t>Transport</a:t>
            </a:r>
            <a:endParaRPr lang="en-US" sz="1050" dirty="0">
              <a:solidFill>
                <a:schemeClr val="tx1"/>
              </a:solidFill>
              <a:latin typeface="HelvNeue for IBM Medium"/>
            </a:endParaRPr>
          </a:p>
        </p:txBody>
      </p:sp>
      <p:pic>
        <p:nvPicPr>
          <p:cNvPr id="140" name="Picture 2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8259" y="4204042"/>
            <a:ext cx="388728" cy="293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1" name="Picture 140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625656" y="3889079"/>
            <a:ext cx="483906" cy="470647"/>
          </a:xfrm>
          <a:prstGeom prst="rect">
            <a:avLst/>
          </a:prstGeom>
        </p:spPr>
      </p:pic>
      <p:grpSp>
        <p:nvGrpSpPr>
          <p:cNvPr id="142" name="Group 141"/>
          <p:cNvGrpSpPr/>
          <p:nvPr/>
        </p:nvGrpSpPr>
        <p:grpSpPr>
          <a:xfrm>
            <a:off x="5319639" y="4156990"/>
            <a:ext cx="176679" cy="172023"/>
            <a:chOff x="6038850" y="1933703"/>
            <a:chExt cx="971550" cy="886270"/>
          </a:xfrm>
        </p:grpSpPr>
        <p:sp>
          <p:nvSpPr>
            <p:cNvPr id="209" name="Oval 208"/>
            <p:cNvSpPr/>
            <p:nvPr/>
          </p:nvSpPr>
          <p:spPr>
            <a:xfrm>
              <a:off x="6324600" y="2419350"/>
              <a:ext cx="228600" cy="2286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210" name="Arc 209"/>
            <p:cNvSpPr/>
            <p:nvPr/>
          </p:nvSpPr>
          <p:spPr>
            <a:xfrm>
              <a:off x="6172200" y="2266950"/>
              <a:ext cx="533400" cy="553023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211" name="Arc 210"/>
            <p:cNvSpPr/>
            <p:nvPr/>
          </p:nvSpPr>
          <p:spPr>
            <a:xfrm>
              <a:off x="6134100" y="2105726"/>
              <a:ext cx="723900" cy="714247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212" name="Arc 211"/>
            <p:cNvSpPr/>
            <p:nvPr/>
          </p:nvSpPr>
          <p:spPr>
            <a:xfrm>
              <a:off x="6038850" y="1933703"/>
              <a:ext cx="971550" cy="886270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</p:grpSp>
      <p:grpSp>
        <p:nvGrpSpPr>
          <p:cNvPr id="143" name="Group 142"/>
          <p:cNvGrpSpPr/>
          <p:nvPr/>
        </p:nvGrpSpPr>
        <p:grpSpPr>
          <a:xfrm flipH="1">
            <a:off x="7521223" y="4145869"/>
            <a:ext cx="176679" cy="156385"/>
            <a:chOff x="6038850" y="1933703"/>
            <a:chExt cx="971550" cy="886270"/>
          </a:xfrm>
        </p:grpSpPr>
        <p:sp>
          <p:nvSpPr>
            <p:cNvPr id="205" name="Oval 204"/>
            <p:cNvSpPr/>
            <p:nvPr/>
          </p:nvSpPr>
          <p:spPr>
            <a:xfrm>
              <a:off x="6324600" y="2419350"/>
              <a:ext cx="228600" cy="2286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206" name="Arc 205"/>
            <p:cNvSpPr/>
            <p:nvPr/>
          </p:nvSpPr>
          <p:spPr>
            <a:xfrm>
              <a:off x="6172200" y="2266950"/>
              <a:ext cx="533400" cy="553023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207" name="Arc 206"/>
            <p:cNvSpPr/>
            <p:nvPr/>
          </p:nvSpPr>
          <p:spPr>
            <a:xfrm>
              <a:off x="6134100" y="2105726"/>
              <a:ext cx="723900" cy="714247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208" name="Arc 207"/>
            <p:cNvSpPr/>
            <p:nvPr/>
          </p:nvSpPr>
          <p:spPr>
            <a:xfrm>
              <a:off x="6038850" y="1933703"/>
              <a:ext cx="971550" cy="886270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</p:grpSp>
      <p:grpSp>
        <p:nvGrpSpPr>
          <p:cNvPr id="144" name="Group 143"/>
          <p:cNvGrpSpPr/>
          <p:nvPr/>
        </p:nvGrpSpPr>
        <p:grpSpPr>
          <a:xfrm>
            <a:off x="4929640" y="3839069"/>
            <a:ext cx="176679" cy="172023"/>
            <a:chOff x="6038850" y="1933703"/>
            <a:chExt cx="971550" cy="886270"/>
          </a:xfrm>
        </p:grpSpPr>
        <p:sp>
          <p:nvSpPr>
            <p:cNvPr id="201" name="Oval 200"/>
            <p:cNvSpPr/>
            <p:nvPr/>
          </p:nvSpPr>
          <p:spPr>
            <a:xfrm>
              <a:off x="6324600" y="2419350"/>
              <a:ext cx="228600" cy="2286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202" name="Arc 201"/>
            <p:cNvSpPr/>
            <p:nvPr/>
          </p:nvSpPr>
          <p:spPr>
            <a:xfrm>
              <a:off x="6172200" y="2266950"/>
              <a:ext cx="533400" cy="553023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203" name="Arc 202"/>
            <p:cNvSpPr/>
            <p:nvPr/>
          </p:nvSpPr>
          <p:spPr>
            <a:xfrm>
              <a:off x="6134100" y="2105726"/>
              <a:ext cx="723900" cy="714247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204" name="Arc 203"/>
            <p:cNvSpPr/>
            <p:nvPr/>
          </p:nvSpPr>
          <p:spPr>
            <a:xfrm>
              <a:off x="6038850" y="1933703"/>
              <a:ext cx="971550" cy="886270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</p:grpSp>
      <p:grpSp>
        <p:nvGrpSpPr>
          <p:cNvPr id="145" name="Group 144"/>
          <p:cNvGrpSpPr/>
          <p:nvPr/>
        </p:nvGrpSpPr>
        <p:grpSpPr>
          <a:xfrm>
            <a:off x="6224519" y="3977831"/>
            <a:ext cx="176679" cy="172023"/>
            <a:chOff x="6038850" y="1933703"/>
            <a:chExt cx="971550" cy="886270"/>
          </a:xfrm>
        </p:grpSpPr>
        <p:sp>
          <p:nvSpPr>
            <p:cNvPr id="197" name="Oval 196"/>
            <p:cNvSpPr/>
            <p:nvPr/>
          </p:nvSpPr>
          <p:spPr>
            <a:xfrm>
              <a:off x="6324600" y="2419350"/>
              <a:ext cx="228600" cy="2286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198" name="Arc 197"/>
            <p:cNvSpPr/>
            <p:nvPr/>
          </p:nvSpPr>
          <p:spPr>
            <a:xfrm>
              <a:off x="6172200" y="2266950"/>
              <a:ext cx="533400" cy="553023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199" name="Arc 198"/>
            <p:cNvSpPr/>
            <p:nvPr/>
          </p:nvSpPr>
          <p:spPr>
            <a:xfrm>
              <a:off x="6134100" y="2105726"/>
              <a:ext cx="723900" cy="714247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200" name="Arc 199"/>
            <p:cNvSpPr/>
            <p:nvPr/>
          </p:nvSpPr>
          <p:spPr>
            <a:xfrm>
              <a:off x="6038850" y="1933703"/>
              <a:ext cx="971550" cy="886270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</p:grpSp>
      <p:grpSp>
        <p:nvGrpSpPr>
          <p:cNvPr id="146" name="Group 145"/>
          <p:cNvGrpSpPr/>
          <p:nvPr/>
        </p:nvGrpSpPr>
        <p:grpSpPr>
          <a:xfrm flipH="1">
            <a:off x="7878079" y="3905844"/>
            <a:ext cx="176679" cy="156385"/>
            <a:chOff x="6038850" y="1933703"/>
            <a:chExt cx="971550" cy="886270"/>
          </a:xfrm>
        </p:grpSpPr>
        <p:sp>
          <p:nvSpPr>
            <p:cNvPr id="193" name="Oval 192"/>
            <p:cNvSpPr/>
            <p:nvPr/>
          </p:nvSpPr>
          <p:spPr>
            <a:xfrm>
              <a:off x="6324600" y="2419350"/>
              <a:ext cx="228600" cy="2286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194" name="Arc 193"/>
            <p:cNvSpPr/>
            <p:nvPr/>
          </p:nvSpPr>
          <p:spPr>
            <a:xfrm>
              <a:off x="6172200" y="2266950"/>
              <a:ext cx="533400" cy="553023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195" name="Arc 194"/>
            <p:cNvSpPr/>
            <p:nvPr/>
          </p:nvSpPr>
          <p:spPr>
            <a:xfrm>
              <a:off x="6134100" y="2105726"/>
              <a:ext cx="723900" cy="714247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196" name="Arc 195"/>
            <p:cNvSpPr/>
            <p:nvPr/>
          </p:nvSpPr>
          <p:spPr>
            <a:xfrm>
              <a:off x="6038850" y="1933703"/>
              <a:ext cx="971550" cy="886270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</p:grpSp>
      <p:grpSp>
        <p:nvGrpSpPr>
          <p:cNvPr id="147" name="Group 146"/>
          <p:cNvGrpSpPr/>
          <p:nvPr/>
        </p:nvGrpSpPr>
        <p:grpSpPr>
          <a:xfrm flipH="1">
            <a:off x="6759223" y="3977831"/>
            <a:ext cx="176679" cy="172023"/>
            <a:chOff x="6038850" y="1933703"/>
            <a:chExt cx="971550" cy="886270"/>
          </a:xfrm>
        </p:grpSpPr>
        <p:sp>
          <p:nvSpPr>
            <p:cNvPr id="189" name="Oval 188"/>
            <p:cNvSpPr/>
            <p:nvPr/>
          </p:nvSpPr>
          <p:spPr>
            <a:xfrm>
              <a:off x="6324600" y="2419350"/>
              <a:ext cx="228600" cy="2286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190" name="Arc 189"/>
            <p:cNvSpPr/>
            <p:nvPr/>
          </p:nvSpPr>
          <p:spPr>
            <a:xfrm>
              <a:off x="6172200" y="2266950"/>
              <a:ext cx="533400" cy="553023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191" name="Arc 190"/>
            <p:cNvSpPr/>
            <p:nvPr/>
          </p:nvSpPr>
          <p:spPr>
            <a:xfrm>
              <a:off x="6134100" y="2105726"/>
              <a:ext cx="723900" cy="714247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192" name="Arc 191"/>
            <p:cNvSpPr/>
            <p:nvPr/>
          </p:nvSpPr>
          <p:spPr>
            <a:xfrm>
              <a:off x="6038850" y="1933703"/>
              <a:ext cx="971550" cy="886270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</p:grpSp>
      <p:sp>
        <p:nvSpPr>
          <p:cNvPr id="148" name="Round Same Side Corner Rectangle 147"/>
          <p:cNvSpPr/>
          <p:nvPr/>
        </p:nvSpPr>
        <p:spPr>
          <a:xfrm flipV="1">
            <a:off x="4549424" y="2749218"/>
            <a:ext cx="4114799" cy="1037927"/>
          </a:xfrm>
          <a:prstGeom prst="round2SameRect">
            <a:avLst/>
          </a:prstGeom>
          <a:solidFill>
            <a:srgbClr val="3A67AB">
              <a:alpha val="4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Neue for IBM Medium"/>
            </a:endParaRPr>
          </a:p>
        </p:txBody>
      </p:sp>
      <p:sp>
        <p:nvSpPr>
          <p:cNvPr id="149" name="Freeform 148"/>
          <p:cNvSpPr/>
          <p:nvPr/>
        </p:nvSpPr>
        <p:spPr>
          <a:xfrm flipH="1">
            <a:off x="7905792" y="3549004"/>
            <a:ext cx="259576" cy="323453"/>
          </a:xfrm>
          <a:custGeom>
            <a:avLst/>
            <a:gdLst>
              <a:gd name="connsiteX0" fmla="*/ 218285 w 218285"/>
              <a:gd name="connsiteY0" fmla="*/ 0 h 515921"/>
              <a:gd name="connsiteX1" fmla="*/ 138908 w 218285"/>
              <a:gd name="connsiteY1" fmla="*/ 92601 h 515921"/>
              <a:gd name="connsiteX2" fmla="*/ 79376 w 218285"/>
              <a:gd name="connsiteY2" fmla="*/ 231503 h 515921"/>
              <a:gd name="connsiteX3" fmla="*/ 0 w 218285"/>
              <a:gd name="connsiteY3" fmla="*/ 515921 h 51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85" h="515921">
                <a:moveTo>
                  <a:pt x="218285" y="0"/>
                </a:moveTo>
                <a:cubicBezTo>
                  <a:pt x="190172" y="27008"/>
                  <a:pt x="162059" y="54017"/>
                  <a:pt x="138908" y="92601"/>
                </a:cubicBezTo>
                <a:cubicBezTo>
                  <a:pt x="115757" y="131185"/>
                  <a:pt x="102527" y="160950"/>
                  <a:pt x="79376" y="231503"/>
                </a:cubicBezTo>
                <a:cubicBezTo>
                  <a:pt x="56225" y="302056"/>
                  <a:pt x="0" y="515921"/>
                  <a:pt x="0" y="515921"/>
                </a:cubicBezTo>
              </a:path>
            </a:pathLst>
          </a:custGeom>
          <a:ln w="12700" cmpd="sng">
            <a:solidFill>
              <a:srgbClr val="6D6F7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>
              <a:defRPr/>
            </a:pPr>
            <a:endParaRPr lang="en-US">
              <a:latin typeface="HelvNeue for IBM Medium"/>
            </a:endParaRPr>
          </a:p>
        </p:txBody>
      </p:sp>
      <p:sp>
        <p:nvSpPr>
          <p:cNvPr id="150" name="Freeform 149"/>
          <p:cNvSpPr/>
          <p:nvPr/>
        </p:nvSpPr>
        <p:spPr>
          <a:xfrm>
            <a:off x="4878674" y="3504946"/>
            <a:ext cx="204149" cy="375415"/>
          </a:xfrm>
          <a:custGeom>
            <a:avLst/>
            <a:gdLst>
              <a:gd name="connsiteX0" fmla="*/ 218285 w 218285"/>
              <a:gd name="connsiteY0" fmla="*/ 0 h 515921"/>
              <a:gd name="connsiteX1" fmla="*/ 138908 w 218285"/>
              <a:gd name="connsiteY1" fmla="*/ 92601 h 515921"/>
              <a:gd name="connsiteX2" fmla="*/ 79376 w 218285"/>
              <a:gd name="connsiteY2" fmla="*/ 231503 h 515921"/>
              <a:gd name="connsiteX3" fmla="*/ 0 w 218285"/>
              <a:gd name="connsiteY3" fmla="*/ 515921 h 51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85" h="515921">
                <a:moveTo>
                  <a:pt x="218285" y="0"/>
                </a:moveTo>
                <a:cubicBezTo>
                  <a:pt x="190172" y="27008"/>
                  <a:pt x="162059" y="54017"/>
                  <a:pt x="138908" y="92601"/>
                </a:cubicBezTo>
                <a:cubicBezTo>
                  <a:pt x="115757" y="131185"/>
                  <a:pt x="102527" y="160950"/>
                  <a:pt x="79376" y="231503"/>
                </a:cubicBezTo>
                <a:cubicBezTo>
                  <a:pt x="56225" y="302056"/>
                  <a:pt x="0" y="515921"/>
                  <a:pt x="0" y="515921"/>
                </a:cubicBezTo>
              </a:path>
            </a:pathLst>
          </a:custGeom>
          <a:ln w="12700" cmpd="sng">
            <a:solidFill>
              <a:srgbClr val="6D6F7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>
              <a:defRPr/>
            </a:pPr>
            <a:endParaRPr lang="en-US">
              <a:latin typeface="HelvNeue for IBM Medium"/>
            </a:endParaRPr>
          </a:p>
        </p:txBody>
      </p:sp>
      <p:pic>
        <p:nvPicPr>
          <p:cNvPr id="151" name="Picture 150"/>
          <p:cNvPicPr>
            <a:picLocks noChangeAspect="1"/>
          </p:cNvPicPr>
          <p:nvPr/>
        </p:nvPicPr>
        <p:blipFill>
          <a:blip r:embed="rId13">
            <a:lum bright="70000" contrast="-70000"/>
          </a:blip>
          <a:stretch>
            <a:fillRect/>
          </a:stretch>
        </p:blipFill>
        <p:spPr>
          <a:xfrm>
            <a:off x="4778024" y="2849484"/>
            <a:ext cx="3756024" cy="930045"/>
          </a:xfrm>
          <a:prstGeom prst="rect">
            <a:avLst/>
          </a:prstGeom>
        </p:spPr>
      </p:pic>
      <p:sp>
        <p:nvSpPr>
          <p:cNvPr id="152" name="TextBox 23"/>
          <p:cNvSpPr txBox="1">
            <a:spLocks noChangeArrowheads="1"/>
          </p:cNvSpPr>
          <p:nvPr/>
        </p:nvSpPr>
        <p:spPr bwMode="auto">
          <a:xfrm>
            <a:off x="5554907" y="2989620"/>
            <a:ext cx="222055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sz="1200" dirty="0" smtClean="0">
                <a:latin typeface="HelvNeue for IBM Medium"/>
              </a:rPr>
              <a:t>IBM Watson IoT Platform</a:t>
            </a:r>
            <a:endParaRPr lang="en-US" sz="1200" dirty="0">
              <a:latin typeface="HelvNeue for IBM Medium"/>
            </a:endParaRPr>
          </a:p>
        </p:txBody>
      </p:sp>
      <p:pic>
        <p:nvPicPr>
          <p:cNvPr id="153" name="Picture 152"/>
          <p:cNvPicPr>
            <a:picLocks noChangeAspect="1"/>
          </p:cNvPicPr>
          <p:nvPr/>
        </p:nvPicPr>
        <p:blipFill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5412" b="89691" l="20656" r="79537">
                        <a14:foregroundMark x1="50579" y1="19330" x2="50579" y2="19330"/>
                        <a14:foregroundMark x1="62548" y1="22938" x2="62548" y2="22938"/>
                        <a14:foregroundMark x1="74903" y1="33247" x2="74903" y2="33247"/>
                        <a14:foregroundMark x1="36680" y1="22165" x2="36680" y2="22165"/>
                        <a14:foregroundMark x1="27992" y1="35309" x2="27992" y2="35309"/>
                        <a14:backgroundMark x1="36873" y1="42010" x2="36873" y2="42010"/>
                        <a14:backgroundMark x1="40347" y1="51031" x2="40347" y2="51031"/>
                        <a14:backgroundMark x1="40541" y1="58505" x2="40541" y2="58505"/>
                        <a14:backgroundMark x1="37452" y1="68814" x2="37452" y2="68814"/>
                        <a14:backgroundMark x1="48649" y1="70361" x2="48649" y2="70361"/>
                        <a14:backgroundMark x1="50193" y1="57990" x2="50193" y2="57990"/>
                        <a14:backgroundMark x1="50772" y1="44845" x2="50772" y2="44845"/>
                        <a14:backgroundMark x1="59846" y1="43299" x2="59846" y2="43299"/>
                        <a14:backgroundMark x1="59073" y1="56443" x2="59073" y2="56443"/>
                        <a14:backgroundMark x1="55212" y1="66753" x2="55212" y2="66753"/>
                        <a14:backgroundMark x1="60618" y1="72165" x2="60618" y2="72165"/>
                        <a14:backgroundMark x1="52317" y1="79897" x2="52317" y2="79897"/>
                        <a14:backgroundMark x1="46139" y1="79897" x2="46139" y2="79897"/>
                        <a14:backgroundMark x1="68147" y1="61340" x2="68147" y2="61340"/>
                        <a14:backgroundMark x1="48069" y1="33247" x2="48069" y2="33247"/>
                        <a14:backgroundMark x1="53861" y1="35309" x2="53861" y2="35309"/>
                        <a14:backgroundMark x1="53668" y1="39433" x2="53668" y2="39433"/>
                        <a14:backgroundMark x1="32239" y1="52320" x2="32239" y2="52320"/>
                        <a14:backgroundMark x1="32239" y1="59794" x2="32239" y2="59794"/>
                        <a14:backgroundMark x1="45174" y1="75258" x2="45174" y2="75258"/>
                        <a14:backgroundMark x1="42085" y1="66237" x2="42085" y2="66237"/>
                        <a14:backgroundMark x1="42471" y1="79381" x2="42471" y2="79381"/>
                        <a14:backgroundMark x1="64479" y1="53093" x2="64479" y2="5309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857838" y="3304805"/>
            <a:ext cx="476926" cy="357235"/>
          </a:xfrm>
          <a:prstGeom prst="rect">
            <a:avLst/>
          </a:prstGeom>
        </p:spPr>
      </p:pic>
      <p:pic>
        <p:nvPicPr>
          <p:cNvPr id="154" name="Picture 153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594144" y="3381356"/>
            <a:ext cx="239415" cy="239415"/>
          </a:xfrm>
          <a:prstGeom prst="rect">
            <a:avLst/>
          </a:prstGeom>
        </p:spPr>
      </p:pic>
      <p:pic>
        <p:nvPicPr>
          <p:cNvPr id="155" name="Picture 154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149623" y="3335375"/>
            <a:ext cx="291592" cy="291592"/>
          </a:xfrm>
          <a:prstGeom prst="rect">
            <a:avLst/>
          </a:prstGeom>
        </p:spPr>
      </p:pic>
      <p:pic>
        <p:nvPicPr>
          <p:cNvPr id="156" name="Picture 155"/>
          <p:cNvPicPr>
            <a:picLocks noChangeAspect="1"/>
          </p:cNvPicPr>
          <p:nvPr/>
        </p:nvPicPr>
        <p:blipFill>
          <a:blip r:embed="rId13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5242815" y="3277484"/>
            <a:ext cx="705845" cy="329855"/>
          </a:xfrm>
          <a:prstGeom prst="rect">
            <a:avLst/>
          </a:prstGeom>
        </p:spPr>
      </p:pic>
      <p:pic>
        <p:nvPicPr>
          <p:cNvPr id="157" name="Picture 156"/>
          <p:cNvPicPr>
            <a:picLocks noChangeAspect="1"/>
          </p:cNvPicPr>
          <p:nvPr/>
        </p:nvPicPr>
        <p:blipFill>
          <a:blip r:embed="rId13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521221" y="3254063"/>
            <a:ext cx="690619" cy="329855"/>
          </a:xfrm>
          <a:prstGeom prst="rect">
            <a:avLst/>
          </a:prstGeom>
        </p:spPr>
      </p:pic>
      <p:sp>
        <p:nvSpPr>
          <p:cNvPr id="158" name="Rounded Rectangle 157"/>
          <p:cNvSpPr/>
          <p:nvPr/>
        </p:nvSpPr>
        <p:spPr>
          <a:xfrm>
            <a:off x="4549423" y="745927"/>
            <a:ext cx="4114800" cy="3024496"/>
          </a:xfrm>
          <a:prstGeom prst="roundRect">
            <a:avLst>
              <a:gd name="adj" fmla="val 6986"/>
            </a:avLst>
          </a:prstGeom>
          <a:noFill/>
          <a:ln>
            <a:solidFill>
              <a:schemeClr val="tx2">
                <a:lumMod val="40000"/>
                <a:lumOff val="6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  <a:solidFill>
                <a:srgbClr val="FFFFFF"/>
              </a:solidFill>
              <a:latin typeface="HelvNeue for IBM Medium"/>
            </a:endParaRPr>
          </a:p>
        </p:txBody>
      </p:sp>
      <p:sp>
        <p:nvSpPr>
          <p:cNvPr id="168" name="Rectangle 167"/>
          <p:cNvSpPr/>
          <p:nvPr/>
        </p:nvSpPr>
        <p:spPr>
          <a:xfrm>
            <a:off x="4543327" y="1877506"/>
            <a:ext cx="4114799" cy="868896"/>
          </a:xfrm>
          <a:prstGeom prst="rect">
            <a:avLst/>
          </a:prstGeom>
          <a:solidFill>
            <a:srgbClr val="90C119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Neue for IBM Medium"/>
            </a:endParaRPr>
          </a:p>
        </p:txBody>
      </p:sp>
      <p:grpSp>
        <p:nvGrpSpPr>
          <p:cNvPr id="169" name="Group 168"/>
          <p:cNvGrpSpPr/>
          <p:nvPr/>
        </p:nvGrpSpPr>
        <p:grpSpPr>
          <a:xfrm>
            <a:off x="4432303" y="1877506"/>
            <a:ext cx="4379825" cy="925821"/>
            <a:chOff x="4689577" y="1456551"/>
            <a:chExt cx="4379825" cy="925821"/>
          </a:xfrm>
        </p:grpSpPr>
        <p:sp>
          <p:nvSpPr>
            <p:cNvPr id="170" name="TextBox 169"/>
            <p:cNvSpPr txBox="1"/>
            <p:nvPr/>
          </p:nvSpPr>
          <p:spPr>
            <a:xfrm>
              <a:off x="7768774" y="1572951"/>
              <a:ext cx="1300628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>
                  <a:latin typeface="HelvNeue for IBM Medium"/>
                </a:rPr>
                <a:t> Facilities </a:t>
              </a:r>
              <a:r>
                <a:rPr lang="en-US" sz="1100" dirty="0" err="1" smtClean="0">
                  <a:latin typeface="HelvNeue for IBM Medium"/>
                </a:rPr>
                <a:t>Mgmt</a:t>
              </a:r>
              <a:endParaRPr lang="en-US" sz="1100" dirty="0">
                <a:latin typeface="HelvNeue for IBM Medium"/>
              </a:endParaRPr>
            </a:p>
          </p:txBody>
        </p:sp>
        <p:sp>
          <p:nvSpPr>
            <p:cNvPr id="171" name="TextBox 170"/>
            <p:cNvSpPr txBox="1"/>
            <p:nvPr/>
          </p:nvSpPr>
          <p:spPr>
            <a:xfrm>
              <a:off x="6422834" y="1472195"/>
              <a:ext cx="147848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>
                  <a:latin typeface="HelvNeue for IBM Medium"/>
                </a:rPr>
                <a:t>Asset Performance</a:t>
              </a:r>
              <a:endParaRPr lang="en-US" sz="1100" dirty="0">
                <a:latin typeface="HelvNeue for IBM Medium"/>
              </a:endParaRPr>
            </a:p>
          </p:txBody>
        </p:sp>
        <p:sp>
          <p:nvSpPr>
            <p:cNvPr id="172" name="TextBox 171"/>
            <p:cNvSpPr txBox="1"/>
            <p:nvPr/>
          </p:nvSpPr>
          <p:spPr>
            <a:xfrm>
              <a:off x="6383629" y="2027185"/>
              <a:ext cx="157419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>
                  <a:latin typeface="HelvNeue for IBM Medium"/>
                </a:rPr>
                <a:t>Connected Products</a:t>
              </a:r>
              <a:endParaRPr lang="en-US" sz="1100" dirty="0">
                <a:latin typeface="HelvNeue for IBM Medium"/>
              </a:endParaRPr>
            </a:p>
          </p:txBody>
        </p:sp>
        <p:sp>
          <p:nvSpPr>
            <p:cNvPr id="173" name="TextBox 172"/>
            <p:cNvSpPr txBox="1"/>
            <p:nvPr/>
          </p:nvSpPr>
          <p:spPr>
            <a:xfrm>
              <a:off x="7648674" y="1891903"/>
              <a:ext cx="97934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>
                  <a:latin typeface="HelvNeue for IBM Medium"/>
                </a:rPr>
                <a:t>Work </a:t>
              </a:r>
              <a:r>
                <a:rPr lang="en-US" sz="1100" dirty="0" err="1" smtClean="0">
                  <a:latin typeface="HelvNeue for IBM Medium"/>
                </a:rPr>
                <a:t>Mgmt</a:t>
              </a:r>
              <a:endParaRPr lang="en-US" sz="1100" dirty="0">
                <a:latin typeface="HelvNeue for IBM Medium"/>
              </a:endParaRPr>
            </a:p>
          </p:txBody>
        </p:sp>
        <p:sp>
          <p:nvSpPr>
            <p:cNvPr id="174" name="TextBox 173"/>
            <p:cNvSpPr txBox="1"/>
            <p:nvPr/>
          </p:nvSpPr>
          <p:spPr>
            <a:xfrm>
              <a:off x="6826602" y="1724373"/>
              <a:ext cx="132276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>
                  <a:latin typeface="HelvNeue for IBM Medium"/>
                </a:rPr>
                <a:t>Health &amp; Safety</a:t>
              </a:r>
              <a:endParaRPr lang="en-US" sz="1100" dirty="0">
                <a:latin typeface="HelvNeue for IBM Medium"/>
              </a:endParaRPr>
            </a:p>
          </p:txBody>
        </p:sp>
        <p:cxnSp>
          <p:nvCxnSpPr>
            <p:cNvPr id="175" name="Straight Connector 174"/>
            <p:cNvCxnSpPr/>
            <p:nvPr/>
          </p:nvCxnSpPr>
          <p:spPr>
            <a:xfrm flipV="1">
              <a:off x="6015150" y="1650995"/>
              <a:ext cx="457200" cy="2401"/>
            </a:xfrm>
            <a:prstGeom prst="line">
              <a:avLst/>
            </a:prstGeom>
            <a:ln>
              <a:solidFill>
                <a:srgbClr val="4BB099"/>
              </a:solidFill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/>
            <p:cNvCxnSpPr/>
            <p:nvPr/>
          </p:nvCxnSpPr>
          <p:spPr>
            <a:xfrm>
              <a:off x="6101905" y="1860395"/>
              <a:ext cx="761043" cy="0"/>
            </a:xfrm>
            <a:prstGeom prst="line">
              <a:avLst/>
            </a:prstGeom>
            <a:ln>
              <a:solidFill>
                <a:srgbClr val="4BB099"/>
              </a:solidFill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/>
            <p:cNvCxnSpPr/>
            <p:nvPr/>
          </p:nvCxnSpPr>
          <p:spPr>
            <a:xfrm flipV="1">
              <a:off x="6087150" y="2087313"/>
              <a:ext cx="365760" cy="2401"/>
            </a:xfrm>
            <a:prstGeom prst="line">
              <a:avLst/>
            </a:prstGeom>
            <a:ln>
              <a:solidFill>
                <a:srgbClr val="4BB099"/>
              </a:solidFill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/>
            <p:cNvCxnSpPr/>
            <p:nvPr/>
          </p:nvCxnSpPr>
          <p:spPr>
            <a:xfrm flipV="1">
              <a:off x="6087150" y="1993700"/>
              <a:ext cx="1596935" cy="2402"/>
            </a:xfrm>
            <a:prstGeom prst="line">
              <a:avLst/>
            </a:prstGeom>
            <a:ln>
              <a:solidFill>
                <a:srgbClr val="4BB099"/>
              </a:solidFill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/>
            <p:cNvCxnSpPr/>
            <p:nvPr/>
          </p:nvCxnSpPr>
          <p:spPr>
            <a:xfrm>
              <a:off x="6087150" y="1740362"/>
              <a:ext cx="1761448" cy="1"/>
            </a:xfrm>
            <a:prstGeom prst="line">
              <a:avLst/>
            </a:prstGeom>
            <a:ln>
              <a:solidFill>
                <a:srgbClr val="4BB099"/>
              </a:solidFill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0" name="Picture 179"/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5776323" y="1627239"/>
              <a:ext cx="487311" cy="487311"/>
            </a:xfrm>
            <a:prstGeom prst="rect">
              <a:avLst/>
            </a:prstGeom>
          </p:spPr>
        </p:pic>
        <p:sp>
          <p:nvSpPr>
            <p:cNvPr id="181" name="Arc 180"/>
            <p:cNvSpPr/>
            <p:nvPr/>
          </p:nvSpPr>
          <p:spPr>
            <a:xfrm rot="15844068">
              <a:off x="5691202" y="1700923"/>
              <a:ext cx="460074" cy="351794"/>
            </a:xfrm>
            <a:prstGeom prst="arc">
              <a:avLst>
                <a:gd name="adj1" fmla="val 16953931"/>
                <a:gd name="adj2" fmla="val 21023047"/>
              </a:avLst>
            </a:prstGeom>
            <a:ln>
              <a:solidFill>
                <a:srgbClr val="4BB099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182" name="Arc 181"/>
            <p:cNvSpPr/>
            <p:nvPr/>
          </p:nvSpPr>
          <p:spPr>
            <a:xfrm rot="12239832">
              <a:off x="5744762" y="1786329"/>
              <a:ext cx="460074" cy="351794"/>
            </a:xfrm>
            <a:prstGeom prst="arc">
              <a:avLst>
                <a:gd name="adj1" fmla="val 16953931"/>
                <a:gd name="adj2" fmla="val 21023047"/>
              </a:avLst>
            </a:prstGeom>
            <a:ln>
              <a:solidFill>
                <a:srgbClr val="4BB099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cxnSp>
          <p:nvCxnSpPr>
            <p:cNvPr id="183" name="Straight Connector 182"/>
            <p:cNvCxnSpPr/>
            <p:nvPr/>
          </p:nvCxnSpPr>
          <p:spPr>
            <a:xfrm flipH="1" flipV="1">
              <a:off x="5647016" y="1682750"/>
              <a:ext cx="129307" cy="42488"/>
            </a:xfrm>
            <a:prstGeom prst="line">
              <a:avLst/>
            </a:prstGeom>
            <a:ln w="28575" cmpd="sng">
              <a:solidFill>
                <a:srgbClr val="4BB099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84" name="Straight Connector 183"/>
            <p:cNvCxnSpPr/>
            <p:nvPr/>
          </p:nvCxnSpPr>
          <p:spPr>
            <a:xfrm flipH="1">
              <a:off x="5671266" y="2008803"/>
              <a:ext cx="112988" cy="78510"/>
            </a:xfrm>
            <a:prstGeom prst="line">
              <a:avLst/>
            </a:prstGeom>
            <a:ln w="28575" cmpd="sng">
              <a:solidFill>
                <a:srgbClr val="4BB099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5" name="TextBox 184"/>
            <p:cNvSpPr txBox="1"/>
            <p:nvPr/>
          </p:nvSpPr>
          <p:spPr>
            <a:xfrm>
              <a:off x="4689577" y="1456551"/>
              <a:ext cx="10094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 dirty="0" smtClean="0">
                  <a:latin typeface="HelvNeue for IBM Medium"/>
                </a:rPr>
                <a:t>Operations</a:t>
              </a:r>
              <a:endParaRPr lang="en-US" sz="1200" dirty="0">
                <a:latin typeface="HelvNeue for IBM Medium"/>
              </a:endParaRPr>
            </a:p>
          </p:txBody>
        </p:sp>
        <p:sp>
          <p:nvSpPr>
            <p:cNvPr id="186" name="TextBox 185"/>
            <p:cNvSpPr txBox="1"/>
            <p:nvPr/>
          </p:nvSpPr>
          <p:spPr>
            <a:xfrm>
              <a:off x="4693002" y="1920707"/>
              <a:ext cx="107868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 dirty="0" smtClean="0">
                  <a:latin typeface="HelvNeue for IBM Medium"/>
                </a:rPr>
                <a:t>Product</a:t>
              </a:r>
            </a:p>
            <a:p>
              <a:pPr algn="r"/>
              <a:r>
                <a:rPr lang="en-US" sz="1200" dirty="0" smtClean="0">
                  <a:latin typeface="HelvNeue for IBM Medium"/>
                </a:rPr>
                <a:t>Development</a:t>
              </a:r>
              <a:endParaRPr lang="en-US" sz="1200" dirty="0">
                <a:latin typeface="HelvNeue for IBM Medium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77642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34104"/>
            <a:ext cx="7543800" cy="403466"/>
          </a:xfrm>
        </p:spPr>
        <p:txBody>
          <a:bodyPr/>
          <a:lstStyle/>
          <a:p>
            <a:r>
              <a:rPr lang="en-US" sz="2400" dirty="0" smtClean="0">
                <a:latin typeface="HelvNeue for IBM Medium"/>
              </a:rPr>
              <a:t>IoT value </a:t>
            </a:r>
            <a:r>
              <a:rPr lang="en-US" sz="2400" dirty="0">
                <a:latin typeface="HelvNeue for IBM Medium"/>
              </a:rPr>
              <a:t>s</a:t>
            </a:r>
            <a:r>
              <a:rPr lang="en-US" sz="2400" dirty="0" smtClean="0">
                <a:latin typeface="HelvNeue for IBM Medium"/>
              </a:rPr>
              <a:t>trategy</a:t>
            </a:r>
            <a:endParaRPr lang="en-US" sz="2400" dirty="0">
              <a:latin typeface="HelvNeue for IBM Medium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228600" y="819150"/>
            <a:ext cx="38941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latin typeface="HelvNeue for IBM Medium"/>
              </a:rPr>
              <a:t>Looking to transform traditional business with IoT…</a:t>
            </a:r>
            <a:r>
              <a:rPr lang="en-US" sz="1600" dirty="0" smtClean="0">
                <a:latin typeface="HelvNeue for IBM Medium"/>
              </a:rPr>
              <a:t>	</a:t>
            </a:r>
          </a:p>
        </p:txBody>
      </p:sp>
      <p:sp>
        <p:nvSpPr>
          <p:cNvPr id="109" name="Rectangle 108"/>
          <p:cNvSpPr/>
          <p:nvPr/>
        </p:nvSpPr>
        <p:spPr>
          <a:xfrm>
            <a:off x="370840" y="1665448"/>
            <a:ext cx="364753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 dirty="0">
                <a:latin typeface="HelvNeue for IBM Medium"/>
              </a:rPr>
              <a:t>Invent new business </a:t>
            </a:r>
            <a:r>
              <a:rPr lang="en-US" sz="1600" dirty="0" smtClean="0">
                <a:latin typeface="HelvNeue for IBM Medium"/>
              </a:rPr>
              <a:t>models</a:t>
            </a:r>
          </a:p>
          <a:p>
            <a:pPr marL="285750" indent="-285750">
              <a:buFont typeface="Arial"/>
              <a:buChar char="•"/>
            </a:pPr>
            <a:endParaRPr lang="en-US" sz="1600" dirty="0">
              <a:latin typeface="HelvNeue for IBM Medium"/>
            </a:endParaRPr>
          </a:p>
          <a:p>
            <a:pPr marL="285750" indent="-285750">
              <a:buFont typeface="Arial"/>
              <a:buChar char="•"/>
            </a:pPr>
            <a:r>
              <a:rPr lang="en-US" sz="1600" dirty="0">
                <a:latin typeface="HelvNeue for IBM Medium"/>
              </a:rPr>
              <a:t>Develop differentiated </a:t>
            </a:r>
            <a:r>
              <a:rPr lang="en-US" sz="1600" dirty="0" smtClean="0">
                <a:latin typeface="HelvNeue for IBM Medium"/>
              </a:rPr>
              <a:t>solutions</a:t>
            </a:r>
          </a:p>
          <a:p>
            <a:pPr marL="285750" indent="-285750">
              <a:buFont typeface="Arial"/>
              <a:buChar char="•"/>
            </a:pPr>
            <a:endParaRPr lang="en-US" sz="1600" dirty="0">
              <a:latin typeface="HelvNeue for IBM Medium"/>
            </a:endParaRPr>
          </a:p>
          <a:p>
            <a:pPr marL="285750" indent="-285750">
              <a:buFont typeface="Arial"/>
              <a:buChar char="•"/>
            </a:pPr>
            <a:r>
              <a:rPr lang="en-US" sz="1600" dirty="0">
                <a:latin typeface="HelvNeue for IBM Medium"/>
              </a:rPr>
              <a:t>Improve operational </a:t>
            </a:r>
            <a:r>
              <a:rPr lang="en-US" sz="1600" dirty="0" smtClean="0">
                <a:latin typeface="HelvNeue for IBM Medium"/>
              </a:rPr>
              <a:t>efficiency</a:t>
            </a:r>
          </a:p>
          <a:p>
            <a:pPr marL="285750" indent="-285750">
              <a:buFont typeface="Arial"/>
              <a:buChar char="•"/>
            </a:pPr>
            <a:endParaRPr lang="en-US" sz="1600" dirty="0">
              <a:latin typeface="HelvNeue for IBM Medium"/>
            </a:endParaRPr>
          </a:p>
          <a:p>
            <a:pPr marL="285750" indent="-285750">
              <a:buFont typeface="Arial"/>
              <a:buChar char="•"/>
            </a:pPr>
            <a:r>
              <a:rPr lang="en-US" sz="1600" dirty="0">
                <a:latin typeface="HelvNeue for IBM Medium"/>
              </a:rPr>
              <a:t>Drive better customer </a:t>
            </a:r>
            <a:r>
              <a:rPr lang="en-US" sz="1600" dirty="0" smtClean="0">
                <a:latin typeface="HelvNeue for IBM Medium"/>
              </a:rPr>
              <a:t>engagement</a:t>
            </a:r>
          </a:p>
          <a:p>
            <a:pPr marL="285750" indent="-285750">
              <a:buFont typeface="Arial"/>
              <a:buChar char="•"/>
            </a:pPr>
            <a:endParaRPr lang="en-US" sz="1600" dirty="0">
              <a:latin typeface="HelvNeue for IBM Medium"/>
            </a:endParaRPr>
          </a:p>
          <a:p>
            <a:pPr marL="285750" indent="-285750">
              <a:buFont typeface="Arial"/>
              <a:buChar char="•"/>
            </a:pPr>
            <a:r>
              <a:rPr lang="en-US" sz="1600" dirty="0">
                <a:latin typeface="HelvNeue for IBM Medium"/>
              </a:rPr>
              <a:t>Utilize IBM </a:t>
            </a:r>
            <a:r>
              <a:rPr lang="en-US" sz="1600" dirty="0" smtClean="0">
                <a:latin typeface="HelvNeue for IBM Medium"/>
              </a:rPr>
              <a:t>innovation and a Consult to Run partnership</a:t>
            </a:r>
            <a:endParaRPr lang="en-US" sz="1600" dirty="0">
              <a:latin typeface="HelvNeue for IBM Medium"/>
            </a:endParaRPr>
          </a:p>
        </p:txBody>
      </p:sp>
      <p:sp>
        <p:nvSpPr>
          <p:cNvPr id="111" name="Freeform 110"/>
          <p:cNvSpPr/>
          <p:nvPr/>
        </p:nvSpPr>
        <p:spPr>
          <a:xfrm>
            <a:off x="6167458" y="3549005"/>
            <a:ext cx="134566" cy="504259"/>
          </a:xfrm>
          <a:custGeom>
            <a:avLst/>
            <a:gdLst>
              <a:gd name="connsiteX0" fmla="*/ 218285 w 218285"/>
              <a:gd name="connsiteY0" fmla="*/ 0 h 515921"/>
              <a:gd name="connsiteX1" fmla="*/ 138908 w 218285"/>
              <a:gd name="connsiteY1" fmla="*/ 92601 h 515921"/>
              <a:gd name="connsiteX2" fmla="*/ 79376 w 218285"/>
              <a:gd name="connsiteY2" fmla="*/ 231503 h 515921"/>
              <a:gd name="connsiteX3" fmla="*/ 0 w 218285"/>
              <a:gd name="connsiteY3" fmla="*/ 515921 h 51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85" h="515921">
                <a:moveTo>
                  <a:pt x="218285" y="0"/>
                </a:moveTo>
                <a:cubicBezTo>
                  <a:pt x="190172" y="27008"/>
                  <a:pt x="162059" y="54017"/>
                  <a:pt x="138908" y="92601"/>
                </a:cubicBezTo>
                <a:cubicBezTo>
                  <a:pt x="115757" y="131185"/>
                  <a:pt x="102527" y="160950"/>
                  <a:pt x="79376" y="231503"/>
                </a:cubicBezTo>
                <a:cubicBezTo>
                  <a:pt x="56225" y="302056"/>
                  <a:pt x="0" y="515921"/>
                  <a:pt x="0" y="515921"/>
                </a:cubicBezTo>
              </a:path>
            </a:pathLst>
          </a:custGeom>
          <a:ln w="12700" cmpd="sng">
            <a:solidFill>
              <a:srgbClr val="6D6F7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>
              <a:defRPr/>
            </a:pPr>
            <a:endParaRPr lang="en-US">
              <a:latin typeface="HelvNeue for IBM Medium"/>
            </a:endParaRPr>
          </a:p>
        </p:txBody>
      </p:sp>
      <p:sp>
        <p:nvSpPr>
          <p:cNvPr id="112" name="Freeform 111"/>
          <p:cNvSpPr/>
          <p:nvPr/>
        </p:nvSpPr>
        <p:spPr>
          <a:xfrm flipH="1">
            <a:off x="6806557" y="3549005"/>
            <a:ext cx="135140" cy="448449"/>
          </a:xfrm>
          <a:custGeom>
            <a:avLst/>
            <a:gdLst>
              <a:gd name="connsiteX0" fmla="*/ 218285 w 218285"/>
              <a:gd name="connsiteY0" fmla="*/ 0 h 515921"/>
              <a:gd name="connsiteX1" fmla="*/ 138908 w 218285"/>
              <a:gd name="connsiteY1" fmla="*/ 92601 h 515921"/>
              <a:gd name="connsiteX2" fmla="*/ 79376 w 218285"/>
              <a:gd name="connsiteY2" fmla="*/ 231503 h 515921"/>
              <a:gd name="connsiteX3" fmla="*/ 0 w 218285"/>
              <a:gd name="connsiteY3" fmla="*/ 515921 h 51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85" h="515921">
                <a:moveTo>
                  <a:pt x="218285" y="0"/>
                </a:moveTo>
                <a:cubicBezTo>
                  <a:pt x="190172" y="27008"/>
                  <a:pt x="162059" y="54017"/>
                  <a:pt x="138908" y="92601"/>
                </a:cubicBezTo>
                <a:cubicBezTo>
                  <a:pt x="115757" y="131185"/>
                  <a:pt x="102527" y="160950"/>
                  <a:pt x="79376" y="231503"/>
                </a:cubicBezTo>
                <a:cubicBezTo>
                  <a:pt x="56225" y="302056"/>
                  <a:pt x="0" y="515921"/>
                  <a:pt x="0" y="515921"/>
                </a:cubicBezTo>
              </a:path>
            </a:pathLst>
          </a:custGeom>
          <a:ln w="12700" cmpd="sng">
            <a:solidFill>
              <a:srgbClr val="6D6F7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>
              <a:defRPr/>
            </a:pPr>
            <a:endParaRPr lang="en-US">
              <a:latin typeface="HelvNeue for IBM Medium"/>
            </a:endParaRPr>
          </a:p>
        </p:txBody>
      </p:sp>
      <p:sp>
        <p:nvSpPr>
          <p:cNvPr id="113" name="Freeform 112"/>
          <p:cNvSpPr/>
          <p:nvPr/>
        </p:nvSpPr>
        <p:spPr>
          <a:xfrm>
            <a:off x="5494037" y="3520464"/>
            <a:ext cx="435076" cy="584358"/>
          </a:xfrm>
          <a:custGeom>
            <a:avLst/>
            <a:gdLst>
              <a:gd name="connsiteX0" fmla="*/ 218285 w 218285"/>
              <a:gd name="connsiteY0" fmla="*/ 0 h 515921"/>
              <a:gd name="connsiteX1" fmla="*/ 138908 w 218285"/>
              <a:gd name="connsiteY1" fmla="*/ 92601 h 515921"/>
              <a:gd name="connsiteX2" fmla="*/ 79376 w 218285"/>
              <a:gd name="connsiteY2" fmla="*/ 231503 h 515921"/>
              <a:gd name="connsiteX3" fmla="*/ 0 w 218285"/>
              <a:gd name="connsiteY3" fmla="*/ 515921 h 51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85" h="515921">
                <a:moveTo>
                  <a:pt x="218285" y="0"/>
                </a:moveTo>
                <a:cubicBezTo>
                  <a:pt x="190172" y="27008"/>
                  <a:pt x="162059" y="54017"/>
                  <a:pt x="138908" y="92601"/>
                </a:cubicBezTo>
                <a:cubicBezTo>
                  <a:pt x="115757" y="131185"/>
                  <a:pt x="102527" y="160950"/>
                  <a:pt x="79376" y="231503"/>
                </a:cubicBezTo>
                <a:cubicBezTo>
                  <a:pt x="56225" y="302056"/>
                  <a:pt x="0" y="515921"/>
                  <a:pt x="0" y="515921"/>
                </a:cubicBezTo>
              </a:path>
            </a:pathLst>
          </a:custGeom>
          <a:ln w="12700" cmpd="sng">
            <a:solidFill>
              <a:srgbClr val="6D6F7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>
              <a:defRPr/>
            </a:pPr>
            <a:endParaRPr lang="en-US">
              <a:latin typeface="HelvNeue for IBM Medium"/>
            </a:endParaRPr>
          </a:p>
        </p:txBody>
      </p:sp>
      <p:sp>
        <p:nvSpPr>
          <p:cNvPr id="114" name="Freeform 113"/>
          <p:cNvSpPr/>
          <p:nvPr/>
        </p:nvSpPr>
        <p:spPr>
          <a:xfrm flipH="1">
            <a:off x="7158805" y="3520464"/>
            <a:ext cx="394160" cy="584358"/>
          </a:xfrm>
          <a:custGeom>
            <a:avLst/>
            <a:gdLst>
              <a:gd name="connsiteX0" fmla="*/ 218285 w 218285"/>
              <a:gd name="connsiteY0" fmla="*/ 0 h 515921"/>
              <a:gd name="connsiteX1" fmla="*/ 138908 w 218285"/>
              <a:gd name="connsiteY1" fmla="*/ 92601 h 515921"/>
              <a:gd name="connsiteX2" fmla="*/ 79376 w 218285"/>
              <a:gd name="connsiteY2" fmla="*/ 231503 h 515921"/>
              <a:gd name="connsiteX3" fmla="*/ 0 w 218285"/>
              <a:gd name="connsiteY3" fmla="*/ 515921 h 51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85" h="515921">
                <a:moveTo>
                  <a:pt x="218285" y="0"/>
                </a:moveTo>
                <a:cubicBezTo>
                  <a:pt x="190172" y="27008"/>
                  <a:pt x="162059" y="54017"/>
                  <a:pt x="138908" y="92601"/>
                </a:cubicBezTo>
                <a:cubicBezTo>
                  <a:pt x="115757" y="131185"/>
                  <a:pt x="102527" y="160950"/>
                  <a:pt x="79376" y="231503"/>
                </a:cubicBezTo>
                <a:cubicBezTo>
                  <a:pt x="56225" y="302056"/>
                  <a:pt x="0" y="515921"/>
                  <a:pt x="0" y="515921"/>
                </a:cubicBezTo>
              </a:path>
            </a:pathLst>
          </a:custGeom>
          <a:ln w="12700" cmpd="sng">
            <a:solidFill>
              <a:srgbClr val="6D6F7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>
              <a:defRPr/>
            </a:pPr>
            <a:endParaRPr lang="en-US">
              <a:latin typeface="HelvNeue for IBM Medium"/>
            </a:endParaRPr>
          </a:p>
        </p:txBody>
      </p:sp>
      <p:sp>
        <p:nvSpPr>
          <p:cNvPr id="115" name="Freeform 114"/>
          <p:cNvSpPr/>
          <p:nvPr/>
        </p:nvSpPr>
        <p:spPr>
          <a:xfrm flipH="1">
            <a:off x="7905792" y="3549004"/>
            <a:ext cx="259576" cy="323453"/>
          </a:xfrm>
          <a:custGeom>
            <a:avLst/>
            <a:gdLst>
              <a:gd name="connsiteX0" fmla="*/ 218285 w 218285"/>
              <a:gd name="connsiteY0" fmla="*/ 0 h 515921"/>
              <a:gd name="connsiteX1" fmla="*/ 138908 w 218285"/>
              <a:gd name="connsiteY1" fmla="*/ 92601 h 515921"/>
              <a:gd name="connsiteX2" fmla="*/ 79376 w 218285"/>
              <a:gd name="connsiteY2" fmla="*/ 231503 h 515921"/>
              <a:gd name="connsiteX3" fmla="*/ 0 w 218285"/>
              <a:gd name="connsiteY3" fmla="*/ 515921 h 51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85" h="515921">
                <a:moveTo>
                  <a:pt x="218285" y="0"/>
                </a:moveTo>
                <a:cubicBezTo>
                  <a:pt x="190172" y="27008"/>
                  <a:pt x="162059" y="54017"/>
                  <a:pt x="138908" y="92601"/>
                </a:cubicBezTo>
                <a:cubicBezTo>
                  <a:pt x="115757" y="131185"/>
                  <a:pt x="102527" y="160950"/>
                  <a:pt x="79376" y="231503"/>
                </a:cubicBezTo>
                <a:cubicBezTo>
                  <a:pt x="56225" y="302056"/>
                  <a:pt x="0" y="515921"/>
                  <a:pt x="0" y="515921"/>
                </a:cubicBezTo>
              </a:path>
            </a:pathLst>
          </a:custGeom>
          <a:ln w="12700" cmpd="sng">
            <a:solidFill>
              <a:srgbClr val="6D6F7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>
              <a:defRPr/>
            </a:pPr>
            <a:endParaRPr lang="en-US">
              <a:latin typeface="HelvNeue for IBM Medium"/>
            </a:endParaRPr>
          </a:p>
        </p:txBody>
      </p:sp>
      <p:sp>
        <p:nvSpPr>
          <p:cNvPr id="116" name="Freeform 115"/>
          <p:cNvSpPr/>
          <p:nvPr/>
        </p:nvSpPr>
        <p:spPr>
          <a:xfrm>
            <a:off x="4878674" y="3504946"/>
            <a:ext cx="204149" cy="375415"/>
          </a:xfrm>
          <a:custGeom>
            <a:avLst/>
            <a:gdLst>
              <a:gd name="connsiteX0" fmla="*/ 218285 w 218285"/>
              <a:gd name="connsiteY0" fmla="*/ 0 h 515921"/>
              <a:gd name="connsiteX1" fmla="*/ 138908 w 218285"/>
              <a:gd name="connsiteY1" fmla="*/ 92601 h 515921"/>
              <a:gd name="connsiteX2" fmla="*/ 79376 w 218285"/>
              <a:gd name="connsiteY2" fmla="*/ 231503 h 515921"/>
              <a:gd name="connsiteX3" fmla="*/ 0 w 218285"/>
              <a:gd name="connsiteY3" fmla="*/ 515921 h 51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85" h="515921">
                <a:moveTo>
                  <a:pt x="218285" y="0"/>
                </a:moveTo>
                <a:cubicBezTo>
                  <a:pt x="190172" y="27008"/>
                  <a:pt x="162059" y="54017"/>
                  <a:pt x="138908" y="92601"/>
                </a:cubicBezTo>
                <a:cubicBezTo>
                  <a:pt x="115757" y="131185"/>
                  <a:pt x="102527" y="160950"/>
                  <a:pt x="79376" y="231503"/>
                </a:cubicBezTo>
                <a:cubicBezTo>
                  <a:pt x="56225" y="302056"/>
                  <a:pt x="0" y="515921"/>
                  <a:pt x="0" y="515921"/>
                </a:cubicBezTo>
              </a:path>
            </a:pathLst>
          </a:custGeom>
          <a:ln w="12700" cmpd="sng">
            <a:solidFill>
              <a:srgbClr val="6D6F7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>
              <a:defRPr/>
            </a:pPr>
            <a:endParaRPr lang="en-US">
              <a:latin typeface="HelvNeue for IBM Medium"/>
            </a:endParaRPr>
          </a:p>
        </p:txBody>
      </p:sp>
      <p:pic>
        <p:nvPicPr>
          <p:cNvPr id="117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859716" y="3804553"/>
            <a:ext cx="673868" cy="510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8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618543" y="4064415"/>
            <a:ext cx="569410" cy="431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9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824844" y="4039902"/>
            <a:ext cx="601378" cy="455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0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230919" y="4104822"/>
            <a:ext cx="505631" cy="382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1" name="TextBox 14"/>
          <p:cNvSpPr txBox="1">
            <a:spLocks noChangeArrowheads="1"/>
          </p:cNvSpPr>
          <p:nvPr/>
        </p:nvSpPr>
        <p:spPr bwMode="auto">
          <a:xfrm>
            <a:off x="4363549" y="4274403"/>
            <a:ext cx="736441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sz="1050" dirty="0" smtClean="0">
                <a:solidFill>
                  <a:schemeClr val="tx1"/>
                </a:solidFill>
                <a:latin typeface="HelvNeue for IBM Medium"/>
              </a:rPr>
              <a:t>Facilities</a:t>
            </a:r>
            <a:endParaRPr lang="en-US" sz="1050" dirty="0">
              <a:solidFill>
                <a:schemeClr val="tx1"/>
              </a:solidFill>
              <a:latin typeface="HelvNeue for IBM Medium"/>
            </a:endParaRPr>
          </a:p>
        </p:txBody>
      </p:sp>
      <p:sp>
        <p:nvSpPr>
          <p:cNvPr id="122" name="TextBox 15"/>
          <p:cNvSpPr txBox="1">
            <a:spLocks noChangeArrowheads="1"/>
          </p:cNvSpPr>
          <p:nvPr/>
        </p:nvSpPr>
        <p:spPr bwMode="auto">
          <a:xfrm>
            <a:off x="5019538" y="4420155"/>
            <a:ext cx="736441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sz="1050" dirty="0" smtClean="0">
                <a:solidFill>
                  <a:schemeClr val="tx1"/>
                </a:solidFill>
                <a:latin typeface="HelvNeue for IBM Medium"/>
              </a:rPr>
              <a:t>Vehicles</a:t>
            </a:r>
            <a:endParaRPr lang="en-US" sz="1050" dirty="0">
              <a:solidFill>
                <a:schemeClr val="tx1"/>
              </a:solidFill>
              <a:latin typeface="HelvNeue for IBM Medium"/>
            </a:endParaRPr>
          </a:p>
        </p:txBody>
      </p:sp>
      <p:sp>
        <p:nvSpPr>
          <p:cNvPr id="123" name="TextBox 16"/>
          <p:cNvSpPr txBox="1">
            <a:spLocks noChangeArrowheads="1"/>
          </p:cNvSpPr>
          <p:nvPr/>
        </p:nvSpPr>
        <p:spPr bwMode="auto">
          <a:xfrm>
            <a:off x="5757227" y="4440233"/>
            <a:ext cx="815408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sz="1050" dirty="0" smtClean="0">
                <a:solidFill>
                  <a:schemeClr val="tx1"/>
                </a:solidFill>
                <a:latin typeface="HelvNeue for IBM Medium"/>
              </a:rPr>
              <a:t>Home</a:t>
            </a:r>
            <a:endParaRPr lang="en-US" sz="1050" dirty="0">
              <a:solidFill>
                <a:schemeClr val="tx1"/>
              </a:solidFill>
              <a:latin typeface="HelvNeue for IBM Medium"/>
            </a:endParaRPr>
          </a:p>
        </p:txBody>
      </p:sp>
      <p:sp>
        <p:nvSpPr>
          <p:cNvPr id="124" name="TextBox 17"/>
          <p:cNvSpPr txBox="1">
            <a:spLocks noChangeArrowheads="1"/>
          </p:cNvSpPr>
          <p:nvPr/>
        </p:nvSpPr>
        <p:spPr bwMode="auto">
          <a:xfrm>
            <a:off x="6553396" y="4465513"/>
            <a:ext cx="815407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sz="1050" dirty="0" smtClean="0">
                <a:solidFill>
                  <a:schemeClr val="tx1"/>
                </a:solidFill>
                <a:latin typeface="HelvNeue for IBM Medium"/>
              </a:rPr>
              <a:t>Health</a:t>
            </a:r>
            <a:endParaRPr lang="en-US" sz="1050" dirty="0">
              <a:solidFill>
                <a:schemeClr val="tx1"/>
              </a:solidFill>
              <a:latin typeface="HelvNeue for IBM Medium"/>
            </a:endParaRPr>
          </a:p>
        </p:txBody>
      </p:sp>
      <p:sp>
        <p:nvSpPr>
          <p:cNvPr id="125" name="TextBox 18"/>
          <p:cNvSpPr txBox="1">
            <a:spLocks noChangeArrowheads="1"/>
          </p:cNvSpPr>
          <p:nvPr/>
        </p:nvSpPr>
        <p:spPr bwMode="auto">
          <a:xfrm>
            <a:off x="8029550" y="4210208"/>
            <a:ext cx="744724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sz="1050" dirty="0" smtClean="0">
                <a:solidFill>
                  <a:schemeClr val="tx1"/>
                </a:solidFill>
                <a:latin typeface="HelvNeue for IBM Medium"/>
              </a:rPr>
              <a:t>Factories</a:t>
            </a:r>
            <a:endParaRPr lang="en-US" sz="1050" dirty="0">
              <a:solidFill>
                <a:schemeClr val="tx1"/>
              </a:solidFill>
              <a:latin typeface="HelvNeue for IBM Medium"/>
            </a:endParaRPr>
          </a:p>
        </p:txBody>
      </p:sp>
      <p:sp>
        <p:nvSpPr>
          <p:cNvPr id="126" name="TextBox 20"/>
          <p:cNvSpPr txBox="1">
            <a:spLocks noChangeArrowheads="1"/>
          </p:cNvSpPr>
          <p:nvPr/>
        </p:nvSpPr>
        <p:spPr bwMode="auto">
          <a:xfrm>
            <a:off x="7301651" y="4449203"/>
            <a:ext cx="1211254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sz="1050" dirty="0" smtClean="0">
                <a:solidFill>
                  <a:schemeClr val="tx1"/>
                </a:solidFill>
                <a:latin typeface="HelvNeue for IBM Medium"/>
              </a:rPr>
              <a:t>Transport</a:t>
            </a:r>
            <a:endParaRPr lang="en-US" sz="1050" dirty="0">
              <a:solidFill>
                <a:schemeClr val="tx1"/>
              </a:solidFill>
              <a:latin typeface="HelvNeue for IBM Medium"/>
            </a:endParaRPr>
          </a:p>
        </p:txBody>
      </p:sp>
      <p:pic>
        <p:nvPicPr>
          <p:cNvPr id="127" name="Pictur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8259" y="4204042"/>
            <a:ext cx="388728" cy="293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8" name="Picture 12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25656" y="3889079"/>
            <a:ext cx="483906" cy="470647"/>
          </a:xfrm>
          <a:prstGeom prst="rect">
            <a:avLst/>
          </a:prstGeom>
        </p:spPr>
      </p:pic>
      <p:grpSp>
        <p:nvGrpSpPr>
          <p:cNvPr id="129" name="Group 128"/>
          <p:cNvGrpSpPr/>
          <p:nvPr/>
        </p:nvGrpSpPr>
        <p:grpSpPr>
          <a:xfrm>
            <a:off x="5319639" y="4156990"/>
            <a:ext cx="176679" cy="172023"/>
            <a:chOff x="6038850" y="1933703"/>
            <a:chExt cx="971550" cy="886270"/>
          </a:xfrm>
        </p:grpSpPr>
        <p:sp>
          <p:nvSpPr>
            <p:cNvPr id="196" name="Oval 195"/>
            <p:cNvSpPr/>
            <p:nvPr/>
          </p:nvSpPr>
          <p:spPr>
            <a:xfrm>
              <a:off x="6324600" y="2419350"/>
              <a:ext cx="228600" cy="2286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197" name="Arc 196"/>
            <p:cNvSpPr/>
            <p:nvPr/>
          </p:nvSpPr>
          <p:spPr>
            <a:xfrm>
              <a:off x="6172200" y="2266950"/>
              <a:ext cx="533400" cy="553023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198" name="Arc 197"/>
            <p:cNvSpPr/>
            <p:nvPr/>
          </p:nvSpPr>
          <p:spPr>
            <a:xfrm>
              <a:off x="6134100" y="2105726"/>
              <a:ext cx="723900" cy="714247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199" name="Arc 198"/>
            <p:cNvSpPr/>
            <p:nvPr/>
          </p:nvSpPr>
          <p:spPr>
            <a:xfrm>
              <a:off x="6038850" y="1933703"/>
              <a:ext cx="971550" cy="886270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</p:grpSp>
      <p:grpSp>
        <p:nvGrpSpPr>
          <p:cNvPr id="130" name="Group 129"/>
          <p:cNvGrpSpPr/>
          <p:nvPr/>
        </p:nvGrpSpPr>
        <p:grpSpPr>
          <a:xfrm flipH="1">
            <a:off x="7521223" y="4145869"/>
            <a:ext cx="176679" cy="156385"/>
            <a:chOff x="6038850" y="1933703"/>
            <a:chExt cx="971550" cy="886270"/>
          </a:xfrm>
        </p:grpSpPr>
        <p:sp>
          <p:nvSpPr>
            <p:cNvPr id="192" name="Oval 191"/>
            <p:cNvSpPr/>
            <p:nvPr/>
          </p:nvSpPr>
          <p:spPr>
            <a:xfrm>
              <a:off x="6324600" y="2419350"/>
              <a:ext cx="228600" cy="2286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193" name="Arc 192"/>
            <p:cNvSpPr/>
            <p:nvPr/>
          </p:nvSpPr>
          <p:spPr>
            <a:xfrm>
              <a:off x="6172200" y="2266950"/>
              <a:ext cx="533400" cy="553023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194" name="Arc 193"/>
            <p:cNvSpPr/>
            <p:nvPr/>
          </p:nvSpPr>
          <p:spPr>
            <a:xfrm>
              <a:off x="6134100" y="2105726"/>
              <a:ext cx="723900" cy="714247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195" name="Arc 194"/>
            <p:cNvSpPr/>
            <p:nvPr/>
          </p:nvSpPr>
          <p:spPr>
            <a:xfrm>
              <a:off x="6038850" y="1933703"/>
              <a:ext cx="971550" cy="886270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4929640" y="3839069"/>
            <a:ext cx="176679" cy="172023"/>
            <a:chOff x="6038850" y="1933703"/>
            <a:chExt cx="971550" cy="886270"/>
          </a:xfrm>
        </p:grpSpPr>
        <p:sp>
          <p:nvSpPr>
            <p:cNvPr id="188" name="Oval 187"/>
            <p:cNvSpPr/>
            <p:nvPr/>
          </p:nvSpPr>
          <p:spPr>
            <a:xfrm>
              <a:off x="6324600" y="2419350"/>
              <a:ext cx="228600" cy="2286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189" name="Arc 188"/>
            <p:cNvSpPr/>
            <p:nvPr/>
          </p:nvSpPr>
          <p:spPr>
            <a:xfrm>
              <a:off x="6172200" y="2266950"/>
              <a:ext cx="533400" cy="553023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190" name="Arc 189"/>
            <p:cNvSpPr/>
            <p:nvPr/>
          </p:nvSpPr>
          <p:spPr>
            <a:xfrm>
              <a:off x="6134100" y="2105726"/>
              <a:ext cx="723900" cy="714247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191" name="Arc 190"/>
            <p:cNvSpPr/>
            <p:nvPr/>
          </p:nvSpPr>
          <p:spPr>
            <a:xfrm>
              <a:off x="6038850" y="1933703"/>
              <a:ext cx="971550" cy="886270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</p:grpSp>
      <p:grpSp>
        <p:nvGrpSpPr>
          <p:cNvPr id="132" name="Group 131"/>
          <p:cNvGrpSpPr/>
          <p:nvPr/>
        </p:nvGrpSpPr>
        <p:grpSpPr>
          <a:xfrm>
            <a:off x="6224519" y="3977831"/>
            <a:ext cx="176679" cy="172023"/>
            <a:chOff x="6038850" y="1933703"/>
            <a:chExt cx="971550" cy="886270"/>
          </a:xfrm>
        </p:grpSpPr>
        <p:sp>
          <p:nvSpPr>
            <p:cNvPr id="184" name="Oval 183"/>
            <p:cNvSpPr/>
            <p:nvPr/>
          </p:nvSpPr>
          <p:spPr>
            <a:xfrm>
              <a:off x="6324600" y="2419350"/>
              <a:ext cx="228600" cy="2286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185" name="Arc 184"/>
            <p:cNvSpPr/>
            <p:nvPr/>
          </p:nvSpPr>
          <p:spPr>
            <a:xfrm>
              <a:off x="6172200" y="2266950"/>
              <a:ext cx="533400" cy="553023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186" name="Arc 185"/>
            <p:cNvSpPr/>
            <p:nvPr/>
          </p:nvSpPr>
          <p:spPr>
            <a:xfrm>
              <a:off x="6134100" y="2105726"/>
              <a:ext cx="723900" cy="714247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187" name="Arc 186"/>
            <p:cNvSpPr/>
            <p:nvPr/>
          </p:nvSpPr>
          <p:spPr>
            <a:xfrm>
              <a:off x="6038850" y="1933703"/>
              <a:ext cx="971550" cy="886270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</p:grpSp>
      <p:grpSp>
        <p:nvGrpSpPr>
          <p:cNvPr id="133" name="Group 132"/>
          <p:cNvGrpSpPr/>
          <p:nvPr/>
        </p:nvGrpSpPr>
        <p:grpSpPr>
          <a:xfrm flipH="1">
            <a:off x="7878079" y="3905844"/>
            <a:ext cx="176679" cy="156385"/>
            <a:chOff x="6038850" y="1933703"/>
            <a:chExt cx="971550" cy="886270"/>
          </a:xfrm>
        </p:grpSpPr>
        <p:sp>
          <p:nvSpPr>
            <p:cNvPr id="180" name="Oval 179"/>
            <p:cNvSpPr/>
            <p:nvPr/>
          </p:nvSpPr>
          <p:spPr>
            <a:xfrm>
              <a:off x="6324600" y="2419350"/>
              <a:ext cx="228600" cy="2286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181" name="Arc 180"/>
            <p:cNvSpPr/>
            <p:nvPr/>
          </p:nvSpPr>
          <p:spPr>
            <a:xfrm>
              <a:off x="6172200" y="2266950"/>
              <a:ext cx="533400" cy="553023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182" name="Arc 181"/>
            <p:cNvSpPr/>
            <p:nvPr/>
          </p:nvSpPr>
          <p:spPr>
            <a:xfrm>
              <a:off x="6134100" y="2105726"/>
              <a:ext cx="723900" cy="714247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183" name="Arc 182"/>
            <p:cNvSpPr/>
            <p:nvPr/>
          </p:nvSpPr>
          <p:spPr>
            <a:xfrm>
              <a:off x="6038850" y="1933703"/>
              <a:ext cx="971550" cy="886270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</p:grpSp>
      <p:grpSp>
        <p:nvGrpSpPr>
          <p:cNvPr id="134" name="Group 133"/>
          <p:cNvGrpSpPr/>
          <p:nvPr/>
        </p:nvGrpSpPr>
        <p:grpSpPr>
          <a:xfrm flipH="1">
            <a:off x="6759223" y="3977831"/>
            <a:ext cx="176679" cy="172023"/>
            <a:chOff x="6038850" y="1933703"/>
            <a:chExt cx="971550" cy="886270"/>
          </a:xfrm>
        </p:grpSpPr>
        <p:sp>
          <p:nvSpPr>
            <p:cNvPr id="176" name="Oval 175"/>
            <p:cNvSpPr/>
            <p:nvPr/>
          </p:nvSpPr>
          <p:spPr>
            <a:xfrm>
              <a:off x="6324600" y="2419350"/>
              <a:ext cx="228600" cy="2286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177" name="Arc 176"/>
            <p:cNvSpPr/>
            <p:nvPr/>
          </p:nvSpPr>
          <p:spPr>
            <a:xfrm>
              <a:off x="6172200" y="2266950"/>
              <a:ext cx="533400" cy="553023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178" name="Arc 177"/>
            <p:cNvSpPr/>
            <p:nvPr/>
          </p:nvSpPr>
          <p:spPr>
            <a:xfrm>
              <a:off x="6134100" y="2105726"/>
              <a:ext cx="723900" cy="714247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sp>
          <p:nvSpPr>
            <p:cNvPr id="179" name="Arc 178"/>
            <p:cNvSpPr/>
            <p:nvPr/>
          </p:nvSpPr>
          <p:spPr>
            <a:xfrm>
              <a:off x="6038850" y="1933703"/>
              <a:ext cx="971550" cy="886270"/>
            </a:xfrm>
            <a:prstGeom prst="arc">
              <a:avLst>
                <a:gd name="adj1" fmla="val 16300337"/>
                <a:gd name="adj2" fmla="val 21390388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</p:grpSp>
      <p:sp>
        <p:nvSpPr>
          <p:cNvPr id="136" name="Freeform 135"/>
          <p:cNvSpPr/>
          <p:nvPr/>
        </p:nvSpPr>
        <p:spPr>
          <a:xfrm flipH="1">
            <a:off x="7905792" y="3549004"/>
            <a:ext cx="259576" cy="323453"/>
          </a:xfrm>
          <a:custGeom>
            <a:avLst/>
            <a:gdLst>
              <a:gd name="connsiteX0" fmla="*/ 218285 w 218285"/>
              <a:gd name="connsiteY0" fmla="*/ 0 h 515921"/>
              <a:gd name="connsiteX1" fmla="*/ 138908 w 218285"/>
              <a:gd name="connsiteY1" fmla="*/ 92601 h 515921"/>
              <a:gd name="connsiteX2" fmla="*/ 79376 w 218285"/>
              <a:gd name="connsiteY2" fmla="*/ 231503 h 515921"/>
              <a:gd name="connsiteX3" fmla="*/ 0 w 218285"/>
              <a:gd name="connsiteY3" fmla="*/ 515921 h 51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85" h="515921">
                <a:moveTo>
                  <a:pt x="218285" y="0"/>
                </a:moveTo>
                <a:cubicBezTo>
                  <a:pt x="190172" y="27008"/>
                  <a:pt x="162059" y="54017"/>
                  <a:pt x="138908" y="92601"/>
                </a:cubicBezTo>
                <a:cubicBezTo>
                  <a:pt x="115757" y="131185"/>
                  <a:pt x="102527" y="160950"/>
                  <a:pt x="79376" y="231503"/>
                </a:cubicBezTo>
                <a:cubicBezTo>
                  <a:pt x="56225" y="302056"/>
                  <a:pt x="0" y="515921"/>
                  <a:pt x="0" y="515921"/>
                </a:cubicBezTo>
              </a:path>
            </a:pathLst>
          </a:custGeom>
          <a:ln w="12700" cmpd="sng">
            <a:solidFill>
              <a:srgbClr val="6D6F7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>
              <a:defRPr/>
            </a:pPr>
            <a:endParaRPr lang="en-US">
              <a:latin typeface="HelvNeue for IBM Medium"/>
            </a:endParaRPr>
          </a:p>
        </p:txBody>
      </p:sp>
      <p:sp>
        <p:nvSpPr>
          <p:cNvPr id="137" name="Freeform 136"/>
          <p:cNvSpPr/>
          <p:nvPr/>
        </p:nvSpPr>
        <p:spPr>
          <a:xfrm>
            <a:off x="4878674" y="3504946"/>
            <a:ext cx="204149" cy="375415"/>
          </a:xfrm>
          <a:custGeom>
            <a:avLst/>
            <a:gdLst>
              <a:gd name="connsiteX0" fmla="*/ 218285 w 218285"/>
              <a:gd name="connsiteY0" fmla="*/ 0 h 515921"/>
              <a:gd name="connsiteX1" fmla="*/ 138908 w 218285"/>
              <a:gd name="connsiteY1" fmla="*/ 92601 h 515921"/>
              <a:gd name="connsiteX2" fmla="*/ 79376 w 218285"/>
              <a:gd name="connsiteY2" fmla="*/ 231503 h 515921"/>
              <a:gd name="connsiteX3" fmla="*/ 0 w 218285"/>
              <a:gd name="connsiteY3" fmla="*/ 515921 h 51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85" h="515921">
                <a:moveTo>
                  <a:pt x="218285" y="0"/>
                </a:moveTo>
                <a:cubicBezTo>
                  <a:pt x="190172" y="27008"/>
                  <a:pt x="162059" y="54017"/>
                  <a:pt x="138908" y="92601"/>
                </a:cubicBezTo>
                <a:cubicBezTo>
                  <a:pt x="115757" y="131185"/>
                  <a:pt x="102527" y="160950"/>
                  <a:pt x="79376" y="231503"/>
                </a:cubicBezTo>
                <a:cubicBezTo>
                  <a:pt x="56225" y="302056"/>
                  <a:pt x="0" y="515921"/>
                  <a:pt x="0" y="515921"/>
                </a:cubicBezTo>
              </a:path>
            </a:pathLst>
          </a:custGeom>
          <a:ln w="12700" cmpd="sng">
            <a:solidFill>
              <a:srgbClr val="6D6F7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>
              <a:defRPr/>
            </a:pPr>
            <a:endParaRPr lang="en-US">
              <a:latin typeface="HelvNeue for IBM Medium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432303" y="742950"/>
            <a:ext cx="4379825" cy="3044195"/>
            <a:chOff x="4432303" y="742950"/>
            <a:chExt cx="4379825" cy="3044195"/>
          </a:xfrm>
        </p:grpSpPr>
        <p:sp>
          <p:nvSpPr>
            <p:cNvPr id="135" name="Round Same Side Corner Rectangle 134"/>
            <p:cNvSpPr/>
            <p:nvPr/>
          </p:nvSpPr>
          <p:spPr>
            <a:xfrm flipV="1">
              <a:off x="4549424" y="2749218"/>
              <a:ext cx="4114799" cy="1037927"/>
            </a:xfrm>
            <a:prstGeom prst="round2SameRect">
              <a:avLst/>
            </a:prstGeom>
            <a:solidFill>
              <a:srgbClr val="3A67AB">
                <a:alpha val="48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8">
              <a:lum bright="70000" contrast="-70000"/>
            </a:blip>
            <a:stretch>
              <a:fillRect/>
            </a:stretch>
          </p:blipFill>
          <p:spPr>
            <a:xfrm>
              <a:off x="4778024" y="2849484"/>
              <a:ext cx="3756024" cy="930045"/>
            </a:xfrm>
            <a:prstGeom prst="rect">
              <a:avLst/>
            </a:prstGeom>
          </p:spPr>
        </p:pic>
        <p:sp>
          <p:nvSpPr>
            <p:cNvPr id="139" name="TextBox 23"/>
            <p:cNvSpPr txBox="1">
              <a:spLocks noChangeArrowheads="1"/>
            </p:cNvSpPr>
            <p:nvPr/>
          </p:nvSpPr>
          <p:spPr bwMode="auto">
            <a:xfrm>
              <a:off x="5554907" y="2974872"/>
              <a:ext cx="222055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sz="1200" dirty="0" smtClean="0">
                  <a:latin typeface="HelvNeue for IBM Medium"/>
                </a:rPr>
                <a:t>IBM Watson IoT Platform</a:t>
              </a:r>
              <a:endParaRPr lang="en-US" sz="1200" dirty="0">
                <a:latin typeface="HelvNeue for IBM Medium"/>
              </a:endParaRPr>
            </a:p>
          </p:txBody>
        </p:sp>
        <p:pic>
          <p:nvPicPr>
            <p:cNvPr id="140" name="Picture 139"/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5412" b="89691" l="20656" r="79537">
                          <a14:foregroundMark x1="50579" y1="19330" x2="50579" y2="19330"/>
                          <a14:foregroundMark x1="62548" y1="22938" x2="62548" y2="22938"/>
                          <a14:foregroundMark x1="74903" y1="33247" x2="74903" y2="33247"/>
                          <a14:foregroundMark x1="36680" y1="22165" x2="36680" y2="22165"/>
                          <a14:foregroundMark x1="27992" y1="35309" x2="27992" y2="35309"/>
                          <a14:backgroundMark x1="36873" y1="42010" x2="36873" y2="42010"/>
                          <a14:backgroundMark x1="40347" y1="51031" x2="40347" y2="51031"/>
                          <a14:backgroundMark x1="40541" y1="58505" x2="40541" y2="58505"/>
                          <a14:backgroundMark x1="37452" y1="68814" x2="37452" y2="68814"/>
                          <a14:backgroundMark x1="48649" y1="70361" x2="48649" y2="70361"/>
                          <a14:backgroundMark x1="50193" y1="57990" x2="50193" y2="57990"/>
                          <a14:backgroundMark x1="50772" y1="44845" x2="50772" y2="44845"/>
                          <a14:backgroundMark x1="59846" y1="43299" x2="59846" y2="43299"/>
                          <a14:backgroundMark x1="59073" y1="56443" x2="59073" y2="56443"/>
                          <a14:backgroundMark x1="55212" y1="66753" x2="55212" y2="66753"/>
                          <a14:backgroundMark x1="60618" y1="72165" x2="60618" y2="72165"/>
                          <a14:backgroundMark x1="52317" y1="79897" x2="52317" y2="79897"/>
                          <a14:backgroundMark x1="46139" y1="79897" x2="46139" y2="79897"/>
                          <a14:backgroundMark x1="68147" y1="61340" x2="68147" y2="61340"/>
                          <a14:backgroundMark x1="48069" y1="33247" x2="48069" y2="33247"/>
                          <a14:backgroundMark x1="53861" y1="35309" x2="53861" y2="35309"/>
                          <a14:backgroundMark x1="53668" y1="39433" x2="53668" y2="39433"/>
                          <a14:backgroundMark x1="32239" y1="52320" x2="32239" y2="52320"/>
                          <a14:backgroundMark x1="32239" y1="59794" x2="32239" y2="59794"/>
                          <a14:backgroundMark x1="45174" y1="75258" x2="45174" y2="75258"/>
                          <a14:backgroundMark x1="42085" y1="66237" x2="42085" y2="66237"/>
                          <a14:backgroundMark x1="42471" y1="79381" x2="42471" y2="79381"/>
                          <a14:backgroundMark x1="64479" y1="53093" x2="64479" y2="53093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857838" y="3304805"/>
              <a:ext cx="476926" cy="357235"/>
            </a:xfrm>
            <a:prstGeom prst="rect">
              <a:avLst/>
            </a:prstGeom>
          </p:spPr>
        </p:pic>
        <p:pic>
          <p:nvPicPr>
            <p:cNvPr id="141" name="Picture 140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594144" y="3381356"/>
              <a:ext cx="239415" cy="239415"/>
            </a:xfrm>
            <a:prstGeom prst="rect">
              <a:avLst/>
            </a:prstGeom>
          </p:spPr>
        </p:pic>
        <p:pic>
          <p:nvPicPr>
            <p:cNvPr id="142" name="Picture 141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149623" y="3335375"/>
              <a:ext cx="291592" cy="291592"/>
            </a:xfrm>
            <a:prstGeom prst="rect">
              <a:avLst/>
            </a:prstGeom>
          </p:spPr>
        </p:pic>
        <p:pic>
          <p:nvPicPr>
            <p:cNvPr id="143" name="Picture 142"/>
            <p:cNvPicPr>
              <a:picLocks noChangeAspect="1"/>
            </p:cNvPicPr>
            <p:nvPr/>
          </p:nvPicPr>
          <p:blipFill>
            <a:blip r:embed="rId8"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5242815" y="3277484"/>
              <a:ext cx="705845" cy="329855"/>
            </a:xfrm>
            <a:prstGeom prst="rect">
              <a:avLst/>
            </a:prstGeom>
          </p:spPr>
        </p:pic>
        <p:pic>
          <p:nvPicPr>
            <p:cNvPr id="144" name="Picture 143"/>
            <p:cNvPicPr>
              <a:picLocks noChangeAspect="1"/>
            </p:cNvPicPr>
            <p:nvPr/>
          </p:nvPicPr>
          <p:blipFill>
            <a:blip r:embed="rId8">
              <a:duotone>
                <a:prstClr val="black"/>
                <a:schemeClr val="accent5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7521221" y="3254063"/>
              <a:ext cx="690619" cy="329855"/>
            </a:xfrm>
            <a:prstGeom prst="rect">
              <a:avLst/>
            </a:prstGeom>
          </p:spPr>
        </p:pic>
        <p:sp>
          <p:nvSpPr>
            <p:cNvPr id="145" name="Rounded Rectangle 144"/>
            <p:cNvSpPr/>
            <p:nvPr/>
          </p:nvSpPr>
          <p:spPr>
            <a:xfrm>
              <a:off x="4549423" y="745927"/>
              <a:ext cx="4114800" cy="3024496"/>
            </a:xfrm>
            <a:prstGeom prst="roundRect">
              <a:avLst>
                <a:gd name="adj" fmla="val 6986"/>
              </a:avLst>
            </a:prstGeom>
            <a:noFill/>
            <a:ln>
              <a:solidFill>
                <a:schemeClr val="tx2">
                  <a:lumMod val="40000"/>
                  <a:lumOff val="60000"/>
                </a:schemeClr>
              </a:solidFill>
              <a:prstDash val="sys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solidFill>
                  <a:srgbClr val="FFFFFF"/>
                </a:solidFill>
                <a:latin typeface="HelvNeue for IBM Medium"/>
              </a:endParaRPr>
            </a:p>
          </p:txBody>
        </p:sp>
        <p:sp>
          <p:nvSpPr>
            <p:cNvPr id="146" name="Round Same Side Corner Rectangle 145"/>
            <p:cNvSpPr/>
            <p:nvPr/>
          </p:nvSpPr>
          <p:spPr>
            <a:xfrm>
              <a:off x="4549424" y="745927"/>
              <a:ext cx="4114800" cy="1131580"/>
            </a:xfrm>
            <a:prstGeom prst="round2SameRect">
              <a:avLst/>
            </a:prstGeom>
            <a:solidFill>
              <a:srgbClr val="4BB099">
                <a:alpha val="5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pic>
          <p:nvPicPr>
            <p:cNvPr id="147" name="Picture 67" descr="3-blue2.ai-01.eps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5222" y="1255713"/>
              <a:ext cx="623887" cy="554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8" name="Picture 68" descr="4-blue2.ai-01.eps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84225" y="1015353"/>
              <a:ext cx="625475" cy="554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9" name="Picture 71" descr="7-blue2.ai-01.eps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4816" y="1255713"/>
              <a:ext cx="623887" cy="554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0" name="Picture 79" descr="15-blue2.ai-01.eps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3818" y="1015353"/>
              <a:ext cx="625475" cy="554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1" name="Picture 83" descr="19-blue2.ai-01.eps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44631" y="1015353"/>
              <a:ext cx="625475" cy="554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2" name="Picture 89" descr="25-blue2.ai-01.eps"/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24040" y="1240554"/>
              <a:ext cx="625475" cy="554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53" name="Group 152"/>
            <p:cNvGrpSpPr/>
            <p:nvPr/>
          </p:nvGrpSpPr>
          <p:grpSpPr>
            <a:xfrm>
              <a:off x="5006624" y="1013765"/>
              <a:ext cx="622300" cy="557212"/>
              <a:chOff x="5416550" y="2798763"/>
              <a:chExt cx="622300" cy="557212"/>
            </a:xfrm>
          </p:grpSpPr>
          <p:pic>
            <p:nvPicPr>
              <p:cNvPr id="174" name="Picture 61" descr="1-blue hex.ai-01.eps"/>
              <p:cNvPicPr>
                <a:picLocks noChangeAspect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16550" y="2798763"/>
                <a:ext cx="622300" cy="5572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75" name="Picture 50" descr="SP_Picto_White_E&amp;U_OilDrill"/>
              <p:cNvPicPr>
                <a:picLocks noChangeAspect="1" noChangeArrowheads="1"/>
              </p:cNvPicPr>
              <p:nvPr/>
            </p:nvPicPr>
            <p:blipFill>
              <a:blip r:embed="rId2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67363" y="2917825"/>
                <a:ext cx="320675" cy="3190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54" name="TextBox 153"/>
            <p:cNvSpPr txBox="1"/>
            <p:nvPr/>
          </p:nvSpPr>
          <p:spPr>
            <a:xfrm>
              <a:off x="5442276" y="742950"/>
              <a:ext cx="239530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 smtClean="0">
                  <a:latin typeface="HelvNeue for IBM Medium"/>
                  <a:cs typeface="Gill Sans"/>
                </a:rPr>
                <a:t>IBM Watson IoT Solutions</a:t>
              </a:r>
              <a:endParaRPr lang="en-US" sz="1400" dirty="0">
                <a:latin typeface="HelvNeue for IBM Medium"/>
                <a:cs typeface="Gill Sans"/>
              </a:endParaRPr>
            </a:p>
          </p:txBody>
        </p:sp>
        <p:sp>
          <p:nvSpPr>
            <p:cNvPr id="155" name="Rectangle 154"/>
            <p:cNvSpPr/>
            <p:nvPr/>
          </p:nvSpPr>
          <p:spPr>
            <a:xfrm>
              <a:off x="4543327" y="1877506"/>
              <a:ext cx="4114799" cy="868896"/>
            </a:xfrm>
            <a:prstGeom prst="rect">
              <a:avLst/>
            </a:prstGeom>
            <a:solidFill>
              <a:srgbClr val="90C119">
                <a:alpha val="5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Neue for IBM Medium"/>
              </a:endParaRPr>
            </a:p>
          </p:txBody>
        </p:sp>
        <p:grpSp>
          <p:nvGrpSpPr>
            <p:cNvPr id="156" name="Group 155"/>
            <p:cNvGrpSpPr/>
            <p:nvPr/>
          </p:nvGrpSpPr>
          <p:grpSpPr>
            <a:xfrm>
              <a:off x="4432303" y="1877506"/>
              <a:ext cx="4379825" cy="925821"/>
              <a:chOff x="4689577" y="1456551"/>
              <a:chExt cx="4379825" cy="925821"/>
            </a:xfrm>
          </p:grpSpPr>
          <p:sp>
            <p:nvSpPr>
              <p:cNvPr id="157" name="TextBox 156"/>
              <p:cNvSpPr txBox="1"/>
              <p:nvPr/>
            </p:nvSpPr>
            <p:spPr>
              <a:xfrm>
                <a:off x="7768774" y="1572951"/>
                <a:ext cx="1300628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 smtClean="0">
                    <a:latin typeface="HelvNeue for IBM Medium"/>
                  </a:rPr>
                  <a:t> Facilities </a:t>
                </a:r>
                <a:r>
                  <a:rPr lang="en-US" sz="1100" dirty="0" err="1" smtClean="0">
                    <a:latin typeface="HelvNeue for IBM Medium"/>
                  </a:rPr>
                  <a:t>Mgmt</a:t>
                </a:r>
                <a:endParaRPr lang="en-US" sz="1100" dirty="0">
                  <a:latin typeface="HelvNeue for IBM Medium"/>
                </a:endParaRPr>
              </a:p>
            </p:txBody>
          </p:sp>
          <p:sp>
            <p:nvSpPr>
              <p:cNvPr id="158" name="TextBox 157"/>
              <p:cNvSpPr txBox="1"/>
              <p:nvPr/>
            </p:nvSpPr>
            <p:spPr>
              <a:xfrm>
                <a:off x="6422834" y="1472195"/>
                <a:ext cx="1478481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 smtClean="0">
                    <a:latin typeface="HelvNeue for IBM Medium"/>
                  </a:rPr>
                  <a:t>Asset Performance</a:t>
                </a:r>
                <a:endParaRPr lang="en-US" sz="1100" dirty="0">
                  <a:latin typeface="HelvNeue for IBM Medium"/>
                </a:endParaRPr>
              </a:p>
            </p:txBody>
          </p:sp>
          <p:sp>
            <p:nvSpPr>
              <p:cNvPr id="159" name="TextBox 158"/>
              <p:cNvSpPr txBox="1"/>
              <p:nvPr/>
            </p:nvSpPr>
            <p:spPr>
              <a:xfrm>
                <a:off x="6383629" y="2027185"/>
                <a:ext cx="1574199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 smtClean="0">
                    <a:latin typeface="HelvNeue for IBM Medium"/>
                  </a:rPr>
                  <a:t>Connected Products</a:t>
                </a:r>
                <a:endParaRPr lang="en-US" sz="1100" dirty="0">
                  <a:latin typeface="HelvNeue for IBM Medium"/>
                </a:endParaRPr>
              </a:p>
            </p:txBody>
          </p:sp>
          <p:sp>
            <p:nvSpPr>
              <p:cNvPr id="160" name="TextBox 159"/>
              <p:cNvSpPr txBox="1"/>
              <p:nvPr/>
            </p:nvSpPr>
            <p:spPr>
              <a:xfrm>
                <a:off x="7648674" y="1891903"/>
                <a:ext cx="979347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 smtClean="0">
                    <a:latin typeface="HelvNeue for IBM Medium"/>
                  </a:rPr>
                  <a:t>Work </a:t>
                </a:r>
                <a:r>
                  <a:rPr lang="en-US" sz="1100" dirty="0" err="1" smtClean="0">
                    <a:latin typeface="HelvNeue for IBM Medium"/>
                  </a:rPr>
                  <a:t>Mgmt</a:t>
                </a:r>
                <a:endParaRPr lang="en-US" sz="1100" dirty="0">
                  <a:latin typeface="HelvNeue for IBM Medium"/>
                </a:endParaRPr>
              </a:p>
            </p:txBody>
          </p:sp>
          <p:sp>
            <p:nvSpPr>
              <p:cNvPr id="161" name="TextBox 160"/>
              <p:cNvSpPr txBox="1"/>
              <p:nvPr/>
            </p:nvSpPr>
            <p:spPr>
              <a:xfrm>
                <a:off x="6826602" y="1724373"/>
                <a:ext cx="1322766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 smtClean="0">
                    <a:latin typeface="HelvNeue for IBM Medium"/>
                  </a:rPr>
                  <a:t>Health &amp; Safety</a:t>
                </a:r>
                <a:endParaRPr lang="en-US" sz="1100" dirty="0">
                  <a:latin typeface="HelvNeue for IBM Medium"/>
                </a:endParaRPr>
              </a:p>
            </p:txBody>
          </p:sp>
          <p:cxnSp>
            <p:nvCxnSpPr>
              <p:cNvPr id="162" name="Straight Connector 161"/>
              <p:cNvCxnSpPr/>
              <p:nvPr/>
            </p:nvCxnSpPr>
            <p:spPr>
              <a:xfrm flipV="1">
                <a:off x="6015150" y="1650995"/>
                <a:ext cx="457200" cy="2401"/>
              </a:xfrm>
              <a:prstGeom prst="line">
                <a:avLst/>
              </a:prstGeom>
              <a:ln>
                <a:solidFill>
                  <a:srgbClr val="4BB099"/>
                </a:solidFill>
                <a:tailEnd type="diamon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/>
            </p:nvCxnSpPr>
            <p:spPr>
              <a:xfrm>
                <a:off x="6101905" y="1860395"/>
                <a:ext cx="761043" cy="0"/>
              </a:xfrm>
              <a:prstGeom prst="line">
                <a:avLst/>
              </a:prstGeom>
              <a:ln>
                <a:solidFill>
                  <a:srgbClr val="4BB099"/>
                </a:solidFill>
                <a:tailEnd type="diamon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/>
            </p:nvCxnSpPr>
            <p:spPr>
              <a:xfrm flipV="1">
                <a:off x="6087150" y="2087313"/>
                <a:ext cx="365760" cy="2401"/>
              </a:xfrm>
              <a:prstGeom prst="line">
                <a:avLst/>
              </a:prstGeom>
              <a:ln>
                <a:solidFill>
                  <a:srgbClr val="4BB099"/>
                </a:solidFill>
                <a:tailEnd type="diamon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/>
            </p:nvCxnSpPr>
            <p:spPr>
              <a:xfrm flipV="1">
                <a:off x="6087150" y="1993700"/>
                <a:ext cx="1596935" cy="2402"/>
              </a:xfrm>
              <a:prstGeom prst="line">
                <a:avLst/>
              </a:prstGeom>
              <a:ln>
                <a:solidFill>
                  <a:srgbClr val="4BB099"/>
                </a:solidFill>
                <a:tailEnd type="diamon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/>
            </p:nvCxnSpPr>
            <p:spPr>
              <a:xfrm>
                <a:off x="6087150" y="1740362"/>
                <a:ext cx="1761448" cy="1"/>
              </a:xfrm>
              <a:prstGeom prst="line">
                <a:avLst/>
              </a:prstGeom>
              <a:ln>
                <a:solidFill>
                  <a:srgbClr val="4BB099"/>
                </a:solidFill>
                <a:tailEnd type="diamon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67" name="Picture 166"/>
              <p:cNvPicPr>
                <a:picLocks noChangeAspect="1"/>
              </p:cNvPicPr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5776323" y="1627239"/>
                <a:ext cx="487311" cy="487311"/>
              </a:xfrm>
              <a:prstGeom prst="rect">
                <a:avLst/>
              </a:prstGeom>
            </p:spPr>
          </p:pic>
          <p:sp>
            <p:nvSpPr>
              <p:cNvPr id="168" name="Arc 167"/>
              <p:cNvSpPr/>
              <p:nvPr/>
            </p:nvSpPr>
            <p:spPr>
              <a:xfrm rot="15844068">
                <a:off x="5691202" y="1700923"/>
                <a:ext cx="460074" cy="351794"/>
              </a:xfrm>
              <a:prstGeom prst="arc">
                <a:avLst>
                  <a:gd name="adj1" fmla="val 16953931"/>
                  <a:gd name="adj2" fmla="val 21023047"/>
                </a:avLst>
              </a:prstGeom>
              <a:ln>
                <a:solidFill>
                  <a:srgbClr val="4BB099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  <p:sp>
            <p:nvSpPr>
              <p:cNvPr id="169" name="Arc 168"/>
              <p:cNvSpPr/>
              <p:nvPr/>
            </p:nvSpPr>
            <p:spPr>
              <a:xfrm rot="12239832">
                <a:off x="5744762" y="1786329"/>
                <a:ext cx="460074" cy="351794"/>
              </a:xfrm>
              <a:prstGeom prst="arc">
                <a:avLst>
                  <a:gd name="adj1" fmla="val 16953931"/>
                  <a:gd name="adj2" fmla="val 21023047"/>
                </a:avLst>
              </a:prstGeom>
              <a:ln>
                <a:solidFill>
                  <a:srgbClr val="4BB099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HelvNeue for IBM Medium"/>
                </a:endParaRPr>
              </a:p>
            </p:txBody>
          </p:sp>
          <p:cxnSp>
            <p:nvCxnSpPr>
              <p:cNvPr id="170" name="Straight Connector 169"/>
              <p:cNvCxnSpPr/>
              <p:nvPr/>
            </p:nvCxnSpPr>
            <p:spPr>
              <a:xfrm flipH="1" flipV="1">
                <a:off x="5647016" y="1682750"/>
                <a:ext cx="129307" cy="42488"/>
              </a:xfrm>
              <a:prstGeom prst="line">
                <a:avLst/>
              </a:prstGeom>
              <a:ln w="28575" cmpd="sng">
                <a:solidFill>
                  <a:srgbClr val="4BB099"/>
                </a:solidFill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 flipH="1">
                <a:off x="5671266" y="2008803"/>
                <a:ext cx="112988" cy="78510"/>
              </a:xfrm>
              <a:prstGeom prst="line">
                <a:avLst/>
              </a:prstGeom>
              <a:ln w="28575" cmpd="sng">
                <a:solidFill>
                  <a:srgbClr val="4BB099"/>
                </a:solidFill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172" name="TextBox 171"/>
              <p:cNvSpPr txBox="1"/>
              <p:nvPr/>
            </p:nvSpPr>
            <p:spPr>
              <a:xfrm>
                <a:off x="4689577" y="1456551"/>
                <a:ext cx="1009403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200" dirty="0" smtClean="0">
                    <a:latin typeface="HelvNeue for IBM Medium"/>
                  </a:rPr>
                  <a:t>Operations</a:t>
                </a:r>
                <a:endParaRPr lang="en-US" sz="1200" dirty="0">
                  <a:latin typeface="HelvNeue for IBM Medium"/>
                </a:endParaRPr>
              </a:p>
            </p:txBody>
          </p:sp>
          <p:sp>
            <p:nvSpPr>
              <p:cNvPr id="173" name="TextBox 172"/>
              <p:cNvSpPr txBox="1"/>
              <p:nvPr/>
            </p:nvSpPr>
            <p:spPr>
              <a:xfrm>
                <a:off x="4693002" y="1920707"/>
                <a:ext cx="1078689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200" dirty="0" smtClean="0">
                    <a:latin typeface="HelvNeue for IBM Medium"/>
                  </a:rPr>
                  <a:t>Product</a:t>
                </a:r>
              </a:p>
              <a:p>
                <a:pPr algn="r"/>
                <a:r>
                  <a:rPr lang="en-US" sz="1200" dirty="0" smtClean="0">
                    <a:latin typeface="HelvNeue for IBM Medium"/>
                  </a:rPr>
                  <a:t>Development</a:t>
                </a:r>
                <a:endParaRPr lang="en-US" sz="1200" dirty="0">
                  <a:latin typeface="HelvNeue for IBM Medium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515167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IoT Design">
  <a:themeElements>
    <a:clrScheme name="Custom 3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3B1E5"/>
      </a:hlink>
      <a:folHlink>
        <a:srgbClr val="4FFA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IBM_Watson_IoT">
  <a:themeElements>
    <a:clrScheme name="Custom 3">
      <a:dk1>
        <a:srgbClr val="0F1F28"/>
      </a:dk1>
      <a:lt1>
        <a:sysClr val="window" lastClr="FFFFFF"/>
      </a:lt1>
      <a:dk2>
        <a:srgbClr val="000000"/>
      </a:dk2>
      <a:lt2>
        <a:srgbClr val="FFFFFF"/>
      </a:lt2>
      <a:accent1>
        <a:srgbClr val="00B4A0"/>
      </a:accent1>
      <a:accent2>
        <a:srgbClr val="7CC7FF"/>
      </a:accent2>
      <a:accent3>
        <a:srgbClr val="FF5050"/>
      </a:accent3>
      <a:accent4>
        <a:srgbClr val="FDD600"/>
      </a:accent4>
      <a:accent5>
        <a:srgbClr val="FFFFFF"/>
      </a:accent5>
      <a:accent6>
        <a:srgbClr val="BFBFBF"/>
      </a:accent6>
      <a:hlink>
        <a:srgbClr val="00B4A0"/>
      </a:hlink>
      <a:folHlink>
        <a:srgbClr val="00B4A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252</TotalTime>
  <Words>2703</Words>
  <Application>Microsoft Macintosh PowerPoint</Application>
  <PresentationFormat>On-screen Show (16:9)</PresentationFormat>
  <Paragraphs>897</Paragraphs>
  <Slides>36</Slides>
  <Notes>13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39" baseType="lpstr">
      <vt:lpstr>1_IoT Design</vt:lpstr>
      <vt:lpstr>IBM_Watson_IoT</vt:lpstr>
      <vt:lpstr>think-cell Slide</vt:lpstr>
      <vt:lpstr>Internet of Things Offerings</vt:lpstr>
      <vt:lpstr>IoT is driving digital disruption of the physical world</vt:lpstr>
      <vt:lpstr>With IoT, companies are becoming more competitive with new ways to drive better business engagement </vt:lpstr>
      <vt:lpstr>PowerPoint Presentation</vt:lpstr>
      <vt:lpstr>With IoT, you can…</vt:lpstr>
      <vt:lpstr>3 Steps to enable value</vt:lpstr>
      <vt:lpstr>IoT value strategy</vt:lpstr>
      <vt:lpstr>IoT value strategy</vt:lpstr>
      <vt:lpstr>IoT value strategy</vt:lpstr>
      <vt:lpstr>IBM Watson IoT Platform</vt:lpstr>
      <vt:lpstr>The IBM Watson IoT Platform Everything you need to Innovate with IoT  </vt:lpstr>
      <vt:lpstr>Risk Management and Blockchain capabilities for better security and privacy</vt:lpstr>
      <vt:lpstr>Combining weather, analytics, and internet of things to deliver better outcomes</vt:lpstr>
      <vt:lpstr>Adding analytics capabilities to IoT data produces the intelligence of cognitive IoT</vt:lpstr>
      <vt:lpstr>IBM IoT Applications  Asset and Facility Management</vt:lpstr>
      <vt:lpstr>PowerPoint Presentation</vt:lpstr>
      <vt:lpstr>PowerPoint Presentation</vt:lpstr>
      <vt:lpstr>Real Estate and Facilities Performance Management drives utilization and financial return on assets</vt:lpstr>
      <vt:lpstr>IBM IoT Applications  Predictive Maintenance &amp; Quality</vt:lpstr>
      <vt:lpstr>PowerPoint Presentation</vt:lpstr>
      <vt:lpstr>PowerPoint Presentation</vt:lpstr>
      <vt:lpstr>PowerPoint Presentation</vt:lpstr>
      <vt:lpstr>IBM IoT Applications  Continuous Engineering</vt:lpstr>
      <vt:lpstr>Where human safety is a factor, even simple devices and systems require careful engineering to reduce risk</vt:lpstr>
      <vt:lpstr>Keeping hardware &amp; software versions &amp; configurations straight is a challenge when designing, manufacturing, and operating “things”</vt:lpstr>
      <vt:lpstr>IBM IoT Continuous Engineering  Everything you need to Create Disruptive Devices with IoT  </vt:lpstr>
      <vt:lpstr>IBM IoT Industry Transformation Solutions </vt:lpstr>
      <vt:lpstr>IBM IoT Transformational Offerings Enabling new business models with integrated solutions</vt:lpstr>
      <vt:lpstr>IBM IoT for Automotive</vt:lpstr>
      <vt:lpstr>IBM IoT for Electronics</vt:lpstr>
      <vt:lpstr>IBM IoT for Retail – Asset Health</vt:lpstr>
      <vt:lpstr>IBM IoT for Telecom         Three value propositions</vt:lpstr>
      <vt:lpstr>IoT for Insurance </vt:lpstr>
      <vt:lpstr>PowerPoint Presentation</vt:lpstr>
      <vt:lpstr>How can IBM help your digital transformation? A trusted partner with proven industry expertise, business solutions, and longevity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iani</dc:creator>
  <cp:lastModifiedBy>Zachary Jory</cp:lastModifiedBy>
  <cp:revision>447</cp:revision>
  <dcterms:created xsi:type="dcterms:W3CDTF">2015-02-10T04:22:28Z</dcterms:created>
  <dcterms:modified xsi:type="dcterms:W3CDTF">2016-04-07T14:24:31Z</dcterms:modified>
</cp:coreProperties>
</file>